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media/image8.jpg" ContentType="image/jpeg"/>
  <Override PartName="/ppt/media/image9.jpg" ContentType="image/jpeg"/>
  <Override PartName="/ppt/media/image10.jpg" ContentType="image/jpeg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media/image11.jpg" ContentType="image/jpeg"/>
  <Override PartName="/ppt/media/image12.jpg" ContentType="image/jpeg"/>
  <Override PartName="/ppt/media/image13.jpg" ContentType="image/jpeg"/>
  <Override PartName="/ppt/media/image14.jpg" ContentType="image/jpeg"/>
  <Override PartName="/ppt/media/image15.jpg" ContentType="image/jpeg"/>
  <Override PartName="/ppt/media/image16.jpg" ContentType="image/jpeg"/>
  <Override PartName="/ppt/media/image17.jpg" ContentType="image/jpeg"/>
  <Override PartName="/ppt/media/image18.jpg" ContentType="image/jpeg"/>
  <Override PartName="/ppt/media/image19.jpg" ContentType="image/jpeg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media/image20.jpg" ContentType="image/jpeg"/>
  <Override PartName="/ppt/media/image21.jpg" ContentType="image/jpeg"/>
  <Override PartName="/ppt/media/image22.jpg" ContentType="image/jpeg"/>
  <Override PartName="/ppt/media/image23.jpg" ContentType="image/jpeg"/>
  <Override PartName="/ppt/media/image24.jpg" ContentType="image/jpeg"/>
  <Override PartName="/ppt/media/image25.jpg" ContentType="image/jpeg"/>
  <Override PartName="/ppt/media/image26.jpg" ContentType="image/jpeg"/>
  <Override PartName="/ppt/media/image27.jpg" ContentType="image/jpeg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76" r:id="rId4"/>
    <p:sldMasterId id="2147483889" r:id="rId5"/>
    <p:sldMasterId id="2147483893" r:id="rId6"/>
    <p:sldMasterId id="2147483916" r:id="rId7"/>
  </p:sldMasterIdLst>
  <p:notesMasterIdLst>
    <p:notesMasterId r:id="rId14"/>
  </p:notesMasterIdLst>
  <p:handoutMasterIdLst>
    <p:handoutMasterId r:id="rId15"/>
  </p:handoutMasterIdLst>
  <p:sldIdLst>
    <p:sldId id="258" r:id="rId8"/>
    <p:sldId id="1913" r:id="rId9"/>
    <p:sldId id="343" r:id="rId10"/>
    <p:sldId id="1917" r:id="rId11"/>
    <p:sldId id="284" r:id="rId12"/>
    <p:sldId id="345" r:id="rId13"/>
  </p:sldIdLst>
  <p:sldSz cx="12192000" cy="6858000"/>
  <p:notesSz cx="6794500" cy="9931400"/>
  <p:custDataLst>
    <p:tags r:id="rId16"/>
  </p:custDataLst>
  <p:defaultTextStyle>
    <a:defPPr>
      <a:defRPr lang="en-GB"/>
    </a:defPPr>
    <a:lvl1pPr algn="ctr" rtl="0" fontAlgn="base">
      <a:spcBef>
        <a:spcPct val="2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2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2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2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2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560" userDrawn="1">
          <p15:clr>
            <a:srgbClr val="A4A3A4"/>
          </p15:clr>
        </p15:guide>
        <p15:guide id="3" orient="horz" pos="2500" userDrawn="1">
          <p15:clr>
            <a:srgbClr val="A4A3A4"/>
          </p15:clr>
        </p15:guide>
        <p15:guide id="4" orient="horz" pos="3764" userDrawn="1">
          <p15:clr>
            <a:srgbClr val="A4A3A4"/>
          </p15:clr>
        </p15:guide>
        <p15:guide id="5" orient="horz" pos="2818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779" userDrawn="1">
          <p15:clr>
            <a:srgbClr val="A4A3A4"/>
          </p15:clr>
        </p15:guide>
        <p15:guide id="8" pos="6933" userDrawn="1">
          <p15:clr>
            <a:srgbClr val="A4A3A4"/>
          </p15:clr>
        </p15:guide>
        <p15:guide id="9" orient="horz" pos="4110" userDrawn="1">
          <p15:clr>
            <a:srgbClr val="A4A3A4"/>
          </p15:clr>
        </p15:guide>
        <p15:guide id="10" pos="351" userDrawn="1">
          <p15:clr>
            <a:srgbClr val="A4A3A4"/>
          </p15:clr>
        </p15:guide>
        <p15:guide id="11" pos="993" userDrawn="1">
          <p15:clr>
            <a:srgbClr val="A4A3A4"/>
          </p15:clr>
        </p15:guide>
        <p15:guide id="12" pos="6687" userDrawn="1">
          <p15:clr>
            <a:srgbClr val="A4A3A4"/>
          </p15:clr>
        </p15:guide>
        <p15:guide id="13" pos="7289" userDrawn="1">
          <p15:clr>
            <a:srgbClr val="A4A3A4"/>
          </p15:clr>
        </p15:guide>
        <p15:guide id="14" pos="1399" userDrawn="1">
          <p15:clr>
            <a:srgbClr val="A4A3A4"/>
          </p15:clr>
        </p15:guide>
        <p15:guide id="15" pos="2785" userDrawn="1">
          <p15:clr>
            <a:srgbClr val="A4A3A4"/>
          </p15:clr>
        </p15:guide>
        <p15:guide id="16" orient="horz" pos="754" userDrawn="1">
          <p15:clr>
            <a:srgbClr val="A4A3A4"/>
          </p15:clr>
        </p15:guide>
        <p15:guide id="17" orient="horz" pos="109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ael Hanley" initials="MH" lastIdx="1" clrIdx="0"/>
  <p:cmAuthor id="2" name="Clare Thornley" initials="CT" lastIdx="1" clrIdx="1">
    <p:extLst>
      <p:ext uri="{19B8F6BF-5375-455C-9EA6-DF929625EA0E}">
        <p15:presenceInfo xmlns:p15="http://schemas.microsoft.com/office/powerpoint/2012/main" userId="Clare Thornley" providerId="None"/>
      </p:ext>
    </p:extLst>
  </p:cmAuthor>
  <p:cmAuthor id="3" name="Clare Thornley" initials="CT [2]" lastIdx="1" clrIdx="2">
    <p:extLst>
      <p:ext uri="{19B8F6BF-5375-455C-9EA6-DF929625EA0E}">
        <p15:presenceInfo xmlns:p15="http://schemas.microsoft.com/office/powerpoint/2012/main" userId="S-1-5-21-4256055805-96334533-1220336130-16307" providerId="AD"/>
      </p:ext>
    </p:extLst>
  </p:cmAuthor>
  <p:cmAuthor id="4" name="Pat Scully" initials="PS" lastIdx="4" clrIdx="3">
    <p:extLst>
      <p:ext uri="{19B8F6BF-5375-455C-9EA6-DF929625EA0E}">
        <p15:presenceInfo xmlns:p15="http://schemas.microsoft.com/office/powerpoint/2012/main" userId="Pat Scully" providerId="None"/>
      </p:ext>
    </p:extLst>
  </p:cmAuthor>
  <p:cmAuthor id="5" name="Paul Heynen" initials="PH" lastIdx="1" clrIdx="4">
    <p:extLst>
      <p:ext uri="{19B8F6BF-5375-455C-9EA6-DF929625EA0E}">
        <p15:presenceInfo xmlns:p15="http://schemas.microsoft.com/office/powerpoint/2012/main" userId="S::Paul.Heynen@mu.ie::ca67d4eb-dae5-4ee3-85df-375cd24c91e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3112"/>
    <a:srgbClr val="B5C6DB"/>
    <a:srgbClr val="89A7CB"/>
    <a:srgbClr val="4974A7"/>
    <a:srgbClr val="FFFF99"/>
    <a:srgbClr val="D0D8E8"/>
    <a:srgbClr val="E2E2E2"/>
    <a:srgbClr val="D5D5D5"/>
    <a:srgbClr val="FFFF66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F4B3A4-E489-4229-8FE4-12A6F6DDA398}" v="15" dt="2024-04-30T11:56:17.2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93" autoAdjust="0"/>
    <p:restoredTop sz="66949" autoAdjust="0"/>
  </p:normalViewPr>
  <p:slideViewPr>
    <p:cSldViewPr snapToGrid="0" snapToObjects="1">
      <p:cViewPr varScale="1">
        <p:scale>
          <a:sx n="70" d="100"/>
          <a:sy n="70" d="100"/>
        </p:scale>
        <p:origin x="1932" y="72"/>
      </p:cViewPr>
      <p:guideLst>
        <p:guide orient="horz" pos="2160"/>
        <p:guide orient="horz" pos="560"/>
        <p:guide orient="horz" pos="2500"/>
        <p:guide orient="horz" pos="3764"/>
        <p:guide orient="horz" pos="2818"/>
        <p:guide pos="3840"/>
        <p:guide pos="779"/>
        <p:guide pos="6933"/>
        <p:guide orient="horz" pos="4110"/>
        <p:guide pos="351"/>
        <p:guide pos="993"/>
        <p:guide pos="6687"/>
        <p:guide pos="7289"/>
        <p:guide pos="1399"/>
        <p:guide pos="2785"/>
        <p:guide orient="horz" pos="754"/>
        <p:guide orient="horz" pos="109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10" d="100"/>
        <a:sy n="110" d="100"/>
      </p:scale>
      <p:origin x="0" y="-593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AUDIA ELIZABETH ROESSING ROCHA" userId="98c9b574-0003-4444-8361-b3d2c09fda2f" providerId="ADAL" clId="{6CF4B3A4-E489-4229-8FE4-12A6F6DDA398}"/>
    <pc:docChg chg="undo custSel addSld delSld modSld sldOrd">
      <pc:chgData name="CLAUDIA ELIZABETH ROESSING ROCHA" userId="98c9b574-0003-4444-8361-b3d2c09fda2f" providerId="ADAL" clId="{6CF4B3A4-E489-4229-8FE4-12A6F6DDA398}" dt="2024-05-08T14:49:41.832" v="287" actId="6549"/>
      <pc:docMkLst>
        <pc:docMk/>
      </pc:docMkLst>
      <pc:sldChg chg="modSp mod">
        <pc:chgData name="CLAUDIA ELIZABETH ROESSING ROCHA" userId="98c9b574-0003-4444-8361-b3d2c09fda2f" providerId="ADAL" clId="{6CF4B3A4-E489-4229-8FE4-12A6F6DDA398}" dt="2024-04-30T12:01:03.974" v="238" actId="6549"/>
        <pc:sldMkLst>
          <pc:docMk/>
          <pc:sldMk cId="2316013928" sldId="257"/>
        </pc:sldMkLst>
        <pc:spChg chg="mod">
          <ac:chgData name="CLAUDIA ELIZABETH ROESSING ROCHA" userId="98c9b574-0003-4444-8361-b3d2c09fda2f" providerId="ADAL" clId="{6CF4B3A4-E489-4229-8FE4-12A6F6DDA398}" dt="2024-04-30T12:01:03.974" v="238" actId="6549"/>
          <ac:spMkLst>
            <pc:docMk/>
            <pc:sldMk cId="2316013928" sldId="257"/>
            <ac:spMk id="3" creationId="{CA5C4010-508F-9CAD-D00A-E64153694D24}"/>
          </ac:spMkLst>
        </pc:spChg>
      </pc:sldChg>
      <pc:sldChg chg="addSp delSp modSp mod modNotesTx">
        <pc:chgData name="CLAUDIA ELIZABETH ROESSING ROCHA" userId="98c9b574-0003-4444-8361-b3d2c09fda2f" providerId="ADAL" clId="{6CF4B3A4-E489-4229-8FE4-12A6F6DDA398}" dt="2024-05-08T14:49:27.792" v="282" actId="6549"/>
        <pc:sldMkLst>
          <pc:docMk/>
          <pc:sldMk cId="303447833" sldId="258"/>
        </pc:sldMkLst>
        <pc:spChg chg="add mod">
          <ac:chgData name="CLAUDIA ELIZABETH ROESSING ROCHA" userId="98c9b574-0003-4444-8361-b3d2c09fda2f" providerId="ADAL" clId="{6CF4B3A4-E489-4229-8FE4-12A6F6DDA398}" dt="2024-04-30T09:57:29.278" v="158" actId="6549"/>
          <ac:spMkLst>
            <pc:docMk/>
            <pc:sldMk cId="303447833" sldId="258"/>
            <ac:spMk id="2" creationId="{3BFB6109-755A-95F8-4B30-701F65023C1E}"/>
          </ac:spMkLst>
        </pc:spChg>
        <pc:picChg chg="del">
          <ac:chgData name="CLAUDIA ELIZABETH ROESSING ROCHA" userId="98c9b574-0003-4444-8361-b3d2c09fda2f" providerId="ADAL" clId="{6CF4B3A4-E489-4229-8FE4-12A6F6DDA398}" dt="2024-04-29T14:19:26.371" v="36" actId="478"/>
          <ac:picMkLst>
            <pc:docMk/>
            <pc:sldMk cId="303447833" sldId="258"/>
            <ac:picMk id="3" creationId="{1EADB7CB-39F4-A10F-FE59-06B128B783EE}"/>
          </ac:picMkLst>
        </pc:picChg>
        <pc:picChg chg="mod">
          <ac:chgData name="CLAUDIA ELIZABETH ROESSING ROCHA" userId="98c9b574-0003-4444-8361-b3d2c09fda2f" providerId="ADAL" clId="{6CF4B3A4-E489-4229-8FE4-12A6F6DDA398}" dt="2024-04-29T14:19:30.924" v="37" actId="1076"/>
          <ac:picMkLst>
            <pc:docMk/>
            <pc:sldMk cId="303447833" sldId="258"/>
            <ac:picMk id="6" creationId="{988B8A6B-932A-B869-5387-D93C4F6B5F74}"/>
          </ac:picMkLst>
        </pc:picChg>
        <pc:picChg chg="mod">
          <ac:chgData name="CLAUDIA ELIZABETH ROESSING ROCHA" userId="98c9b574-0003-4444-8361-b3d2c09fda2f" providerId="ADAL" clId="{6CF4B3A4-E489-4229-8FE4-12A6F6DDA398}" dt="2024-04-29T14:19:34.436" v="38" actId="1076"/>
          <ac:picMkLst>
            <pc:docMk/>
            <pc:sldMk cId="303447833" sldId="258"/>
            <ac:picMk id="12" creationId="{24A2D4BF-3FD2-8813-D5B2-09FD6A6AF87C}"/>
          </ac:picMkLst>
        </pc:picChg>
        <pc:picChg chg="add del">
          <ac:chgData name="CLAUDIA ELIZABETH ROESSING ROCHA" userId="98c9b574-0003-4444-8361-b3d2c09fda2f" providerId="ADAL" clId="{6CF4B3A4-E489-4229-8FE4-12A6F6DDA398}" dt="2024-04-29T14:19:53.066" v="40" actId="478"/>
          <ac:picMkLst>
            <pc:docMk/>
            <pc:sldMk cId="303447833" sldId="258"/>
            <ac:picMk id="1026" creationId="{4BCD0E1F-DB55-78E8-04D4-D8F383820630}"/>
          </ac:picMkLst>
        </pc:picChg>
      </pc:sldChg>
      <pc:sldChg chg="modSp mod">
        <pc:chgData name="CLAUDIA ELIZABETH ROESSING ROCHA" userId="98c9b574-0003-4444-8361-b3d2c09fda2f" providerId="ADAL" clId="{6CF4B3A4-E489-4229-8FE4-12A6F6DDA398}" dt="2024-04-29T14:17:55.699" v="35" actId="1076"/>
        <pc:sldMkLst>
          <pc:docMk/>
          <pc:sldMk cId="257230532" sldId="262"/>
        </pc:sldMkLst>
        <pc:spChg chg="mod">
          <ac:chgData name="CLAUDIA ELIZABETH ROESSING ROCHA" userId="98c9b574-0003-4444-8361-b3d2c09fda2f" providerId="ADAL" clId="{6CF4B3A4-E489-4229-8FE4-12A6F6DDA398}" dt="2024-04-29T14:17:55.699" v="35" actId="1076"/>
          <ac:spMkLst>
            <pc:docMk/>
            <pc:sldMk cId="257230532" sldId="262"/>
            <ac:spMk id="5" creationId="{BA85275D-5546-B62B-8790-FB3763251B4E}"/>
          </ac:spMkLst>
        </pc:spChg>
      </pc:sldChg>
      <pc:sldChg chg="new del ord">
        <pc:chgData name="CLAUDIA ELIZABETH ROESSING ROCHA" userId="98c9b574-0003-4444-8361-b3d2c09fda2f" providerId="ADAL" clId="{6CF4B3A4-E489-4229-8FE4-12A6F6DDA398}" dt="2024-04-30T12:03:05.533" v="255" actId="47"/>
        <pc:sldMkLst>
          <pc:docMk/>
          <pc:sldMk cId="1828078186" sldId="270"/>
        </pc:sldMkLst>
      </pc:sldChg>
      <pc:sldChg chg="addSp delSp modSp new del mod ord">
        <pc:chgData name="CLAUDIA ELIZABETH ROESSING ROCHA" userId="98c9b574-0003-4444-8361-b3d2c09fda2f" providerId="ADAL" clId="{6CF4B3A4-E489-4229-8FE4-12A6F6DDA398}" dt="2024-04-30T12:03:00.116" v="253" actId="47"/>
        <pc:sldMkLst>
          <pc:docMk/>
          <pc:sldMk cId="4113679839" sldId="271"/>
        </pc:sldMkLst>
        <pc:spChg chg="mod">
          <ac:chgData name="CLAUDIA ELIZABETH ROESSING ROCHA" userId="98c9b574-0003-4444-8361-b3d2c09fda2f" providerId="ADAL" clId="{6CF4B3A4-E489-4229-8FE4-12A6F6DDA398}" dt="2024-04-29T14:17:09.371" v="23" actId="313"/>
          <ac:spMkLst>
            <pc:docMk/>
            <pc:sldMk cId="4113679839" sldId="271"/>
            <ac:spMk id="2" creationId="{762A51AB-9B0C-26AE-94C1-ED507459C70D}"/>
          </ac:spMkLst>
        </pc:spChg>
        <pc:spChg chg="mod">
          <ac:chgData name="CLAUDIA ELIZABETH ROESSING ROCHA" userId="98c9b574-0003-4444-8361-b3d2c09fda2f" providerId="ADAL" clId="{6CF4B3A4-E489-4229-8FE4-12A6F6DDA398}" dt="2024-04-30T11:56:29.555" v="209" actId="6549"/>
          <ac:spMkLst>
            <pc:docMk/>
            <pc:sldMk cId="4113679839" sldId="271"/>
            <ac:spMk id="3" creationId="{FE1B6A10-52E5-F43F-2FF1-27A576DCD7FF}"/>
          </ac:spMkLst>
        </pc:spChg>
        <pc:spChg chg="add del mod">
          <ac:chgData name="CLAUDIA ELIZABETH ROESSING ROCHA" userId="98c9b574-0003-4444-8361-b3d2c09fda2f" providerId="ADAL" clId="{6CF4B3A4-E489-4229-8FE4-12A6F6DDA398}" dt="2024-04-29T14:21:51.041" v="45" actId="1076"/>
          <ac:spMkLst>
            <pc:docMk/>
            <pc:sldMk cId="4113679839" sldId="271"/>
            <ac:spMk id="4" creationId="{5C4BD643-4713-33FD-60A0-04B247EC9AD0}"/>
          </ac:spMkLst>
        </pc:spChg>
        <pc:spChg chg="add del mod">
          <ac:chgData name="CLAUDIA ELIZABETH ROESSING ROCHA" userId="98c9b574-0003-4444-8361-b3d2c09fda2f" providerId="ADAL" clId="{6CF4B3A4-E489-4229-8FE4-12A6F6DDA398}" dt="2024-04-30T11:56:26.154" v="208" actId="478"/>
          <ac:spMkLst>
            <pc:docMk/>
            <pc:sldMk cId="4113679839" sldId="271"/>
            <ac:spMk id="6" creationId="{9E194041-5506-6722-95C2-F903281B128C}"/>
          </ac:spMkLst>
        </pc:spChg>
        <pc:spChg chg="add del mod">
          <ac:chgData name="CLAUDIA ELIZABETH ROESSING ROCHA" userId="98c9b574-0003-4444-8361-b3d2c09fda2f" providerId="ADAL" clId="{6CF4B3A4-E489-4229-8FE4-12A6F6DDA398}" dt="2024-04-30T11:56:23.489" v="207" actId="478"/>
          <ac:spMkLst>
            <pc:docMk/>
            <pc:sldMk cId="4113679839" sldId="271"/>
            <ac:spMk id="8" creationId="{93FE146A-0CD3-1568-3D08-81431626BA35}"/>
          </ac:spMkLst>
        </pc:spChg>
      </pc:sldChg>
      <pc:sldChg chg="modSp new del mod ord">
        <pc:chgData name="CLAUDIA ELIZABETH ROESSING ROCHA" userId="98c9b574-0003-4444-8361-b3d2c09fda2f" providerId="ADAL" clId="{6CF4B3A4-E489-4229-8FE4-12A6F6DDA398}" dt="2024-04-30T12:02:04.025" v="242" actId="47"/>
        <pc:sldMkLst>
          <pc:docMk/>
          <pc:sldMk cId="4084215389" sldId="272"/>
        </pc:sldMkLst>
        <pc:spChg chg="mod">
          <ac:chgData name="CLAUDIA ELIZABETH ROESSING ROCHA" userId="98c9b574-0003-4444-8361-b3d2c09fda2f" providerId="ADAL" clId="{6CF4B3A4-E489-4229-8FE4-12A6F6DDA398}" dt="2024-04-30T12:00:00.681" v="235" actId="20577"/>
          <ac:spMkLst>
            <pc:docMk/>
            <pc:sldMk cId="4084215389" sldId="272"/>
            <ac:spMk id="2" creationId="{FA5218D0-4D1B-2AC0-99C0-5FD49B06D073}"/>
          </ac:spMkLst>
        </pc:spChg>
        <pc:spChg chg="mod">
          <ac:chgData name="CLAUDIA ELIZABETH ROESSING ROCHA" userId="98c9b574-0003-4444-8361-b3d2c09fda2f" providerId="ADAL" clId="{6CF4B3A4-E489-4229-8FE4-12A6F6DDA398}" dt="2024-04-30T12:00:05.580" v="236" actId="6549"/>
          <ac:spMkLst>
            <pc:docMk/>
            <pc:sldMk cId="4084215389" sldId="272"/>
            <ac:spMk id="3" creationId="{3025F50B-C8D3-E47F-9C7D-18688F7E6248}"/>
          </ac:spMkLst>
        </pc:spChg>
      </pc:sldChg>
      <pc:sldChg chg="addSp delSp add mod modNotesTx">
        <pc:chgData name="CLAUDIA ELIZABETH ROESSING ROCHA" userId="98c9b574-0003-4444-8361-b3d2c09fda2f" providerId="ADAL" clId="{6CF4B3A4-E489-4229-8FE4-12A6F6DDA398}" dt="2024-05-08T14:49:41.832" v="287" actId="6549"/>
        <pc:sldMkLst>
          <pc:docMk/>
          <pc:sldMk cId="3123340584" sldId="284"/>
        </pc:sldMkLst>
        <pc:spChg chg="add del">
          <ac:chgData name="CLAUDIA ELIZABETH ROESSING ROCHA" userId="98c9b574-0003-4444-8361-b3d2c09fda2f" providerId="ADAL" clId="{6CF4B3A4-E489-4229-8FE4-12A6F6DDA398}" dt="2024-04-30T12:02:24.034" v="247" actId="22"/>
          <ac:spMkLst>
            <pc:docMk/>
            <pc:sldMk cId="3123340584" sldId="284"/>
            <ac:spMk id="7" creationId="{4587CC9F-F263-397E-5722-87BA7FF7F679}"/>
          </ac:spMkLst>
        </pc:spChg>
      </pc:sldChg>
      <pc:sldChg chg="del">
        <pc:chgData name="CLAUDIA ELIZABETH ROESSING ROCHA" userId="98c9b574-0003-4444-8361-b3d2c09fda2f" providerId="ADAL" clId="{6CF4B3A4-E489-4229-8FE4-12A6F6DDA398}" dt="2024-04-30T12:00:11.456" v="237" actId="2696"/>
        <pc:sldMkLst>
          <pc:docMk/>
          <pc:sldMk cId="2520645730" sldId="338"/>
        </pc:sldMkLst>
      </pc:sldChg>
      <pc:sldChg chg="modSp del mod">
        <pc:chgData name="CLAUDIA ELIZABETH ROESSING ROCHA" userId="98c9b574-0003-4444-8361-b3d2c09fda2f" providerId="ADAL" clId="{6CF4B3A4-E489-4229-8FE4-12A6F6DDA398}" dt="2024-04-30T10:00:30.972" v="201" actId="1076"/>
        <pc:sldMkLst>
          <pc:docMk/>
          <pc:sldMk cId="458246768" sldId="341"/>
        </pc:sldMkLst>
        <pc:spChg chg="mod">
          <ac:chgData name="CLAUDIA ELIZABETH ROESSING ROCHA" userId="98c9b574-0003-4444-8361-b3d2c09fda2f" providerId="ADAL" clId="{6CF4B3A4-E489-4229-8FE4-12A6F6DDA398}" dt="2024-04-30T09:59:30.781" v="185" actId="14100"/>
          <ac:spMkLst>
            <pc:docMk/>
            <pc:sldMk cId="458246768" sldId="341"/>
            <ac:spMk id="3" creationId="{C24C3B79-EE43-42CF-B594-26DAB0DE6867}"/>
          </ac:spMkLst>
        </pc:spChg>
        <pc:spChg chg="mod">
          <ac:chgData name="CLAUDIA ELIZABETH ROESSING ROCHA" userId="98c9b574-0003-4444-8361-b3d2c09fda2f" providerId="ADAL" clId="{6CF4B3A4-E489-4229-8FE4-12A6F6DDA398}" dt="2024-04-30T10:00:30.972" v="201" actId="1076"/>
          <ac:spMkLst>
            <pc:docMk/>
            <pc:sldMk cId="458246768" sldId="341"/>
            <ac:spMk id="59" creationId="{0FF8FA0B-8001-8736-E0FA-9B881EFA5333}"/>
          </ac:spMkLst>
        </pc:spChg>
        <pc:graphicFrameChg chg="mod">
          <ac:chgData name="CLAUDIA ELIZABETH ROESSING ROCHA" userId="98c9b574-0003-4444-8361-b3d2c09fda2f" providerId="ADAL" clId="{6CF4B3A4-E489-4229-8FE4-12A6F6DDA398}" dt="2024-04-30T09:59:26.968" v="182" actId="14100"/>
          <ac:graphicFrameMkLst>
            <pc:docMk/>
            <pc:sldMk cId="458246768" sldId="341"/>
            <ac:graphicFrameMk id="4" creationId="{348806B5-1786-4107-A5F9-B8BF916759BC}"/>
          </ac:graphicFrameMkLst>
        </pc:graphicFrameChg>
      </pc:sldChg>
      <pc:sldChg chg="add del">
        <pc:chgData name="CLAUDIA ELIZABETH ROESSING ROCHA" userId="98c9b574-0003-4444-8361-b3d2c09fda2f" providerId="ADAL" clId="{6CF4B3A4-E489-4229-8FE4-12A6F6DDA398}" dt="2024-04-30T09:57:15.302" v="147" actId="2890"/>
        <pc:sldMkLst>
          <pc:docMk/>
          <pc:sldMk cId="82956544" sldId="342"/>
        </pc:sldMkLst>
      </pc:sldChg>
      <pc:sldChg chg="add del">
        <pc:chgData name="CLAUDIA ELIZABETH ROESSING ROCHA" userId="98c9b574-0003-4444-8361-b3d2c09fda2f" providerId="ADAL" clId="{6CF4B3A4-E489-4229-8FE4-12A6F6DDA398}" dt="2024-04-30T09:54:23.621" v="140" actId="2890"/>
        <pc:sldMkLst>
          <pc:docMk/>
          <pc:sldMk cId="549556880" sldId="342"/>
        </pc:sldMkLst>
      </pc:sldChg>
      <pc:sldChg chg="add">
        <pc:chgData name="CLAUDIA ELIZABETH ROESSING ROCHA" userId="98c9b574-0003-4444-8361-b3d2c09fda2f" providerId="ADAL" clId="{6CF4B3A4-E489-4229-8FE4-12A6F6DDA398}" dt="2024-04-30T09:57:34.290" v="159" actId="2890"/>
        <pc:sldMkLst>
          <pc:docMk/>
          <pc:sldMk cId="3753957979" sldId="342"/>
        </pc:sldMkLst>
      </pc:sldChg>
      <pc:sldChg chg="modSp add mod modNotesTx">
        <pc:chgData name="CLAUDIA ELIZABETH ROESSING ROCHA" userId="98c9b574-0003-4444-8361-b3d2c09fda2f" providerId="ADAL" clId="{6CF4B3A4-E489-4229-8FE4-12A6F6DDA398}" dt="2024-05-08T14:49:33.618" v="284" actId="6549"/>
        <pc:sldMkLst>
          <pc:docMk/>
          <pc:sldMk cId="1351965390" sldId="343"/>
        </pc:sldMkLst>
        <pc:spChg chg="mod">
          <ac:chgData name="CLAUDIA ELIZABETH ROESSING ROCHA" userId="98c9b574-0003-4444-8361-b3d2c09fda2f" providerId="ADAL" clId="{6CF4B3A4-E489-4229-8FE4-12A6F6DDA398}" dt="2024-04-30T12:01:51.080" v="240"/>
          <ac:spMkLst>
            <pc:docMk/>
            <pc:sldMk cId="1351965390" sldId="343"/>
            <ac:spMk id="2" creationId="{0C343FA9-7A0C-E783-9A3F-53ED8A301F74}"/>
          </ac:spMkLst>
        </pc:spChg>
        <pc:spChg chg="mod">
          <ac:chgData name="CLAUDIA ELIZABETH ROESSING ROCHA" userId="98c9b574-0003-4444-8361-b3d2c09fda2f" providerId="ADAL" clId="{6CF4B3A4-E489-4229-8FE4-12A6F6DDA398}" dt="2024-04-30T12:02:00.570" v="241"/>
          <ac:spMkLst>
            <pc:docMk/>
            <pc:sldMk cId="1351965390" sldId="343"/>
            <ac:spMk id="3" creationId="{CA5C4010-508F-9CAD-D00A-E64153694D24}"/>
          </ac:spMkLst>
        </pc:spChg>
      </pc:sldChg>
      <pc:sldChg chg="add ord">
        <pc:chgData name="CLAUDIA ELIZABETH ROESSING ROCHA" userId="98c9b574-0003-4444-8361-b3d2c09fda2f" providerId="ADAL" clId="{6CF4B3A4-E489-4229-8FE4-12A6F6DDA398}" dt="2024-04-30T12:02:12.314" v="245"/>
        <pc:sldMkLst>
          <pc:docMk/>
          <pc:sldMk cId="2763084974" sldId="344"/>
        </pc:sldMkLst>
      </pc:sldChg>
      <pc:sldChg chg="modSp add mod ord">
        <pc:chgData name="CLAUDIA ELIZABETH ROESSING ROCHA" userId="98c9b574-0003-4444-8361-b3d2c09fda2f" providerId="ADAL" clId="{6CF4B3A4-E489-4229-8FE4-12A6F6DDA398}" dt="2024-04-30T12:02:55.723" v="252"/>
        <pc:sldMkLst>
          <pc:docMk/>
          <pc:sldMk cId="1160810329" sldId="345"/>
        </pc:sldMkLst>
        <pc:spChg chg="mod">
          <ac:chgData name="CLAUDIA ELIZABETH ROESSING ROCHA" userId="98c9b574-0003-4444-8361-b3d2c09fda2f" providerId="ADAL" clId="{6CF4B3A4-E489-4229-8FE4-12A6F6DDA398}" dt="2024-04-30T12:02:46.604" v="251"/>
          <ac:spMkLst>
            <pc:docMk/>
            <pc:sldMk cId="1160810329" sldId="345"/>
            <ac:spMk id="2" creationId="{7539F05F-C142-98B8-670B-89B688B4236B}"/>
          </ac:spMkLst>
        </pc:spChg>
        <pc:spChg chg="mod">
          <ac:chgData name="CLAUDIA ELIZABETH ROESSING ROCHA" userId="98c9b574-0003-4444-8361-b3d2c09fda2f" providerId="ADAL" clId="{6CF4B3A4-E489-4229-8FE4-12A6F6DDA398}" dt="2024-04-30T12:02:55.723" v="252"/>
          <ac:spMkLst>
            <pc:docMk/>
            <pc:sldMk cId="1160810329" sldId="345"/>
            <ac:spMk id="3" creationId="{728B339F-8569-E916-35A7-1DBD0568EBC5}"/>
          </ac:spMkLst>
        </pc:spChg>
      </pc:sldChg>
      <pc:sldChg chg="add del">
        <pc:chgData name="CLAUDIA ELIZABETH ROESSING ROCHA" userId="98c9b574-0003-4444-8361-b3d2c09fda2f" providerId="ADAL" clId="{6CF4B3A4-E489-4229-8FE4-12A6F6DDA398}" dt="2024-04-30T12:03:07.606" v="256" actId="47"/>
        <pc:sldMkLst>
          <pc:docMk/>
          <pc:sldMk cId="3121811856" sldId="346"/>
        </pc:sldMkLst>
      </pc:sldChg>
      <pc:sldChg chg="modNotesTx">
        <pc:chgData name="CLAUDIA ELIZABETH ROESSING ROCHA" userId="98c9b574-0003-4444-8361-b3d2c09fda2f" providerId="ADAL" clId="{6CF4B3A4-E489-4229-8FE4-12A6F6DDA398}" dt="2024-05-08T14:49:30.636" v="283" actId="6549"/>
        <pc:sldMkLst>
          <pc:docMk/>
          <pc:sldMk cId="2533413435" sldId="1913"/>
        </pc:sldMkLst>
      </pc:sldChg>
      <pc:sldChg chg="modNotesTx">
        <pc:chgData name="CLAUDIA ELIZABETH ROESSING ROCHA" userId="98c9b574-0003-4444-8361-b3d2c09fda2f" providerId="ADAL" clId="{6CF4B3A4-E489-4229-8FE4-12A6F6DDA398}" dt="2024-05-08T14:49:38.767" v="286" actId="6549"/>
        <pc:sldMkLst>
          <pc:docMk/>
          <pc:sldMk cId="648811500" sldId="1917"/>
        </pc:sldMkLst>
      </pc:sldChg>
    </pc:docChg>
  </pc:docChgLst>
  <pc:docChgLst>
    <pc:chgData name="CLAUDIA ELIZABETH ROESSING ROCHA" userId="98c9b574-0003-4444-8361-b3d2c09fda2f" providerId="ADAL" clId="{D2BC25FC-0C39-45AB-8B74-851B6F5A4959}"/>
    <pc:docChg chg="undo redo custSel addSld delSld modSld sldOrd">
      <pc:chgData name="CLAUDIA ELIZABETH ROESSING ROCHA" userId="98c9b574-0003-4444-8361-b3d2c09fda2f" providerId="ADAL" clId="{D2BC25FC-0C39-45AB-8B74-851B6F5A4959}" dt="2024-03-07T16:26:54.534" v="4287" actId="20577"/>
      <pc:docMkLst>
        <pc:docMk/>
      </pc:docMkLst>
      <pc:sldChg chg="addSp delSp modSp mod">
        <pc:chgData name="CLAUDIA ELIZABETH ROESSING ROCHA" userId="98c9b574-0003-4444-8361-b3d2c09fda2f" providerId="ADAL" clId="{D2BC25FC-0C39-45AB-8B74-851B6F5A4959}" dt="2024-03-04T15:55:35.932" v="3062" actId="1076"/>
        <pc:sldMkLst>
          <pc:docMk/>
          <pc:sldMk cId="2316013928" sldId="257"/>
        </pc:sldMkLst>
        <pc:spChg chg="mod">
          <ac:chgData name="CLAUDIA ELIZABETH ROESSING ROCHA" userId="98c9b574-0003-4444-8361-b3d2c09fda2f" providerId="ADAL" clId="{D2BC25FC-0C39-45AB-8B74-851B6F5A4959}" dt="2024-03-04T14:45:53.946" v="2478" actId="20577"/>
          <ac:spMkLst>
            <pc:docMk/>
            <pc:sldMk cId="2316013928" sldId="257"/>
            <ac:spMk id="3" creationId="{CA5C4010-508F-9CAD-D00A-E64153694D24}"/>
          </ac:spMkLst>
        </pc:spChg>
        <pc:picChg chg="add del mod">
          <ac:chgData name="CLAUDIA ELIZABETH ROESSING ROCHA" userId="98c9b574-0003-4444-8361-b3d2c09fda2f" providerId="ADAL" clId="{D2BC25FC-0C39-45AB-8B74-851B6F5A4959}" dt="2024-03-04T15:54:56.745" v="3055" actId="478"/>
          <ac:picMkLst>
            <pc:docMk/>
            <pc:sldMk cId="2316013928" sldId="257"/>
            <ac:picMk id="4" creationId="{DD16D357-80F4-A59A-DEE0-38367251C7B8}"/>
          </ac:picMkLst>
        </pc:picChg>
        <pc:picChg chg="add mod">
          <ac:chgData name="CLAUDIA ELIZABETH ROESSING ROCHA" userId="98c9b574-0003-4444-8361-b3d2c09fda2f" providerId="ADAL" clId="{D2BC25FC-0C39-45AB-8B74-851B6F5A4959}" dt="2024-03-04T15:55:35.932" v="3062" actId="1076"/>
          <ac:picMkLst>
            <pc:docMk/>
            <pc:sldMk cId="2316013928" sldId="257"/>
            <ac:picMk id="5" creationId="{18E66F72-9339-D27D-0C32-32B4D3E63355}"/>
          </ac:picMkLst>
        </pc:picChg>
      </pc:sldChg>
      <pc:sldChg chg="addSp delSp modSp mod">
        <pc:chgData name="CLAUDIA ELIZABETH ROESSING ROCHA" userId="98c9b574-0003-4444-8361-b3d2c09fda2f" providerId="ADAL" clId="{D2BC25FC-0C39-45AB-8B74-851B6F5A4959}" dt="2024-03-04T18:04:43.038" v="3759"/>
        <pc:sldMkLst>
          <pc:docMk/>
          <pc:sldMk cId="50182516" sldId="258"/>
        </pc:sldMkLst>
        <pc:spChg chg="mod">
          <ac:chgData name="CLAUDIA ELIZABETH ROESSING ROCHA" userId="98c9b574-0003-4444-8361-b3d2c09fda2f" providerId="ADAL" clId="{D2BC25FC-0C39-45AB-8B74-851B6F5A4959}" dt="2024-02-27T16:10:54.569" v="1830" actId="1076"/>
          <ac:spMkLst>
            <pc:docMk/>
            <pc:sldMk cId="50182516" sldId="258"/>
            <ac:spMk id="3" creationId="{5A6593D7-B926-E3F5-44CD-712B62115396}"/>
          </ac:spMkLst>
        </pc:spChg>
        <pc:spChg chg="del">
          <ac:chgData name="CLAUDIA ELIZABETH ROESSING ROCHA" userId="98c9b574-0003-4444-8361-b3d2c09fda2f" providerId="ADAL" clId="{D2BC25FC-0C39-45AB-8B74-851B6F5A4959}" dt="2024-02-27T16:10:44.648" v="1826" actId="478"/>
          <ac:spMkLst>
            <pc:docMk/>
            <pc:sldMk cId="50182516" sldId="258"/>
            <ac:spMk id="9" creationId="{83FC601D-1049-4CAA-02F9-3906EC59AC9E}"/>
          </ac:spMkLst>
        </pc:spChg>
        <pc:spChg chg="del">
          <ac:chgData name="CLAUDIA ELIZABETH ROESSING ROCHA" userId="98c9b574-0003-4444-8361-b3d2c09fda2f" providerId="ADAL" clId="{D2BC25FC-0C39-45AB-8B74-851B6F5A4959}" dt="2024-02-27T16:10:46.070" v="1827" actId="478"/>
          <ac:spMkLst>
            <pc:docMk/>
            <pc:sldMk cId="50182516" sldId="258"/>
            <ac:spMk id="10" creationId="{4FE47C30-0ED3-2C71-6E52-FBDBC25179F1}"/>
          </ac:spMkLst>
        </pc:spChg>
        <pc:spChg chg="del">
          <ac:chgData name="CLAUDIA ELIZABETH ROESSING ROCHA" userId="98c9b574-0003-4444-8361-b3d2c09fda2f" providerId="ADAL" clId="{D2BC25FC-0C39-45AB-8B74-851B6F5A4959}" dt="2024-02-27T16:10:43.776" v="1825" actId="478"/>
          <ac:spMkLst>
            <pc:docMk/>
            <pc:sldMk cId="50182516" sldId="258"/>
            <ac:spMk id="11" creationId="{80D1BB69-97DE-3443-4D9E-CDB42D588E4A}"/>
          </ac:spMkLst>
        </pc:spChg>
        <pc:spChg chg="del">
          <ac:chgData name="CLAUDIA ELIZABETH ROESSING ROCHA" userId="98c9b574-0003-4444-8361-b3d2c09fda2f" providerId="ADAL" clId="{D2BC25FC-0C39-45AB-8B74-851B6F5A4959}" dt="2024-02-27T16:10:47.258" v="1828" actId="478"/>
          <ac:spMkLst>
            <pc:docMk/>
            <pc:sldMk cId="50182516" sldId="258"/>
            <ac:spMk id="12" creationId="{D9CB15FD-F804-C41E-1151-62C8FD274F8E}"/>
          </ac:spMkLst>
        </pc:spChg>
        <pc:spChg chg="mod">
          <ac:chgData name="CLAUDIA ELIZABETH ROESSING ROCHA" userId="98c9b574-0003-4444-8361-b3d2c09fda2f" providerId="ADAL" clId="{D2BC25FC-0C39-45AB-8B74-851B6F5A4959}" dt="2024-02-27T16:10:51.844" v="1829" actId="1076"/>
          <ac:spMkLst>
            <pc:docMk/>
            <pc:sldMk cId="50182516" sldId="258"/>
            <ac:spMk id="13" creationId="{138EEABD-F658-A340-973C-BE9DC8967F7F}"/>
          </ac:spMkLst>
        </pc:spChg>
        <pc:picChg chg="add del mod">
          <ac:chgData name="CLAUDIA ELIZABETH ROESSING ROCHA" userId="98c9b574-0003-4444-8361-b3d2c09fda2f" providerId="ADAL" clId="{D2BC25FC-0C39-45AB-8B74-851B6F5A4959}" dt="2024-03-04T18:04:19.862" v="3753" actId="478"/>
          <ac:picMkLst>
            <pc:docMk/>
            <pc:sldMk cId="50182516" sldId="258"/>
            <ac:picMk id="4" creationId="{6F5447C0-892F-5265-4451-6242BFD61353}"/>
          </ac:picMkLst>
        </pc:picChg>
        <pc:picChg chg="add mod">
          <ac:chgData name="CLAUDIA ELIZABETH ROESSING ROCHA" userId="98c9b574-0003-4444-8361-b3d2c09fda2f" providerId="ADAL" clId="{D2BC25FC-0C39-45AB-8B74-851B6F5A4959}" dt="2024-03-04T18:04:43.038" v="3759"/>
          <ac:picMkLst>
            <pc:docMk/>
            <pc:sldMk cId="50182516" sldId="258"/>
            <ac:picMk id="5" creationId="{375B5E08-2D71-53F4-18DA-8ACFE4F4FDB9}"/>
          </ac:picMkLst>
        </pc:picChg>
      </pc:sldChg>
      <pc:sldChg chg="addSp modSp">
        <pc:chgData name="CLAUDIA ELIZABETH ROESSING ROCHA" userId="98c9b574-0003-4444-8361-b3d2c09fda2f" providerId="ADAL" clId="{D2BC25FC-0C39-45AB-8B74-851B6F5A4959}" dt="2024-02-27T16:09:01.247" v="1821"/>
        <pc:sldMkLst>
          <pc:docMk/>
          <pc:sldMk cId="869432526" sldId="261"/>
        </pc:sldMkLst>
        <pc:picChg chg="add mod">
          <ac:chgData name="CLAUDIA ELIZABETH ROESSING ROCHA" userId="98c9b574-0003-4444-8361-b3d2c09fda2f" providerId="ADAL" clId="{D2BC25FC-0C39-45AB-8B74-851B6F5A4959}" dt="2024-02-27T16:09:01.247" v="1821"/>
          <ac:picMkLst>
            <pc:docMk/>
            <pc:sldMk cId="869432526" sldId="261"/>
            <ac:picMk id="4" creationId="{1D9CF59F-AB4C-AE79-3895-921B6B9BA7CA}"/>
          </ac:picMkLst>
        </pc:picChg>
      </pc:sldChg>
      <pc:sldChg chg="addSp delSp modSp mod">
        <pc:chgData name="CLAUDIA ELIZABETH ROESSING ROCHA" userId="98c9b574-0003-4444-8361-b3d2c09fda2f" providerId="ADAL" clId="{D2BC25FC-0C39-45AB-8B74-851B6F5A4959}" dt="2024-03-04T15:54:41.452" v="3051" actId="1076"/>
        <pc:sldMkLst>
          <pc:docMk/>
          <pc:sldMk cId="257230532" sldId="262"/>
        </pc:sldMkLst>
        <pc:picChg chg="add mod">
          <ac:chgData name="CLAUDIA ELIZABETH ROESSING ROCHA" userId="98c9b574-0003-4444-8361-b3d2c09fda2f" providerId="ADAL" clId="{D2BC25FC-0C39-45AB-8B74-851B6F5A4959}" dt="2024-03-04T15:54:41.452" v="3051" actId="1076"/>
          <ac:picMkLst>
            <pc:docMk/>
            <pc:sldMk cId="257230532" sldId="262"/>
            <ac:picMk id="2" creationId="{EE076469-EAA2-0DD8-5A3A-1E196A057F3A}"/>
          </ac:picMkLst>
        </pc:picChg>
        <pc:picChg chg="add del mod">
          <ac:chgData name="CLAUDIA ELIZABETH ROESSING ROCHA" userId="98c9b574-0003-4444-8361-b3d2c09fda2f" providerId="ADAL" clId="{D2BC25FC-0C39-45AB-8B74-851B6F5A4959}" dt="2024-03-04T15:54:34.470" v="3048" actId="478"/>
          <ac:picMkLst>
            <pc:docMk/>
            <pc:sldMk cId="257230532" sldId="262"/>
            <ac:picMk id="6" creationId="{1A6F1613-7E1C-CA9B-097D-46042AE0C7A4}"/>
          </ac:picMkLst>
        </pc:picChg>
      </pc:sldChg>
      <pc:sldChg chg="addSp delSp modSp mod modAnim">
        <pc:chgData name="CLAUDIA ELIZABETH ROESSING ROCHA" userId="98c9b574-0003-4444-8361-b3d2c09fda2f" providerId="ADAL" clId="{D2BC25FC-0C39-45AB-8B74-851B6F5A4959}" dt="2024-03-04T15:57:19.623" v="3087" actId="1076"/>
        <pc:sldMkLst>
          <pc:docMk/>
          <pc:sldMk cId="1215672095" sldId="264"/>
        </pc:sldMkLst>
        <pc:spChg chg="mod">
          <ac:chgData name="CLAUDIA ELIZABETH ROESSING ROCHA" userId="98c9b574-0003-4444-8361-b3d2c09fda2f" providerId="ADAL" clId="{D2BC25FC-0C39-45AB-8B74-851B6F5A4959}" dt="2024-02-27T16:13:45.100" v="1838" actId="1076"/>
          <ac:spMkLst>
            <pc:docMk/>
            <pc:sldMk cId="1215672095" sldId="264"/>
            <ac:spMk id="2" creationId="{725AFD42-FD03-032F-E81E-F3A29C7E25AF}"/>
          </ac:spMkLst>
        </pc:spChg>
        <pc:spChg chg="mod">
          <ac:chgData name="CLAUDIA ELIZABETH ROESSING ROCHA" userId="98c9b574-0003-4444-8361-b3d2c09fda2f" providerId="ADAL" clId="{D2BC25FC-0C39-45AB-8B74-851B6F5A4959}" dt="2024-02-27T15:48:16.594" v="1550" actId="1076"/>
          <ac:spMkLst>
            <pc:docMk/>
            <pc:sldMk cId="1215672095" sldId="264"/>
            <ac:spMk id="3" creationId="{999E1EA2-9D2E-D5F2-B1AC-F96A722C4433}"/>
          </ac:spMkLst>
        </pc:spChg>
        <pc:spChg chg="mod">
          <ac:chgData name="CLAUDIA ELIZABETH ROESSING ROCHA" userId="98c9b574-0003-4444-8361-b3d2c09fda2f" providerId="ADAL" clId="{D2BC25FC-0C39-45AB-8B74-851B6F5A4959}" dt="2024-02-27T16:13:51.792" v="1839" actId="1076"/>
          <ac:spMkLst>
            <pc:docMk/>
            <pc:sldMk cId="1215672095" sldId="264"/>
            <ac:spMk id="6" creationId="{23A76748-B509-BEA9-1BAE-6F351B0813F0}"/>
          </ac:spMkLst>
        </pc:spChg>
        <pc:spChg chg="add mod">
          <ac:chgData name="CLAUDIA ELIZABETH ROESSING ROCHA" userId="98c9b574-0003-4444-8361-b3d2c09fda2f" providerId="ADAL" clId="{D2BC25FC-0C39-45AB-8B74-851B6F5A4959}" dt="2024-03-04T15:39:33.182" v="2803" actId="1076"/>
          <ac:spMkLst>
            <pc:docMk/>
            <pc:sldMk cId="1215672095" sldId="264"/>
            <ac:spMk id="8" creationId="{BCB038B2-9DE7-F76A-5429-45C2A536DB53}"/>
          </ac:spMkLst>
        </pc:spChg>
        <pc:spChg chg="add mod">
          <ac:chgData name="CLAUDIA ELIZABETH ROESSING ROCHA" userId="98c9b574-0003-4444-8361-b3d2c09fda2f" providerId="ADAL" clId="{D2BC25FC-0C39-45AB-8B74-851B6F5A4959}" dt="2024-02-27T15:48:10.869" v="1548" actId="1076"/>
          <ac:spMkLst>
            <pc:docMk/>
            <pc:sldMk cId="1215672095" sldId="264"/>
            <ac:spMk id="10" creationId="{34273DBA-B088-A0F2-6018-92B6A3604492}"/>
          </ac:spMkLst>
        </pc:spChg>
        <pc:spChg chg="mod">
          <ac:chgData name="CLAUDIA ELIZABETH ROESSING ROCHA" userId="98c9b574-0003-4444-8361-b3d2c09fda2f" providerId="ADAL" clId="{D2BC25FC-0C39-45AB-8B74-851B6F5A4959}" dt="2024-03-04T15:39:29.156" v="2802" actId="1076"/>
          <ac:spMkLst>
            <pc:docMk/>
            <pc:sldMk cId="1215672095" sldId="264"/>
            <ac:spMk id="14" creationId="{CB814F7D-EA10-BF47-056F-D0BF86A06B12}"/>
          </ac:spMkLst>
        </pc:spChg>
        <pc:spChg chg="mod">
          <ac:chgData name="CLAUDIA ELIZABETH ROESSING ROCHA" userId="98c9b574-0003-4444-8361-b3d2c09fda2f" providerId="ADAL" clId="{D2BC25FC-0C39-45AB-8B74-851B6F5A4959}" dt="2024-02-27T16:25:50.548" v="1947" actId="2711"/>
          <ac:spMkLst>
            <pc:docMk/>
            <pc:sldMk cId="1215672095" sldId="264"/>
            <ac:spMk id="15" creationId="{8A4DD5DA-8963-A795-493C-F91FC528A949}"/>
          </ac:spMkLst>
        </pc:spChg>
        <pc:spChg chg="add mod">
          <ac:chgData name="CLAUDIA ELIZABETH ROESSING ROCHA" userId="98c9b574-0003-4444-8361-b3d2c09fda2f" providerId="ADAL" clId="{D2BC25FC-0C39-45AB-8B74-851B6F5A4959}" dt="2024-03-04T15:39:50.310" v="2805" actId="1076"/>
          <ac:spMkLst>
            <pc:docMk/>
            <pc:sldMk cId="1215672095" sldId="264"/>
            <ac:spMk id="16" creationId="{9DC9936E-8029-4570-AE82-1531AE764437}"/>
          </ac:spMkLst>
        </pc:spChg>
        <pc:picChg chg="mod">
          <ac:chgData name="CLAUDIA ELIZABETH ROESSING ROCHA" userId="98c9b574-0003-4444-8361-b3d2c09fda2f" providerId="ADAL" clId="{D2BC25FC-0C39-45AB-8B74-851B6F5A4959}" dt="2024-02-27T15:48:20.477" v="1551" actId="1076"/>
          <ac:picMkLst>
            <pc:docMk/>
            <pc:sldMk cId="1215672095" sldId="264"/>
            <ac:picMk id="4" creationId="{0A5ACB75-FD93-6703-3CEC-2048D52B34E2}"/>
          </ac:picMkLst>
        </pc:picChg>
        <pc:picChg chg="mod">
          <ac:chgData name="CLAUDIA ELIZABETH ROESSING ROCHA" userId="98c9b574-0003-4444-8361-b3d2c09fda2f" providerId="ADAL" clId="{D2BC25FC-0C39-45AB-8B74-851B6F5A4959}" dt="2024-02-27T16:13:51.792" v="1839" actId="1076"/>
          <ac:picMkLst>
            <pc:docMk/>
            <pc:sldMk cId="1215672095" sldId="264"/>
            <ac:picMk id="5" creationId="{8F41BD07-D1A7-9F26-7C6A-F89D78DB3E5C}"/>
          </ac:picMkLst>
        </pc:picChg>
        <pc:picChg chg="add mod">
          <ac:chgData name="CLAUDIA ELIZABETH ROESSING ROCHA" userId="98c9b574-0003-4444-8361-b3d2c09fda2f" providerId="ADAL" clId="{D2BC25FC-0C39-45AB-8B74-851B6F5A4959}" dt="2024-03-04T15:39:21.495" v="2801" actId="1076"/>
          <ac:picMkLst>
            <pc:docMk/>
            <pc:sldMk cId="1215672095" sldId="264"/>
            <ac:picMk id="7" creationId="{27A8733D-9245-CACB-79FA-1EFD0B8DEB8B}"/>
          </ac:picMkLst>
        </pc:picChg>
        <pc:picChg chg="add mod">
          <ac:chgData name="CLAUDIA ELIZABETH ROESSING ROCHA" userId="98c9b574-0003-4444-8361-b3d2c09fda2f" providerId="ADAL" clId="{D2BC25FC-0C39-45AB-8B74-851B6F5A4959}" dt="2024-03-04T15:57:19.623" v="3087" actId="1076"/>
          <ac:picMkLst>
            <pc:docMk/>
            <pc:sldMk cId="1215672095" sldId="264"/>
            <ac:picMk id="9" creationId="{971A9473-8DC4-F3C6-1355-F829583D78FE}"/>
          </ac:picMkLst>
        </pc:picChg>
        <pc:picChg chg="add del mod">
          <ac:chgData name="CLAUDIA ELIZABETH ROESSING ROCHA" userId="98c9b574-0003-4444-8361-b3d2c09fda2f" providerId="ADAL" clId="{D2BC25FC-0C39-45AB-8B74-851B6F5A4959}" dt="2024-03-04T15:57:14.474" v="3085" actId="478"/>
          <ac:picMkLst>
            <pc:docMk/>
            <pc:sldMk cId="1215672095" sldId="264"/>
            <ac:picMk id="11" creationId="{BB2AFEBA-0334-593B-9666-01F19EA2CFF2}"/>
          </ac:picMkLst>
        </pc:picChg>
        <pc:picChg chg="add del mod">
          <ac:chgData name="CLAUDIA ELIZABETH ROESSING ROCHA" userId="98c9b574-0003-4444-8361-b3d2c09fda2f" providerId="ADAL" clId="{D2BC25FC-0C39-45AB-8B74-851B6F5A4959}" dt="2024-03-04T13:19:33.263" v="2410" actId="478"/>
          <ac:picMkLst>
            <pc:docMk/>
            <pc:sldMk cId="1215672095" sldId="264"/>
            <ac:picMk id="13" creationId="{CCBE46EE-EABA-19DA-9163-30C5A5F77471}"/>
          </ac:picMkLst>
        </pc:picChg>
      </pc:sldChg>
      <pc:sldChg chg="addSp modSp del mod ord">
        <pc:chgData name="CLAUDIA ELIZABETH ROESSING ROCHA" userId="98c9b574-0003-4444-8361-b3d2c09fda2f" providerId="ADAL" clId="{D2BC25FC-0C39-45AB-8B74-851B6F5A4959}" dt="2024-03-05T00:15:41.370" v="3784" actId="47"/>
        <pc:sldMkLst>
          <pc:docMk/>
          <pc:sldMk cId="3760388519" sldId="265"/>
        </pc:sldMkLst>
        <pc:picChg chg="add mod">
          <ac:chgData name="CLAUDIA ELIZABETH ROESSING ROCHA" userId="98c9b574-0003-4444-8361-b3d2c09fda2f" providerId="ADAL" clId="{D2BC25FC-0C39-45AB-8B74-851B6F5A4959}" dt="2024-02-27T14:19:32.728" v="480" actId="1076"/>
          <ac:picMkLst>
            <pc:docMk/>
            <pc:sldMk cId="3760388519" sldId="265"/>
            <ac:picMk id="4" creationId="{789A9E0C-8605-01E6-51B8-50D13ADA3EA5}"/>
          </ac:picMkLst>
        </pc:picChg>
      </pc:sldChg>
      <pc:sldChg chg="addSp delSp modSp mod">
        <pc:chgData name="CLAUDIA ELIZABETH ROESSING ROCHA" userId="98c9b574-0003-4444-8361-b3d2c09fda2f" providerId="ADAL" clId="{D2BC25FC-0C39-45AB-8B74-851B6F5A4959}" dt="2024-03-04T15:58:07.214" v="3097" actId="1076"/>
        <pc:sldMkLst>
          <pc:docMk/>
          <pc:sldMk cId="594921248" sldId="266"/>
        </pc:sldMkLst>
        <pc:picChg chg="add del mod">
          <ac:chgData name="CLAUDIA ELIZABETH ROESSING ROCHA" userId="98c9b574-0003-4444-8361-b3d2c09fda2f" providerId="ADAL" clId="{D2BC25FC-0C39-45AB-8B74-851B6F5A4959}" dt="2024-03-04T15:58:02.428" v="3095" actId="478"/>
          <ac:picMkLst>
            <pc:docMk/>
            <pc:sldMk cId="594921248" sldId="266"/>
            <ac:picMk id="3" creationId="{3BDC6115-D368-B033-3BAD-ED5B304EA75F}"/>
          </ac:picMkLst>
        </pc:picChg>
        <pc:picChg chg="add mod">
          <ac:chgData name="CLAUDIA ELIZABETH ROESSING ROCHA" userId="98c9b574-0003-4444-8361-b3d2c09fda2f" providerId="ADAL" clId="{D2BC25FC-0C39-45AB-8B74-851B6F5A4959}" dt="2024-03-04T15:58:07.214" v="3097" actId="1076"/>
          <ac:picMkLst>
            <pc:docMk/>
            <pc:sldMk cId="594921248" sldId="266"/>
            <ac:picMk id="4" creationId="{91117386-6F03-7862-16AC-08F6AD0F6372}"/>
          </ac:picMkLst>
        </pc:picChg>
      </pc:sldChg>
      <pc:sldChg chg="addSp delSp modSp del mod ord">
        <pc:chgData name="CLAUDIA ELIZABETH ROESSING ROCHA" userId="98c9b574-0003-4444-8361-b3d2c09fda2f" providerId="ADAL" clId="{D2BC25FC-0C39-45AB-8B74-851B6F5A4959}" dt="2024-03-05T00:15:46.503" v="3785" actId="47"/>
        <pc:sldMkLst>
          <pc:docMk/>
          <pc:sldMk cId="2813361436" sldId="267"/>
        </pc:sldMkLst>
        <pc:picChg chg="add mod">
          <ac:chgData name="CLAUDIA ELIZABETH ROESSING ROCHA" userId="98c9b574-0003-4444-8361-b3d2c09fda2f" providerId="ADAL" clId="{D2BC25FC-0C39-45AB-8B74-851B6F5A4959}" dt="2024-02-27T14:24:32.020" v="546"/>
          <ac:picMkLst>
            <pc:docMk/>
            <pc:sldMk cId="2813361436" sldId="267"/>
            <ac:picMk id="3" creationId="{A2238536-5F74-7E56-3C00-3B31F23B73D6}"/>
          </ac:picMkLst>
        </pc:picChg>
        <pc:picChg chg="del">
          <ac:chgData name="CLAUDIA ELIZABETH ROESSING ROCHA" userId="98c9b574-0003-4444-8361-b3d2c09fda2f" providerId="ADAL" clId="{D2BC25FC-0C39-45AB-8B74-851B6F5A4959}" dt="2024-02-27T14:24:25.662" v="545" actId="478"/>
          <ac:picMkLst>
            <pc:docMk/>
            <pc:sldMk cId="2813361436" sldId="267"/>
            <ac:picMk id="4" creationId="{8A69D534-AE4A-44DD-CD8B-109B97E5EA65}"/>
          </ac:picMkLst>
        </pc:picChg>
      </pc:sldChg>
      <pc:sldChg chg="addSp delSp modSp mod">
        <pc:chgData name="CLAUDIA ELIZABETH ROESSING ROCHA" userId="98c9b574-0003-4444-8361-b3d2c09fda2f" providerId="ADAL" clId="{D2BC25FC-0C39-45AB-8B74-851B6F5A4959}" dt="2024-03-04T15:55:25.623" v="3061" actId="1035"/>
        <pc:sldMkLst>
          <pc:docMk/>
          <pc:sldMk cId="1872562337" sldId="268"/>
        </pc:sldMkLst>
        <pc:spChg chg="mod">
          <ac:chgData name="CLAUDIA ELIZABETH ROESSING ROCHA" userId="98c9b574-0003-4444-8361-b3d2c09fda2f" providerId="ADAL" clId="{D2BC25FC-0C39-45AB-8B74-851B6F5A4959}" dt="2024-03-04T14:34:49.980" v="2472" actId="20577"/>
          <ac:spMkLst>
            <pc:docMk/>
            <pc:sldMk cId="1872562337" sldId="268"/>
            <ac:spMk id="3" creationId="{CE8B74A4-F9B8-F77F-682A-DABE5D87D47C}"/>
          </ac:spMkLst>
        </pc:spChg>
        <pc:picChg chg="add del mod">
          <ac:chgData name="CLAUDIA ELIZABETH ROESSING ROCHA" userId="98c9b574-0003-4444-8361-b3d2c09fda2f" providerId="ADAL" clId="{D2BC25FC-0C39-45AB-8B74-851B6F5A4959}" dt="2024-03-04T15:54:45.006" v="3052" actId="478"/>
          <ac:picMkLst>
            <pc:docMk/>
            <pc:sldMk cId="1872562337" sldId="268"/>
            <ac:picMk id="4" creationId="{EF2355EA-A4F7-EA06-329B-19F81FAB17D5}"/>
          </ac:picMkLst>
        </pc:picChg>
        <pc:picChg chg="add mod">
          <ac:chgData name="CLAUDIA ELIZABETH ROESSING ROCHA" userId="98c9b574-0003-4444-8361-b3d2c09fda2f" providerId="ADAL" clId="{D2BC25FC-0C39-45AB-8B74-851B6F5A4959}" dt="2024-03-04T15:55:25.623" v="3061" actId="1035"/>
          <ac:picMkLst>
            <pc:docMk/>
            <pc:sldMk cId="1872562337" sldId="268"/>
            <ac:picMk id="5" creationId="{366EBEAA-AFCE-58D0-0252-C18FB1707A20}"/>
          </ac:picMkLst>
        </pc:picChg>
      </pc:sldChg>
      <pc:sldChg chg="addSp delSp modSp mod">
        <pc:chgData name="CLAUDIA ELIZABETH ROESSING ROCHA" userId="98c9b574-0003-4444-8361-b3d2c09fda2f" providerId="ADAL" clId="{D2BC25FC-0C39-45AB-8B74-851B6F5A4959}" dt="2024-03-04T15:56:48.163" v="3081" actId="1076"/>
        <pc:sldMkLst>
          <pc:docMk/>
          <pc:sldMk cId="2251601990" sldId="269"/>
        </pc:sldMkLst>
        <pc:picChg chg="add del mod">
          <ac:chgData name="CLAUDIA ELIZABETH ROESSING ROCHA" userId="98c9b574-0003-4444-8361-b3d2c09fda2f" providerId="ADAL" clId="{D2BC25FC-0C39-45AB-8B74-851B6F5A4959}" dt="2024-03-04T15:56:23.292" v="3078" actId="478"/>
          <ac:picMkLst>
            <pc:docMk/>
            <pc:sldMk cId="2251601990" sldId="269"/>
            <ac:picMk id="4" creationId="{C8DCC225-3CFF-DA8C-D87F-4D2FC9B86387}"/>
          </ac:picMkLst>
        </pc:picChg>
        <pc:picChg chg="add mod">
          <ac:chgData name="CLAUDIA ELIZABETH ROESSING ROCHA" userId="98c9b574-0003-4444-8361-b3d2c09fda2f" providerId="ADAL" clId="{D2BC25FC-0C39-45AB-8B74-851B6F5A4959}" dt="2024-03-04T15:56:48.163" v="3081" actId="1076"/>
          <ac:picMkLst>
            <pc:docMk/>
            <pc:sldMk cId="2251601990" sldId="269"/>
            <ac:picMk id="5" creationId="{9E8DEFB4-FB69-0445-2022-F0449AC8619A}"/>
          </ac:picMkLst>
        </pc:picChg>
      </pc:sldChg>
      <pc:sldChg chg="del ord">
        <pc:chgData name="CLAUDIA ELIZABETH ROESSING ROCHA" userId="98c9b574-0003-4444-8361-b3d2c09fda2f" providerId="ADAL" clId="{D2BC25FC-0C39-45AB-8B74-851B6F5A4959}" dt="2024-03-05T00:15:41.370" v="3784" actId="47"/>
        <pc:sldMkLst>
          <pc:docMk/>
          <pc:sldMk cId="1063791618" sldId="271"/>
        </pc:sldMkLst>
      </pc:sldChg>
      <pc:sldChg chg="del ord">
        <pc:chgData name="CLAUDIA ELIZABETH ROESSING ROCHA" userId="98c9b574-0003-4444-8361-b3d2c09fda2f" providerId="ADAL" clId="{D2BC25FC-0C39-45AB-8B74-851B6F5A4959}" dt="2024-03-05T00:15:41.370" v="3784" actId="47"/>
        <pc:sldMkLst>
          <pc:docMk/>
          <pc:sldMk cId="2037890" sldId="272"/>
        </pc:sldMkLst>
      </pc:sldChg>
      <pc:sldChg chg="del ord">
        <pc:chgData name="CLAUDIA ELIZABETH ROESSING ROCHA" userId="98c9b574-0003-4444-8361-b3d2c09fda2f" providerId="ADAL" clId="{D2BC25FC-0C39-45AB-8B74-851B6F5A4959}" dt="2024-03-05T00:15:38.330" v="3783" actId="47"/>
        <pc:sldMkLst>
          <pc:docMk/>
          <pc:sldMk cId="870862769" sldId="273"/>
        </pc:sldMkLst>
      </pc:sldChg>
      <pc:sldChg chg="del ord">
        <pc:chgData name="CLAUDIA ELIZABETH ROESSING ROCHA" userId="98c9b574-0003-4444-8361-b3d2c09fda2f" providerId="ADAL" clId="{D2BC25FC-0C39-45AB-8B74-851B6F5A4959}" dt="2024-03-05T00:15:38.330" v="3783" actId="47"/>
        <pc:sldMkLst>
          <pc:docMk/>
          <pc:sldMk cId="3514624504" sldId="274"/>
        </pc:sldMkLst>
      </pc:sldChg>
      <pc:sldChg chg="del ord">
        <pc:chgData name="CLAUDIA ELIZABETH ROESSING ROCHA" userId="98c9b574-0003-4444-8361-b3d2c09fda2f" providerId="ADAL" clId="{D2BC25FC-0C39-45AB-8B74-851B6F5A4959}" dt="2024-03-05T00:15:38.330" v="3783" actId="47"/>
        <pc:sldMkLst>
          <pc:docMk/>
          <pc:sldMk cId="1449299530" sldId="275"/>
        </pc:sldMkLst>
      </pc:sldChg>
      <pc:sldChg chg="addSp delSp modSp mod">
        <pc:chgData name="CLAUDIA ELIZABETH ROESSING ROCHA" userId="98c9b574-0003-4444-8361-b3d2c09fda2f" providerId="ADAL" clId="{D2BC25FC-0C39-45AB-8B74-851B6F5A4959}" dt="2024-03-04T16:02:51.775" v="3119" actId="20577"/>
        <pc:sldMkLst>
          <pc:docMk/>
          <pc:sldMk cId="1699077570" sldId="276"/>
        </pc:sldMkLst>
        <pc:spChg chg="del mod">
          <ac:chgData name="CLAUDIA ELIZABETH ROESSING ROCHA" userId="98c9b574-0003-4444-8361-b3d2c09fda2f" providerId="ADAL" clId="{D2BC25FC-0C39-45AB-8B74-851B6F5A4959}" dt="2024-02-27T13:30:35.926" v="81" actId="478"/>
          <ac:spMkLst>
            <pc:docMk/>
            <pc:sldMk cId="1699077570" sldId="276"/>
            <ac:spMk id="3" creationId="{1D3A7BD6-C593-66BF-9005-9D5821F5F42F}"/>
          </ac:spMkLst>
        </pc:spChg>
        <pc:spChg chg="add del mod">
          <ac:chgData name="CLAUDIA ELIZABETH ROESSING ROCHA" userId="98c9b574-0003-4444-8361-b3d2c09fda2f" providerId="ADAL" clId="{D2BC25FC-0C39-45AB-8B74-851B6F5A4959}" dt="2024-02-27T13:30:37.835" v="82" actId="478"/>
          <ac:spMkLst>
            <pc:docMk/>
            <pc:sldMk cId="1699077570" sldId="276"/>
            <ac:spMk id="6" creationId="{D6B2E2B2-C244-A82E-5E7E-86650105866F}"/>
          </ac:spMkLst>
        </pc:spChg>
        <pc:graphicFrameChg chg="add mod modGraphic">
          <ac:chgData name="CLAUDIA ELIZABETH ROESSING ROCHA" userId="98c9b574-0003-4444-8361-b3d2c09fda2f" providerId="ADAL" clId="{D2BC25FC-0C39-45AB-8B74-851B6F5A4959}" dt="2024-03-04T16:02:51.775" v="3119" actId="20577"/>
          <ac:graphicFrameMkLst>
            <pc:docMk/>
            <pc:sldMk cId="1699077570" sldId="276"/>
            <ac:graphicFrameMk id="4" creationId="{99454F72-1E29-EB26-2718-A133CE603113}"/>
          </ac:graphicFrameMkLst>
        </pc:graphicFrameChg>
        <pc:picChg chg="add del mod">
          <ac:chgData name="CLAUDIA ELIZABETH ROESSING ROCHA" userId="98c9b574-0003-4444-8361-b3d2c09fda2f" providerId="ADAL" clId="{D2BC25FC-0C39-45AB-8B74-851B6F5A4959}" dt="2024-03-04T15:58:35.989" v="3099" actId="478"/>
          <ac:picMkLst>
            <pc:docMk/>
            <pc:sldMk cId="1699077570" sldId="276"/>
            <ac:picMk id="5" creationId="{0FD3AAD9-0D7D-92C1-480C-827117725B62}"/>
          </ac:picMkLst>
        </pc:picChg>
        <pc:picChg chg="add mod">
          <ac:chgData name="CLAUDIA ELIZABETH ROESSING ROCHA" userId="98c9b574-0003-4444-8361-b3d2c09fda2f" providerId="ADAL" clId="{D2BC25FC-0C39-45AB-8B74-851B6F5A4959}" dt="2024-03-04T15:59:01.893" v="3102" actId="1076"/>
          <ac:picMkLst>
            <pc:docMk/>
            <pc:sldMk cId="1699077570" sldId="276"/>
            <ac:picMk id="6" creationId="{C2FCBEF1-D8ED-CBAF-C4D6-E130608CCEC5}"/>
          </ac:picMkLst>
        </pc:picChg>
      </pc:sldChg>
      <pc:sldChg chg="del">
        <pc:chgData name="CLAUDIA ELIZABETH ROESSING ROCHA" userId="98c9b574-0003-4444-8361-b3d2c09fda2f" providerId="ADAL" clId="{D2BC25FC-0C39-45AB-8B74-851B6F5A4959}" dt="2024-03-05T00:15:46.503" v="3785" actId="47"/>
        <pc:sldMkLst>
          <pc:docMk/>
          <pc:sldMk cId="590987898" sldId="278"/>
        </pc:sldMkLst>
      </pc:sldChg>
      <pc:sldChg chg="addSp delSp modSp mod ord">
        <pc:chgData name="CLAUDIA ELIZABETH ROESSING ROCHA" userId="98c9b574-0003-4444-8361-b3d2c09fda2f" providerId="ADAL" clId="{D2BC25FC-0C39-45AB-8B74-851B6F5A4959}" dt="2024-03-04T15:57:04.686" v="3084" actId="1076"/>
        <pc:sldMkLst>
          <pc:docMk/>
          <pc:sldMk cId="2883095463" sldId="279"/>
        </pc:sldMkLst>
        <pc:spChg chg="add mod">
          <ac:chgData name="CLAUDIA ELIZABETH ROESSING ROCHA" userId="98c9b574-0003-4444-8361-b3d2c09fda2f" providerId="ADAL" clId="{D2BC25FC-0C39-45AB-8B74-851B6F5A4959}" dt="2024-03-04T15:07:40.641" v="2681" actId="1076"/>
          <ac:spMkLst>
            <pc:docMk/>
            <pc:sldMk cId="2883095463" sldId="279"/>
            <ac:spMk id="3" creationId="{24FB6D04-3B03-A8C0-DAB0-B4AE7054988E}"/>
          </ac:spMkLst>
        </pc:spChg>
        <pc:spChg chg="add mod">
          <ac:chgData name="CLAUDIA ELIZABETH ROESSING ROCHA" userId="98c9b574-0003-4444-8361-b3d2c09fda2f" providerId="ADAL" clId="{D2BC25FC-0C39-45AB-8B74-851B6F5A4959}" dt="2024-03-04T15:08:45.801" v="2694" actId="1076"/>
          <ac:spMkLst>
            <pc:docMk/>
            <pc:sldMk cId="2883095463" sldId="279"/>
            <ac:spMk id="4" creationId="{03AE60AA-6728-4527-DF93-D5054C9897EE}"/>
          </ac:spMkLst>
        </pc:spChg>
        <pc:spChg chg="add del mod">
          <ac:chgData name="CLAUDIA ELIZABETH ROESSING ROCHA" userId="98c9b574-0003-4444-8361-b3d2c09fda2f" providerId="ADAL" clId="{D2BC25FC-0C39-45AB-8B74-851B6F5A4959}" dt="2024-02-27T13:59:53.233" v="354" actId="478"/>
          <ac:spMkLst>
            <pc:docMk/>
            <pc:sldMk cId="2883095463" sldId="279"/>
            <ac:spMk id="4" creationId="{48358F8C-F38C-B0DA-2E54-90EE28563A59}"/>
          </ac:spMkLst>
        </pc:spChg>
        <pc:spChg chg="add mod">
          <ac:chgData name="CLAUDIA ELIZABETH ROESSING ROCHA" userId="98c9b574-0003-4444-8361-b3d2c09fda2f" providerId="ADAL" clId="{D2BC25FC-0C39-45AB-8B74-851B6F5A4959}" dt="2024-03-04T15:14:20.381" v="2793" actId="1076"/>
          <ac:spMkLst>
            <pc:docMk/>
            <pc:sldMk cId="2883095463" sldId="279"/>
            <ac:spMk id="5" creationId="{A70D6373-0A93-E39C-DACF-F45CF03B6F1C}"/>
          </ac:spMkLst>
        </pc:spChg>
        <pc:spChg chg="mod">
          <ac:chgData name="CLAUDIA ELIZABETH ROESSING ROCHA" userId="98c9b574-0003-4444-8361-b3d2c09fda2f" providerId="ADAL" clId="{D2BC25FC-0C39-45AB-8B74-851B6F5A4959}" dt="2024-03-04T15:09:58.061" v="2706" actId="14100"/>
          <ac:spMkLst>
            <pc:docMk/>
            <pc:sldMk cId="2883095463" sldId="279"/>
            <ac:spMk id="6" creationId="{D7E716B3-E7AA-3364-EF9A-A6C2518BF697}"/>
          </ac:spMkLst>
        </pc:spChg>
        <pc:spChg chg="mod">
          <ac:chgData name="CLAUDIA ELIZABETH ROESSING ROCHA" userId="98c9b574-0003-4444-8361-b3d2c09fda2f" providerId="ADAL" clId="{D2BC25FC-0C39-45AB-8B74-851B6F5A4959}" dt="2024-03-04T15:03:10.256" v="2635" actId="1076"/>
          <ac:spMkLst>
            <pc:docMk/>
            <pc:sldMk cId="2883095463" sldId="279"/>
            <ac:spMk id="7" creationId="{9C66938F-067B-8B03-3114-07BD7FAC6D9A}"/>
          </ac:spMkLst>
        </pc:spChg>
        <pc:spChg chg="del mod">
          <ac:chgData name="CLAUDIA ELIZABETH ROESSING ROCHA" userId="98c9b574-0003-4444-8361-b3d2c09fda2f" providerId="ADAL" clId="{D2BC25FC-0C39-45AB-8B74-851B6F5A4959}" dt="2024-03-04T15:02:28.085" v="2625" actId="478"/>
          <ac:spMkLst>
            <pc:docMk/>
            <pc:sldMk cId="2883095463" sldId="279"/>
            <ac:spMk id="8" creationId="{2E5D301E-7C60-F2F1-F1DB-3736C65BE3D3}"/>
          </ac:spMkLst>
        </pc:spChg>
        <pc:spChg chg="mod">
          <ac:chgData name="CLAUDIA ELIZABETH ROESSING ROCHA" userId="98c9b574-0003-4444-8361-b3d2c09fda2f" providerId="ADAL" clId="{D2BC25FC-0C39-45AB-8B74-851B6F5A4959}" dt="2024-03-04T15:08:50.706" v="2695" actId="1076"/>
          <ac:spMkLst>
            <pc:docMk/>
            <pc:sldMk cId="2883095463" sldId="279"/>
            <ac:spMk id="9" creationId="{3F9AB42E-B3CE-B6C2-3B38-0EB54162D322}"/>
          </ac:spMkLst>
        </pc:spChg>
        <pc:spChg chg="mod">
          <ac:chgData name="CLAUDIA ELIZABETH ROESSING ROCHA" userId="98c9b574-0003-4444-8361-b3d2c09fda2f" providerId="ADAL" clId="{D2BC25FC-0C39-45AB-8B74-851B6F5A4959}" dt="2024-03-04T15:03:19.715" v="2637" actId="1076"/>
          <ac:spMkLst>
            <pc:docMk/>
            <pc:sldMk cId="2883095463" sldId="279"/>
            <ac:spMk id="10" creationId="{21EEC4E8-8935-577D-EA69-8709038EE73E}"/>
          </ac:spMkLst>
        </pc:spChg>
        <pc:spChg chg="mod">
          <ac:chgData name="CLAUDIA ELIZABETH ROESSING ROCHA" userId="98c9b574-0003-4444-8361-b3d2c09fda2f" providerId="ADAL" clId="{D2BC25FC-0C39-45AB-8B74-851B6F5A4959}" dt="2024-03-04T15:05:56.790" v="2660" actId="14100"/>
          <ac:spMkLst>
            <pc:docMk/>
            <pc:sldMk cId="2883095463" sldId="279"/>
            <ac:spMk id="11" creationId="{8E911196-8BBF-B246-34F4-85C27D174D9B}"/>
          </ac:spMkLst>
        </pc:spChg>
        <pc:spChg chg="mod">
          <ac:chgData name="CLAUDIA ELIZABETH ROESSING ROCHA" userId="98c9b574-0003-4444-8361-b3d2c09fda2f" providerId="ADAL" clId="{D2BC25FC-0C39-45AB-8B74-851B6F5A4959}" dt="2024-03-04T15:05:24.260" v="2655" actId="1076"/>
          <ac:spMkLst>
            <pc:docMk/>
            <pc:sldMk cId="2883095463" sldId="279"/>
            <ac:spMk id="12" creationId="{06F07B77-E5D1-2211-9FBE-238774A6A52D}"/>
          </ac:spMkLst>
        </pc:spChg>
        <pc:spChg chg="mod">
          <ac:chgData name="CLAUDIA ELIZABETH ROESSING ROCHA" userId="98c9b574-0003-4444-8361-b3d2c09fda2f" providerId="ADAL" clId="{D2BC25FC-0C39-45AB-8B74-851B6F5A4959}" dt="2024-03-04T15:05:14.360" v="2653" actId="14100"/>
          <ac:spMkLst>
            <pc:docMk/>
            <pc:sldMk cId="2883095463" sldId="279"/>
            <ac:spMk id="13" creationId="{B2840F10-F453-9839-9CE0-F58C6ECD2F7B}"/>
          </ac:spMkLst>
        </pc:spChg>
        <pc:spChg chg="mod">
          <ac:chgData name="CLAUDIA ELIZABETH ROESSING ROCHA" userId="98c9b574-0003-4444-8361-b3d2c09fda2f" providerId="ADAL" clId="{D2BC25FC-0C39-45AB-8B74-851B6F5A4959}" dt="2024-03-04T15:10:10.361" v="2709" actId="1076"/>
          <ac:spMkLst>
            <pc:docMk/>
            <pc:sldMk cId="2883095463" sldId="279"/>
            <ac:spMk id="14" creationId="{E0B78C4C-93C3-D135-BF7F-EEC403C22A9B}"/>
          </ac:spMkLst>
        </pc:spChg>
        <pc:spChg chg="mod">
          <ac:chgData name="CLAUDIA ELIZABETH ROESSING ROCHA" userId="98c9b574-0003-4444-8361-b3d2c09fda2f" providerId="ADAL" clId="{D2BC25FC-0C39-45AB-8B74-851B6F5A4959}" dt="2024-03-04T15:10:13.530" v="2710" actId="1076"/>
          <ac:spMkLst>
            <pc:docMk/>
            <pc:sldMk cId="2883095463" sldId="279"/>
            <ac:spMk id="15" creationId="{1245A756-C8EE-05DF-DB60-D3045EFFDFC4}"/>
          </ac:spMkLst>
        </pc:spChg>
        <pc:spChg chg="mod">
          <ac:chgData name="CLAUDIA ELIZABETH ROESSING ROCHA" userId="98c9b574-0003-4444-8361-b3d2c09fda2f" providerId="ADAL" clId="{D2BC25FC-0C39-45AB-8B74-851B6F5A4959}" dt="2024-03-04T15:09:54.923" v="2705" actId="1076"/>
          <ac:spMkLst>
            <pc:docMk/>
            <pc:sldMk cId="2883095463" sldId="279"/>
            <ac:spMk id="16" creationId="{40F68934-3419-DFBE-4B15-0054C88B9B2F}"/>
          </ac:spMkLst>
        </pc:spChg>
        <pc:spChg chg="mod">
          <ac:chgData name="CLAUDIA ELIZABETH ROESSING ROCHA" userId="98c9b574-0003-4444-8361-b3d2c09fda2f" providerId="ADAL" clId="{D2BC25FC-0C39-45AB-8B74-851B6F5A4959}" dt="2024-03-04T15:03:58.582" v="2642" actId="255"/>
          <ac:spMkLst>
            <pc:docMk/>
            <pc:sldMk cId="2883095463" sldId="279"/>
            <ac:spMk id="17" creationId="{BC95ACA6-D52E-F12B-5CA6-9A996AF6EFCA}"/>
          </ac:spMkLst>
        </pc:spChg>
        <pc:spChg chg="mod">
          <ac:chgData name="CLAUDIA ELIZABETH ROESSING ROCHA" userId="98c9b574-0003-4444-8361-b3d2c09fda2f" providerId="ADAL" clId="{D2BC25FC-0C39-45AB-8B74-851B6F5A4959}" dt="2024-03-04T15:10:05.091" v="2708" actId="1076"/>
          <ac:spMkLst>
            <pc:docMk/>
            <pc:sldMk cId="2883095463" sldId="279"/>
            <ac:spMk id="18" creationId="{A02BA4CF-DFD6-3CC3-F697-4C7179616CD8}"/>
          </ac:spMkLst>
        </pc:spChg>
        <pc:spChg chg="mod">
          <ac:chgData name="CLAUDIA ELIZABETH ROESSING ROCHA" userId="98c9b574-0003-4444-8361-b3d2c09fda2f" providerId="ADAL" clId="{D2BC25FC-0C39-45AB-8B74-851B6F5A4959}" dt="2024-03-04T15:09:05.257" v="2698" actId="1076"/>
          <ac:spMkLst>
            <pc:docMk/>
            <pc:sldMk cId="2883095463" sldId="279"/>
            <ac:spMk id="19" creationId="{D205A586-FAEF-CDE3-7246-C99B8096605B}"/>
          </ac:spMkLst>
        </pc:spChg>
        <pc:spChg chg="mod">
          <ac:chgData name="CLAUDIA ELIZABETH ROESSING ROCHA" userId="98c9b574-0003-4444-8361-b3d2c09fda2f" providerId="ADAL" clId="{D2BC25FC-0C39-45AB-8B74-851B6F5A4959}" dt="2024-03-04T15:06:03.670" v="2662" actId="1076"/>
          <ac:spMkLst>
            <pc:docMk/>
            <pc:sldMk cId="2883095463" sldId="279"/>
            <ac:spMk id="20" creationId="{F4D1A717-99C3-0C73-2539-75543AEAF983}"/>
          </ac:spMkLst>
        </pc:spChg>
        <pc:spChg chg="mod">
          <ac:chgData name="CLAUDIA ELIZABETH ROESSING ROCHA" userId="98c9b574-0003-4444-8361-b3d2c09fda2f" providerId="ADAL" clId="{D2BC25FC-0C39-45AB-8B74-851B6F5A4959}" dt="2024-03-04T15:05:10.720" v="2652" actId="6549"/>
          <ac:spMkLst>
            <pc:docMk/>
            <pc:sldMk cId="2883095463" sldId="279"/>
            <ac:spMk id="21" creationId="{CB9F2AF9-E90E-2508-E910-8E1AD64592E3}"/>
          </ac:spMkLst>
        </pc:spChg>
        <pc:spChg chg="mod">
          <ac:chgData name="CLAUDIA ELIZABETH ROESSING ROCHA" userId="98c9b574-0003-4444-8361-b3d2c09fda2f" providerId="ADAL" clId="{D2BC25FC-0C39-45AB-8B74-851B6F5A4959}" dt="2024-03-04T15:05:59.670" v="2661" actId="1076"/>
          <ac:spMkLst>
            <pc:docMk/>
            <pc:sldMk cId="2883095463" sldId="279"/>
            <ac:spMk id="22" creationId="{4F0565CF-0EE1-7D13-70A8-19A5C0112246}"/>
          </ac:spMkLst>
        </pc:spChg>
        <pc:spChg chg="mod">
          <ac:chgData name="CLAUDIA ELIZABETH ROESSING ROCHA" userId="98c9b574-0003-4444-8361-b3d2c09fda2f" providerId="ADAL" clId="{D2BC25FC-0C39-45AB-8B74-851B6F5A4959}" dt="2024-03-04T15:10:21.201" v="2711" actId="1076"/>
          <ac:spMkLst>
            <pc:docMk/>
            <pc:sldMk cId="2883095463" sldId="279"/>
            <ac:spMk id="23" creationId="{7159F9B3-7E00-02B5-8956-098A7E1AD7F3}"/>
          </ac:spMkLst>
        </pc:spChg>
        <pc:spChg chg="add mod">
          <ac:chgData name="CLAUDIA ELIZABETH ROESSING ROCHA" userId="98c9b574-0003-4444-8361-b3d2c09fda2f" providerId="ADAL" clId="{D2BC25FC-0C39-45AB-8B74-851B6F5A4959}" dt="2024-03-04T15:10:01.691" v="2707" actId="1076"/>
          <ac:spMkLst>
            <pc:docMk/>
            <pc:sldMk cId="2883095463" sldId="279"/>
            <ac:spMk id="24" creationId="{62182E36-E902-A30A-1BA9-B98D12F9C8C0}"/>
          </ac:spMkLst>
        </pc:spChg>
        <pc:spChg chg="add del mod">
          <ac:chgData name="CLAUDIA ELIZABETH ROESSING ROCHA" userId="98c9b574-0003-4444-8361-b3d2c09fda2f" providerId="ADAL" clId="{D2BC25FC-0C39-45AB-8B74-851B6F5A4959}" dt="2024-02-27T13:59:51.400" v="353" actId="478"/>
          <ac:spMkLst>
            <pc:docMk/>
            <pc:sldMk cId="2883095463" sldId="279"/>
            <ac:spMk id="24" creationId="{A323C923-2924-F176-0146-529A10864327}"/>
          </ac:spMkLst>
        </pc:spChg>
        <pc:spChg chg="add del mod">
          <ac:chgData name="CLAUDIA ELIZABETH ROESSING ROCHA" userId="98c9b574-0003-4444-8361-b3d2c09fda2f" providerId="ADAL" clId="{D2BC25FC-0C39-45AB-8B74-851B6F5A4959}" dt="2024-03-04T15:07:53.733" v="2683" actId="1076"/>
          <ac:spMkLst>
            <pc:docMk/>
            <pc:sldMk cId="2883095463" sldId="279"/>
            <ac:spMk id="25" creationId="{5F8EA5AC-2780-A92D-30CC-B69DA72F2C95}"/>
          </ac:spMkLst>
        </pc:spChg>
        <pc:spChg chg="add mod">
          <ac:chgData name="CLAUDIA ELIZABETH ROESSING ROCHA" userId="98c9b574-0003-4444-8361-b3d2c09fda2f" providerId="ADAL" clId="{D2BC25FC-0C39-45AB-8B74-851B6F5A4959}" dt="2024-03-04T15:14:15.571" v="2792" actId="1076"/>
          <ac:spMkLst>
            <pc:docMk/>
            <pc:sldMk cId="2883095463" sldId="279"/>
            <ac:spMk id="27" creationId="{170CD06B-B4C4-7ECD-8E2F-C508ECA26260}"/>
          </ac:spMkLst>
        </pc:spChg>
        <pc:spChg chg="add mod">
          <ac:chgData name="CLAUDIA ELIZABETH ROESSING ROCHA" userId="98c9b574-0003-4444-8361-b3d2c09fda2f" providerId="ADAL" clId="{D2BC25FC-0C39-45AB-8B74-851B6F5A4959}" dt="2024-03-04T15:07:50.856" v="2682" actId="1076"/>
          <ac:spMkLst>
            <pc:docMk/>
            <pc:sldMk cId="2883095463" sldId="279"/>
            <ac:spMk id="28" creationId="{863A1FE1-72A8-19A9-D13C-470FAAE73158}"/>
          </ac:spMkLst>
        </pc:spChg>
        <pc:spChg chg="add mod">
          <ac:chgData name="CLAUDIA ELIZABETH ROESSING ROCHA" userId="98c9b574-0003-4444-8361-b3d2c09fda2f" providerId="ADAL" clId="{D2BC25FC-0C39-45AB-8B74-851B6F5A4959}" dt="2024-03-04T15:07:36.322" v="2680" actId="1076"/>
          <ac:spMkLst>
            <pc:docMk/>
            <pc:sldMk cId="2883095463" sldId="279"/>
            <ac:spMk id="29" creationId="{4B16F225-C6CC-11FD-4DD1-A1999DE3DA77}"/>
          </ac:spMkLst>
        </pc:spChg>
        <pc:spChg chg="add mod">
          <ac:chgData name="CLAUDIA ELIZABETH ROESSING ROCHA" userId="98c9b574-0003-4444-8361-b3d2c09fda2f" providerId="ADAL" clId="{D2BC25FC-0C39-45AB-8B74-851B6F5A4959}" dt="2024-03-04T15:08:32.863" v="2691" actId="14100"/>
          <ac:spMkLst>
            <pc:docMk/>
            <pc:sldMk cId="2883095463" sldId="279"/>
            <ac:spMk id="30" creationId="{F2551067-44C1-DF8F-4756-D7DF0EC1EBF5}"/>
          </ac:spMkLst>
        </pc:spChg>
        <pc:spChg chg="add del mod">
          <ac:chgData name="CLAUDIA ELIZABETH ROESSING ROCHA" userId="98c9b574-0003-4444-8361-b3d2c09fda2f" providerId="ADAL" clId="{D2BC25FC-0C39-45AB-8B74-851B6F5A4959}" dt="2024-03-04T15:11:49.981" v="2733" actId="478"/>
          <ac:spMkLst>
            <pc:docMk/>
            <pc:sldMk cId="2883095463" sldId="279"/>
            <ac:spMk id="31" creationId="{51BEF8D2-89D9-6D0D-59CC-D9727CB54193}"/>
          </ac:spMkLst>
        </pc:spChg>
        <pc:spChg chg="add mod">
          <ac:chgData name="CLAUDIA ELIZABETH ROESSING ROCHA" userId="98c9b574-0003-4444-8361-b3d2c09fda2f" providerId="ADAL" clId="{D2BC25FC-0C39-45AB-8B74-851B6F5A4959}" dt="2024-03-04T15:13:52.710" v="2790" actId="1076"/>
          <ac:spMkLst>
            <pc:docMk/>
            <pc:sldMk cId="2883095463" sldId="279"/>
            <ac:spMk id="32" creationId="{D389A44E-A59A-3FDC-4ADB-3BCA1291FEBC}"/>
          </ac:spMkLst>
        </pc:spChg>
        <pc:spChg chg="add mod">
          <ac:chgData name="CLAUDIA ELIZABETH ROESSING ROCHA" userId="98c9b574-0003-4444-8361-b3d2c09fda2f" providerId="ADAL" clId="{D2BC25FC-0C39-45AB-8B74-851B6F5A4959}" dt="2024-03-04T15:13:58.041" v="2791" actId="1076"/>
          <ac:spMkLst>
            <pc:docMk/>
            <pc:sldMk cId="2883095463" sldId="279"/>
            <ac:spMk id="33" creationId="{3EE63D84-4084-E88D-9567-A46ECE8C0687}"/>
          </ac:spMkLst>
        </pc:spChg>
        <pc:spChg chg="add mod">
          <ac:chgData name="CLAUDIA ELIZABETH ROESSING ROCHA" userId="98c9b574-0003-4444-8361-b3d2c09fda2f" providerId="ADAL" clId="{D2BC25FC-0C39-45AB-8B74-851B6F5A4959}" dt="2024-03-04T15:12:07.212" v="2736" actId="1076"/>
          <ac:spMkLst>
            <pc:docMk/>
            <pc:sldMk cId="2883095463" sldId="279"/>
            <ac:spMk id="34" creationId="{0DD7F19B-C3B2-793E-0891-7A7926601859}"/>
          </ac:spMkLst>
        </pc:spChg>
        <pc:spChg chg="add mod">
          <ac:chgData name="CLAUDIA ELIZABETH ROESSING ROCHA" userId="98c9b574-0003-4444-8361-b3d2c09fda2f" providerId="ADAL" clId="{D2BC25FC-0C39-45AB-8B74-851B6F5A4959}" dt="2024-03-04T15:13:52.710" v="2790" actId="1076"/>
          <ac:spMkLst>
            <pc:docMk/>
            <pc:sldMk cId="2883095463" sldId="279"/>
            <ac:spMk id="35" creationId="{B334119D-A23F-47B4-23A9-EDF0670F1CDD}"/>
          </ac:spMkLst>
        </pc:spChg>
        <pc:picChg chg="add del mod">
          <ac:chgData name="CLAUDIA ELIZABETH ROESSING ROCHA" userId="98c9b574-0003-4444-8361-b3d2c09fda2f" providerId="ADAL" clId="{D2BC25FC-0C39-45AB-8B74-851B6F5A4959}" dt="2024-03-04T15:56:55.726" v="3082" actId="478"/>
          <ac:picMkLst>
            <pc:docMk/>
            <pc:sldMk cId="2883095463" sldId="279"/>
            <ac:picMk id="26" creationId="{46B978C3-C222-8DA5-1524-3011A0F95AA8}"/>
          </ac:picMkLst>
        </pc:picChg>
        <pc:picChg chg="add mod">
          <ac:chgData name="CLAUDIA ELIZABETH ROESSING ROCHA" userId="98c9b574-0003-4444-8361-b3d2c09fda2f" providerId="ADAL" clId="{D2BC25FC-0C39-45AB-8B74-851B6F5A4959}" dt="2024-03-04T15:57:04.686" v="3084" actId="1076"/>
          <ac:picMkLst>
            <pc:docMk/>
            <pc:sldMk cId="2883095463" sldId="279"/>
            <ac:picMk id="36" creationId="{40C085EE-CFE3-9F78-6CFE-339471A9EA9B}"/>
          </ac:picMkLst>
        </pc:picChg>
      </pc:sldChg>
      <pc:sldChg chg="addSp delSp modSp mod">
        <pc:chgData name="CLAUDIA ELIZABETH ROESSING ROCHA" userId="98c9b574-0003-4444-8361-b3d2c09fda2f" providerId="ADAL" clId="{D2BC25FC-0C39-45AB-8B74-851B6F5A4959}" dt="2024-03-04T16:03:29.394" v="3121" actId="1076"/>
        <pc:sldMkLst>
          <pc:docMk/>
          <pc:sldMk cId="1999478384" sldId="281"/>
        </pc:sldMkLst>
        <pc:spChg chg="add mod">
          <ac:chgData name="CLAUDIA ELIZABETH ROESSING ROCHA" userId="98c9b574-0003-4444-8361-b3d2c09fda2f" providerId="ADAL" clId="{D2BC25FC-0C39-45AB-8B74-851B6F5A4959}" dt="2024-03-04T15:41:46.753" v="2808"/>
          <ac:spMkLst>
            <pc:docMk/>
            <pc:sldMk cId="1999478384" sldId="281"/>
            <ac:spMk id="3" creationId="{F5E8F749-8C57-8416-BB29-32171DBD92E5}"/>
          </ac:spMkLst>
        </pc:spChg>
        <pc:spChg chg="add mod">
          <ac:chgData name="CLAUDIA ELIZABETH ROESSING ROCHA" userId="98c9b574-0003-4444-8361-b3d2c09fda2f" providerId="ADAL" clId="{D2BC25FC-0C39-45AB-8B74-851B6F5A4959}" dt="2024-03-04T15:41:55.987" v="2809"/>
          <ac:spMkLst>
            <pc:docMk/>
            <pc:sldMk cId="1999478384" sldId="281"/>
            <ac:spMk id="6" creationId="{2DD5DDC7-61C3-882B-3BB9-A5F15C4F276C}"/>
          </ac:spMkLst>
        </pc:spChg>
        <pc:spChg chg="add mod">
          <ac:chgData name="CLAUDIA ELIZABETH ROESSING ROCHA" userId="98c9b574-0003-4444-8361-b3d2c09fda2f" providerId="ADAL" clId="{D2BC25FC-0C39-45AB-8B74-851B6F5A4959}" dt="2024-03-04T16:03:29.394" v="3121" actId="1076"/>
          <ac:spMkLst>
            <pc:docMk/>
            <pc:sldMk cId="1999478384" sldId="281"/>
            <ac:spMk id="8" creationId="{4A846C48-007D-F2E0-26EE-9A2DF36D616D}"/>
          </ac:spMkLst>
        </pc:spChg>
        <pc:spChg chg="mod">
          <ac:chgData name="CLAUDIA ELIZABETH ROESSING ROCHA" userId="98c9b574-0003-4444-8361-b3d2c09fda2f" providerId="ADAL" clId="{D2BC25FC-0C39-45AB-8B74-851B6F5A4959}" dt="2024-03-04T15:41:12.335" v="2807" actId="1076"/>
          <ac:spMkLst>
            <pc:docMk/>
            <pc:sldMk cId="1999478384" sldId="281"/>
            <ac:spMk id="10" creationId="{670B5BF7-770A-5C20-56B9-037046962446}"/>
          </ac:spMkLst>
        </pc:spChg>
        <pc:spChg chg="add del">
          <ac:chgData name="CLAUDIA ELIZABETH ROESSING ROCHA" userId="98c9b574-0003-4444-8361-b3d2c09fda2f" providerId="ADAL" clId="{D2BC25FC-0C39-45AB-8B74-851B6F5A4959}" dt="2024-03-04T15:43:18.689" v="2901" actId="22"/>
          <ac:spMkLst>
            <pc:docMk/>
            <pc:sldMk cId="1999478384" sldId="281"/>
            <ac:spMk id="17" creationId="{6914E45B-454B-9244-6710-E54A8EAB79E3}"/>
          </ac:spMkLst>
        </pc:spChg>
        <pc:picChg chg="mod">
          <ac:chgData name="CLAUDIA ELIZABETH ROESSING ROCHA" userId="98c9b574-0003-4444-8361-b3d2c09fda2f" providerId="ADAL" clId="{D2BC25FC-0C39-45AB-8B74-851B6F5A4959}" dt="2024-03-04T15:41:07.066" v="2806" actId="1076"/>
          <ac:picMkLst>
            <pc:docMk/>
            <pc:sldMk cId="1999478384" sldId="281"/>
            <ac:picMk id="5" creationId="{091D6B0E-82B4-17EB-7470-4B409E029B9B}"/>
          </ac:picMkLst>
        </pc:picChg>
        <pc:picChg chg="add mod">
          <ac:chgData name="CLAUDIA ELIZABETH ROESSING ROCHA" userId="98c9b574-0003-4444-8361-b3d2c09fda2f" providerId="ADAL" clId="{D2BC25FC-0C39-45AB-8B74-851B6F5A4959}" dt="2024-03-04T16:03:26.241" v="3120" actId="1076"/>
          <ac:picMkLst>
            <pc:docMk/>
            <pc:sldMk cId="1999478384" sldId="281"/>
            <ac:picMk id="19" creationId="{A8E885BB-D74E-71F7-960B-B13184E4FE4B}"/>
          </ac:picMkLst>
        </pc:picChg>
      </pc:sldChg>
      <pc:sldChg chg="addSp delSp modSp mod">
        <pc:chgData name="CLAUDIA ELIZABETH ROESSING ROCHA" userId="98c9b574-0003-4444-8361-b3d2c09fda2f" providerId="ADAL" clId="{D2BC25FC-0C39-45AB-8B74-851B6F5A4959}" dt="2024-03-04T18:03:35.172" v="3749"/>
        <pc:sldMkLst>
          <pc:docMk/>
          <pc:sldMk cId="2612890302" sldId="282"/>
        </pc:sldMkLst>
        <pc:picChg chg="add del mod">
          <ac:chgData name="CLAUDIA ELIZABETH ROESSING ROCHA" userId="98c9b574-0003-4444-8361-b3d2c09fda2f" providerId="ADAL" clId="{D2BC25FC-0C39-45AB-8B74-851B6F5A4959}" dt="2024-03-04T18:03:33.797" v="3748" actId="478"/>
          <ac:picMkLst>
            <pc:docMk/>
            <pc:sldMk cId="2612890302" sldId="282"/>
            <ac:picMk id="4" creationId="{E85DF67D-4482-1DCB-DC08-7B06ABD70D02}"/>
          </ac:picMkLst>
        </pc:picChg>
        <pc:picChg chg="add mod">
          <ac:chgData name="CLAUDIA ELIZABETH ROESSING ROCHA" userId="98c9b574-0003-4444-8361-b3d2c09fda2f" providerId="ADAL" clId="{D2BC25FC-0C39-45AB-8B74-851B6F5A4959}" dt="2024-03-04T18:03:35.172" v="3749"/>
          <ac:picMkLst>
            <pc:docMk/>
            <pc:sldMk cId="2612890302" sldId="282"/>
            <ac:picMk id="6" creationId="{89238C96-0F21-76DA-8BA4-CF9E53AA48D3}"/>
          </ac:picMkLst>
        </pc:picChg>
      </pc:sldChg>
      <pc:sldChg chg="addSp modSp del">
        <pc:chgData name="CLAUDIA ELIZABETH ROESSING ROCHA" userId="98c9b574-0003-4444-8361-b3d2c09fda2f" providerId="ADAL" clId="{D2BC25FC-0C39-45AB-8B74-851B6F5A4959}" dt="2024-03-04T18:03:45.668" v="3750"/>
        <pc:sldMkLst>
          <pc:docMk/>
          <pc:sldMk cId="154732435" sldId="283"/>
        </pc:sldMkLst>
        <pc:picChg chg="add mod">
          <ac:chgData name="CLAUDIA ELIZABETH ROESSING ROCHA" userId="98c9b574-0003-4444-8361-b3d2c09fda2f" providerId="ADAL" clId="{D2BC25FC-0C39-45AB-8B74-851B6F5A4959}" dt="2024-03-04T18:03:45.668" v="3750"/>
          <ac:picMkLst>
            <pc:docMk/>
            <pc:sldMk cId="154732435" sldId="283"/>
            <ac:picMk id="8" creationId="{F126505C-3918-C30C-FE12-5A99BB40A2F2}"/>
          </ac:picMkLst>
        </pc:picChg>
      </pc:sldChg>
      <pc:sldChg chg="addSp delSp modSp mod">
        <pc:chgData name="CLAUDIA ELIZABETH ROESSING ROCHA" userId="98c9b574-0003-4444-8361-b3d2c09fda2f" providerId="ADAL" clId="{D2BC25FC-0C39-45AB-8B74-851B6F5A4959}" dt="2024-03-04T18:04:53.022" v="3761"/>
        <pc:sldMkLst>
          <pc:docMk/>
          <pc:sldMk cId="3123340584" sldId="284"/>
        </pc:sldMkLst>
        <pc:spChg chg="add mod">
          <ac:chgData name="CLAUDIA ELIZABETH ROESSING ROCHA" userId="98c9b574-0003-4444-8361-b3d2c09fda2f" providerId="ADAL" clId="{D2BC25FC-0C39-45AB-8B74-851B6F5A4959}" dt="2024-02-27T13:26:07.793" v="76" actId="1076"/>
          <ac:spMkLst>
            <pc:docMk/>
            <pc:sldMk cId="3123340584" sldId="284"/>
            <ac:spMk id="3" creationId="{E107FF97-1000-BA15-16AD-0F30AD80B326}"/>
          </ac:spMkLst>
        </pc:spChg>
        <pc:spChg chg="mod">
          <ac:chgData name="CLAUDIA ELIZABETH ROESSING ROCHA" userId="98c9b574-0003-4444-8361-b3d2c09fda2f" providerId="ADAL" clId="{D2BC25FC-0C39-45AB-8B74-851B6F5A4959}" dt="2024-02-27T13:23:48.960" v="57" actId="21"/>
          <ac:spMkLst>
            <pc:docMk/>
            <pc:sldMk cId="3123340584" sldId="284"/>
            <ac:spMk id="6" creationId="{35B2069E-AE31-62E1-D7E6-B4D122CAAA75}"/>
          </ac:spMkLst>
        </pc:spChg>
        <pc:picChg chg="add mod">
          <ac:chgData name="CLAUDIA ELIZABETH ROESSING ROCHA" userId="98c9b574-0003-4444-8361-b3d2c09fda2f" providerId="ADAL" clId="{D2BC25FC-0C39-45AB-8B74-851B6F5A4959}" dt="2024-03-04T18:04:53.022" v="3761"/>
          <ac:picMkLst>
            <pc:docMk/>
            <pc:sldMk cId="3123340584" sldId="284"/>
            <ac:picMk id="2" creationId="{85156A00-A8D1-E4D3-9382-D81AD4BE9EE6}"/>
          </ac:picMkLst>
        </pc:picChg>
        <pc:picChg chg="add del mod">
          <ac:chgData name="CLAUDIA ELIZABETH ROESSING ROCHA" userId="98c9b574-0003-4444-8361-b3d2c09fda2f" providerId="ADAL" clId="{D2BC25FC-0C39-45AB-8B74-851B6F5A4959}" dt="2024-03-04T18:04:51.366" v="3760" actId="478"/>
          <ac:picMkLst>
            <pc:docMk/>
            <pc:sldMk cId="3123340584" sldId="284"/>
            <ac:picMk id="4" creationId="{B1F294CA-291B-AE24-996D-B9AA160C5A54}"/>
          </ac:picMkLst>
        </pc:picChg>
      </pc:sldChg>
      <pc:sldChg chg="addSp delSp modSp mod">
        <pc:chgData name="CLAUDIA ELIZABETH ROESSING ROCHA" userId="98c9b574-0003-4444-8361-b3d2c09fda2f" providerId="ADAL" clId="{D2BC25FC-0C39-45AB-8B74-851B6F5A4959}" dt="2024-03-04T15:58:17.558" v="3098" actId="1036"/>
        <pc:sldMkLst>
          <pc:docMk/>
          <pc:sldMk cId="3753655892" sldId="285"/>
        </pc:sldMkLst>
        <pc:spChg chg="mod">
          <ac:chgData name="CLAUDIA ELIZABETH ROESSING ROCHA" userId="98c9b574-0003-4444-8361-b3d2c09fda2f" providerId="ADAL" clId="{D2BC25FC-0C39-45AB-8B74-851B6F5A4959}" dt="2024-02-27T15:24:31.662" v="1378" actId="6549"/>
          <ac:spMkLst>
            <pc:docMk/>
            <pc:sldMk cId="3753655892" sldId="285"/>
            <ac:spMk id="2" creationId="{9B35963D-A000-CD00-143E-BBC321DEDDDB}"/>
          </ac:spMkLst>
        </pc:spChg>
        <pc:spChg chg="add mod">
          <ac:chgData name="CLAUDIA ELIZABETH ROESSING ROCHA" userId="98c9b574-0003-4444-8361-b3d2c09fda2f" providerId="ADAL" clId="{D2BC25FC-0C39-45AB-8B74-851B6F5A4959}" dt="2024-02-27T15:24:44.143" v="1380" actId="113"/>
          <ac:spMkLst>
            <pc:docMk/>
            <pc:sldMk cId="3753655892" sldId="285"/>
            <ac:spMk id="4" creationId="{DFFBC85D-1BCA-5DF1-3223-FA9046C1E68F}"/>
          </ac:spMkLst>
        </pc:spChg>
        <pc:spChg chg="mod">
          <ac:chgData name="CLAUDIA ELIZABETH ROESSING ROCHA" userId="98c9b574-0003-4444-8361-b3d2c09fda2f" providerId="ADAL" clId="{D2BC25FC-0C39-45AB-8B74-851B6F5A4959}" dt="2024-02-27T16:28:58.050" v="2130" actId="20577"/>
          <ac:spMkLst>
            <pc:docMk/>
            <pc:sldMk cId="3753655892" sldId="285"/>
            <ac:spMk id="5" creationId="{4D35A7EE-B521-0A91-38A0-C0E2CF034E9A}"/>
          </ac:spMkLst>
        </pc:spChg>
        <pc:spChg chg="del">
          <ac:chgData name="CLAUDIA ELIZABETH ROESSING ROCHA" userId="98c9b574-0003-4444-8361-b3d2c09fda2f" providerId="ADAL" clId="{D2BC25FC-0C39-45AB-8B74-851B6F5A4959}" dt="2024-02-27T15:22:18.828" v="1317" actId="478"/>
          <ac:spMkLst>
            <pc:docMk/>
            <pc:sldMk cId="3753655892" sldId="285"/>
            <ac:spMk id="9" creationId="{B28202B8-99B4-DF09-2EB7-9886F07F749C}"/>
          </ac:spMkLst>
        </pc:spChg>
        <pc:spChg chg="mod">
          <ac:chgData name="CLAUDIA ELIZABETH ROESSING ROCHA" userId="98c9b574-0003-4444-8361-b3d2c09fda2f" providerId="ADAL" clId="{D2BC25FC-0C39-45AB-8B74-851B6F5A4959}" dt="2024-02-27T15:22:45.144" v="1322" actId="1076"/>
          <ac:spMkLst>
            <pc:docMk/>
            <pc:sldMk cId="3753655892" sldId="285"/>
            <ac:spMk id="10" creationId="{0B06F6D8-3573-3589-E1B0-F4C3401CDB5B}"/>
          </ac:spMkLst>
        </pc:spChg>
        <pc:picChg chg="add del mod">
          <ac:chgData name="CLAUDIA ELIZABETH ROESSING ROCHA" userId="98c9b574-0003-4444-8361-b3d2c09fda2f" providerId="ADAL" clId="{D2BC25FC-0C39-45AB-8B74-851B6F5A4959}" dt="2024-03-04T15:57:27.238" v="3088" actId="478"/>
          <ac:picMkLst>
            <pc:docMk/>
            <pc:sldMk cId="3753655892" sldId="285"/>
            <ac:picMk id="3" creationId="{FE71E9E2-8E18-69FA-260D-626069066411}"/>
          </ac:picMkLst>
        </pc:picChg>
        <pc:picChg chg="del">
          <ac:chgData name="CLAUDIA ELIZABETH ROESSING ROCHA" userId="98c9b574-0003-4444-8361-b3d2c09fda2f" providerId="ADAL" clId="{D2BC25FC-0C39-45AB-8B74-851B6F5A4959}" dt="2024-02-27T15:22:33.847" v="1319" actId="478"/>
          <ac:picMkLst>
            <pc:docMk/>
            <pc:sldMk cId="3753655892" sldId="285"/>
            <ac:picMk id="6" creationId="{5AC7C24F-BEEF-9F52-5E60-CDDF5E0DE677}"/>
          </ac:picMkLst>
        </pc:picChg>
        <pc:picChg chg="add mod">
          <ac:chgData name="CLAUDIA ELIZABETH ROESSING ROCHA" userId="98c9b574-0003-4444-8361-b3d2c09fda2f" providerId="ADAL" clId="{D2BC25FC-0C39-45AB-8B74-851B6F5A4959}" dt="2024-03-04T15:58:17.558" v="3098" actId="1036"/>
          <ac:picMkLst>
            <pc:docMk/>
            <pc:sldMk cId="3753655892" sldId="285"/>
            <ac:picMk id="6" creationId="{5B9516D8-9E52-3355-C592-4140581E2DBA}"/>
          </ac:picMkLst>
        </pc:picChg>
        <pc:picChg chg="mod">
          <ac:chgData name="CLAUDIA ELIZABETH ROESSING ROCHA" userId="98c9b574-0003-4444-8361-b3d2c09fda2f" providerId="ADAL" clId="{D2BC25FC-0C39-45AB-8B74-851B6F5A4959}" dt="2024-02-27T15:22:37.064" v="1320" actId="1076"/>
          <ac:picMkLst>
            <pc:docMk/>
            <pc:sldMk cId="3753655892" sldId="285"/>
            <ac:picMk id="7" creationId="{932878C5-CCA4-7527-D3AC-A4AB954020C9}"/>
          </ac:picMkLst>
        </pc:picChg>
      </pc:sldChg>
      <pc:sldChg chg="del">
        <pc:chgData name="CLAUDIA ELIZABETH ROESSING ROCHA" userId="98c9b574-0003-4444-8361-b3d2c09fda2f" providerId="ADAL" clId="{D2BC25FC-0C39-45AB-8B74-851B6F5A4959}" dt="2024-02-27T13:46:25.906" v="224" actId="47"/>
        <pc:sldMkLst>
          <pc:docMk/>
          <pc:sldMk cId="2160101651" sldId="286"/>
        </pc:sldMkLst>
      </pc:sldChg>
      <pc:sldChg chg="del">
        <pc:chgData name="CLAUDIA ELIZABETH ROESSING ROCHA" userId="98c9b574-0003-4444-8361-b3d2c09fda2f" providerId="ADAL" clId="{D2BC25FC-0C39-45AB-8B74-851B6F5A4959}" dt="2024-02-27T13:46:36.072" v="225" actId="47"/>
        <pc:sldMkLst>
          <pc:docMk/>
          <pc:sldMk cId="1264438242" sldId="287"/>
        </pc:sldMkLst>
      </pc:sldChg>
      <pc:sldChg chg="addSp delSp modSp mod">
        <pc:chgData name="CLAUDIA ELIZABETH ROESSING ROCHA" userId="98c9b574-0003-4444-8361-b3d2c09fda2f" providerId="ADAL" clId="{D2BC25FC-0C39-45AB-8B74-851B6F5A4959}" dt="2024-03-04T15:56:14.522" v="3077" actId="1036"/>
        <pc:sldMkLst>
          <pc:docMk/>
          <pc:sldMk cId="2197748877" sldId="288"/>
        </pc:sldMkLst>
        <pc:spChg chg="add mod">
          <ac:chgData name="CLAUDIA ELIZABETH ROESSING ROCHA" userId="98c9b574-0003-4444-8361-b3d2c09fda2f" providerId="ADAL" clId="{D2BC25FC-0C39-45AB-8B74-851B6F5A4959}" dt="2024-03-04T13:18:47.855" v="2409" actId="1076"/>
          <ac:spMkLst>
            <pc:docMk/>
            <pc:sldMk cId="2197748877" sldId="288"/>
            <ac:spMk id="5" creationId="{5BCD276F-8927-FBA3-CA26-C4B66140E1AE}"/>
          </ac:spMkLst>
        </pc:spChg>
        <pc:picChg chg="add mod">
          <ac:chgData name="CLAUDIA ELIZABETH ROESSING ROCHA" userId="98c9b574-0003-4444-8361-b3d2c09fda2f" providerId="ADAL" clId="{D2BC25FC-0C39-45AB-8B74-851B6F5A4959}" dt="2024-03-04T15:56:14.522" v="3077" actId="1036"/>
          <ac:picMkLst>
            <pc:docMk/>
            <pc:sldMk cId="2197748877" sldId="288"/>
            <ac:picMk id="3" creationId="{DC14790F-FE19-0AEA-0046-343A42D99070}"/>
          </ac:picMkLst>
        </pc:picChg>
        <pc:picChg chg="mod">
          <ac:chgData name="CLAUDIA ELIZABETH ROESSING ROCHA" userId="98c9b574-0003-4444-8361-b3d2c09fda2f" providerId="ADAL" clId="{D2BC25FC-0C39-45AB-8B74-851B6F5A4959}" dt="2024-02-27T15:08:27.815" v="985" actId="1076"/>
          <ac:picMkLst>
            <pc:docMk/>
            <pc:sldMk cId="2197748877" sldId="288"/>
            <ac:picMk id="4" creationId="{22E4EF95-675D-E632-BD65-CC8F8D3A3244}"/>
          </ac:picMkLst>
        </pc:picChg>
        <pc:picChg chg="add del mod">
          <ac:chgData name="CLAUDIA ELIZABETH ROESSING ROCHA" userId="98c9b574-0003-4444-8361-b3d2c09fda2f" providerId="ADAL" clId="{D2BC25FC-0C39-45AB-8B74-851B6F5A4959}" dt="2024-03-04T15:55:43.847" v="3063" actId="478"/>
          <ac:picMkLst>
            <pc:docMk/>
            <pc:sldMk cId="2197748877" sldId="288"/>
            <ac:picMk id="6" creationId="{48DAEF02-4890-AECA-2F13-0625FAF540E3}"/>
          </ac:picMkLst>
        </pc:picChg>
      </pc:sldChg>
      <pc:sldChg chg="addSp delSp modSp add del mod">
        <pc:chgData name="CLAUDIA ELIZABETH ROESSING ROCHA" userId="98c9b574-0003-4444-8361-b3d2c09fda2f" providerId="ADAL" clId="{D2BC25FC-0C39-45AB-8B74-851B6F5A4959}" dt="2024-02-27T13:42:27.532" v="180" actId="2696"/>
        <pc:sldMkLst>
          <pc:docMk/>
          <pc:sldMk cId="2804961292" sldId="289"/>
        </pc:sldMkLst>
        <pc:spChg chg="del">
          <ac:chgData name="CLAUDIA ELIZABETH ROESSING ROCHA" userId="98c9b574-0003-4444-8361-b3d2c09fda2f" providerId="ADAL" clId="{D2BC25FC-0C39-45AB-8B74-851B6F5A4959}" dt="2024-02-27T13:37:50.319" v="174" actId="478"/>
          <ac:spMkLst>
            <pc:docMk/>
            <pc:sldMk cId="2804961292" sldId="289"/>
            <ac:spMk id="6" creationId="{D7E716B3-E7AA-3364-EF9A-A6C2518BF697}"/>
          </ac:spMkLst>
        </pc:spChg>
        <pc:spChg chg="del">
          <ac:chgData name="CLAUDIA ELIZABETH ROESSING ROCHA" userId="98c9b574-0003-4444-8361-b3d2c09fda2f" providerId="ADAL" clId="{D2BC25FC-0C39-45AB-8B74-851B6F5A4959}" dt="2024-02-27T13:37:50.319" v="174" actId="478"/>
          <ac:spMkLst>
            <pc:docMk/>
            <pc:sldMk cId="2804961292" sldId="289"/>
            <ac:spMk id="7" creationId="{9C66938F-067B-8B03-3114-07BD7FAC6D9A}"/>
          </ac:spMkLst>
        </pc:spChg>
        <pc:spChg chg="del">
          <ac:chgData name="CLAUDIA ELIZABETH ROESSING ROCHA" userId="98c9b574-0003-4444-8361-b3d2c09fda2f" providerId="ADAL" clId="{D2BC25FC-0C39-45AB-8B74-851B6F5A4959}" dt="2024-02-27T13:37:50.319" v="174" actId="478"/>
          <ac:spMkLst>
            <pc:docMk/>
            <pc:sldMk cId="2804961292" sldId="289"/>
            <ac:spMk id="8" creationId="{2E5D301E-7C60-F2F1-F1DB-3736C65BE3D3}"/>
          </ac:spMkLst>
        </pc:spChg>
        <pc:spChg chg="del">
          <ac:chgData name="CLAUDIA ELIZABETH ROESSING ROCHA" userId="98c9b574-0003-4444-8361-b3d2c09fda2f" providerId="ADAL" clId="{D2BC25FC-0C39-45AB-8B74-851B6F5A4959}" dt="2024-02-27T13:37:50.319" v="174" actId="478"/>
          <ac:spMkLst>
            <pc:docMk/>
            <pc:sldMk cId="2804961292" sldId="289"/>
            <ac:spMk id="9" creationId="{3F9AB42E-B3CE-B6C2-3B38-0EB54162D322}"/>
          </ac:spMkLst>
        </pc:spChg>
        <pc:spChg chg="del">
          <ac:chgData name="CLAUDIA ELIZABETH ROESSING ROCHA" userId="98c9b574-0003-4444-8361-b3d2c09fda2f" providerId="ADAL" clId="{D2BC25FC-0C39-45AB-8B74-851B6F5A4959}" dt="2024-02-27T13:37:54.643" v="175" actId="478"/>
          <ac:spMkLst>
            <pc:docMk/>
            <pc:sldMk cId="2804961292" sldId="289"/>
            <ac:spMk id="10" creationId="{21EEC4E8-8935-577D-EA69-8709038EE73E}"/>
          </ac:spMkLst>
        </pc:spChg>
        <pc:spChg chg="del">
          <ac:chgData name="CLAUDIA ELIZABETH ROESSING ROCHA" userId="98c9b574-0003-4444-8361-b3d2c09fda2f" providerId="ADAL" clId="{D2BC25FC-0C39-45AB-8B74-851B6F5A4959}" dt="2024-02-27T13:37:54.643" v="175" actId="478"/>
          <ac:spMkLst>
            <pc:docMk/>
            <pc:sldMk cId="2804961292" sldId="289"/>
            <ac:spMk id="11" creationId="{8E911196-8BBF-B246-34F4-85C27D174D9B}"/>
          </ac:spMkLst>
        </pc:spChg>
        <pc:spChg chg="del">
          <ac:chgData name="CLAUDIA ELIZABETH ROESSING ROCHA" userId="98c9b574-0003-4444-8361-b3d2c09fda2f" providerId="ADAL" clId="{D2BC25FC-0C39-45AB-8B74-851B6F5A4959}" dt="2024-02-27T13:37:54.643" v="175" actId="478"/>
          <ac:spMkLst>
            <pc:docMk/>
            <pc:sldMk cId="2804961292" sldId="289"/>
            <ac:spMk id="12" creationId="{06F07B77-E5D1-2211-9FBE-238774A6A52D}"/>
          </ac:spMkLst>
        </pc:spChg>
        <pc:spChg chg="del">
          <ac:chgData name="CLAUDIA ELIZABETH ROESSING ROCHA" userId="98c9b574-0003-4444-8361-b3d2c09fda2f" providerId="ADAL" clId="{D2BC25FC-0C39-45AB-8B74-851B6F5A4959}" dt="2024-02-27T13:37:54.643" v="175" actId="478"/>
          <ac:spMkLst>
            <pc:docMk/>
            <pc:sldMk cId="2804961292" sldId="289"/>
            <ac:spMk id="13" creationId="{B2840F10-F453-9839-9CE0-F58C6ECD2F7B}"/>
          </ac:spMkLst>
        </pc:spChg>
        <pc:spChg chg="del">
          <ac:chgData name="CLAUDIA ELIZABETH ROESSING ROCHA" userId="98c9b574-0003-4444-8361-b3d2c09fda2f" providerId="ADAL" clId="{D2BC25FC-0C39-45AB-8B74-851B6F5A4959}" dt="2024-02-27T13:37:44.664" v="172" actId="478"/>
          <ac:spMkLst>
            <pc:docMk/>
            <pc:sldMk cId="2804961292" sldId="289"/>
            <ac:spMk id="14" creationId="{E0B78C4C-93C3-D135-BF7F-EEC403C22A9B}"/>
          </ac:spMkLst>
        </pc:spChg>
        <pc:spChg chg="del">
          <ac:chgData name="CLAUDIA ELIZABETH ROESSING ROCHA" userId="98c9b574-0003-4444-8361-b3d2c09fda2f" providerId="ADAL" clId="{D2BC25FC-0C39-45AB-8B74-851B6F5A4959}" dt="2024-02-27T13:37:46.233" v="173" actId="478"/>
          <ac:spMkLst>
            <pc:docMk/>
            <pc:sldMk cId="2804961292" sldId="289"/>
            <ac:spMk id="15" creationId="{1245A756-C8EE-05DF-DB60-D3045EFFDFC4}"/>
          </ac:spMkLst>
        </pc:spChg>
        <pc:spChg chg="del">
          <ac:chgData name="CLAUDIA ELIZABETH ROESSING ROCHA" userId="98c9b574-0003-4444-8361-b3d2c09fda2f" providerId="ADAL" clId="{D2BC25FC-0C39-45AB-8B74-851B6F5A4959}" dt="2024-02-27T13:37:50.319" v="174" actId="478"/>
          <ac:spMkLst>
            <pc:docMk/>
            <pc:sldMk cId="2804961292" sldId="289"/>
            <ac:spMk id="16" creationId="{40F68934-3419-DFBE-4B15-0054C88B9B2F}"/>
          </ac:spMkLst>
        </pc:spChg>
        <pc:spChg chg="del">
          <ac:chgData name="CLAUDIA ELIZABETH ROESSING ROCHA" userId="98c9b574-0003-4444-8361-b3d2c09fda2f" providerId="ADAL" clId="{D2BC25FC-0C39-45AB-8B74-851B6F5A4959}" dt="2024-02-27T13:37:50.319" v="174" actId="478"/>
          <ac:spMkLst>
            <pc:docMk/>
            <pc:sldMk cId="2804961292" sldId="289"/>
            <ac:spMk id="17" creationId="{BC95ACA6-D52E-F12B-5CA6-9A996AF6EFCA}"/>
          </ac:spMkLst>
        </pc:spChg>
        <pc:spChg chg="del">
          <ac:chgData name="CLAUDIA ELIZABETH ROESSING ROCHA" userId="98c9b574-0003-4444-8361-b3d2c09fda2f" providerId="ADAL" clId="{D2BC25FC-0C39-45AB-8B74-851B6F5A4959}" dt="2024-02-27T13:37:50.319" v="174" actId="478"/>
          <ac:spMkLst>
            <pc:docMk/>
            <pc:sldMk cId="2804961292" sldId="289"/>
            <ac:spMk id="18" creationId="{A02BA4CF-DFD6-3CC3-F697-4C7179616CD8}"/>
          </ac:spMkLst>
        </pc:spChg>
        <pc:spChg chg="del">
          <ac:chgData name="CLAUDIA ELIZABETH ROESSING ROCHA" userId="98c9b574-0003-4444-8361-b3d2c09fda2f" providerId="ADAL" clId="{D2BC25FC-0C39-45AB-8B74-851B6F5A4959}" dt="2024-02-27T13:37:50.319" v="174" actId="478"/>
          <ac:spMkLst>
            <pc:docMk/>
            <pc:sldMk cId="2804961292" sldId="289"/>
            <ac:spMk id="19" creationId="{D205A586-FAEF-CDE3-7246-C99B8096605B}"/>
          </ac:spMkLst>
        </pc:spChg>
        <pc:spChg chg="del">
          <ac:chgData name="CLAUDIA ELIZABETH ROESSING ROCHA" userId="98c9b574-0003-4444-8361-b3d2c09fda2f" providerId="ADAL" clId="{D2BC25FC-0C39-45AB-8B74-851B6F5A4959}" dt="2024-02-27T13:37:54.643" v="175" actId="478"/>
          <ac:spMkLst>
            <pc:docMk/>
            <pc:sldMk cId="2804961292" sldId="289"/>
            <ac:spMk id="20" creationId="{F4D1A717-99C3-0C73-2539-75543AEAF983}"/>
          </ac:spMkLst>
        </pc:spChg>
        <pc:spChg chg="del">
          <ac:chgData name="CLAUDIA ELIZABETH ROESSING ROCHA" userId="98c9b574-0003-4444-8361-b3d2c09fda2f" providerId="ADAL" clId="{D2BC25FC-0C39-45AB-8B74-851B6F5A4959}" dt="2024-02-27T13:37:54.643" v="175" actId="478"/>
          <ac:spMkLst>
            <pc:docMk/>
            <pc:sldMk cId="2804961292" sldId="289"/>
            <ac:spMk id="21" creationId="{CB9F2AF9-E90E-2508-E910-8E1AD64592E3}"/>
          </ac:spMkLst>
        </pc:spChg>
        <pc:spChg chg="del">
          <ac:chgData name="CLAUDIA ELIZABETH ROESSING ROCHA" userId="98c9b574-0003-4444-8361-b3d2c09fda2f" providerId="ADAL" clId="{D2BC25FC-0C39-45AB-8B74-851B6F5A4959}" dt="2024-02-27T13:37:54.643" v="175" actId="478"/>
          <ac:spMkLst>
            <pc:docMk/>
            <pc:sldMk cId="2804961292" sldId="289"/>
            <ac:spMk id="22" creationId="{4F0565CF-0EE1-7D13-70A8-19A5C0112246}"/>
          </ac:spMkLst>
        </pc:spChg>
        <pc:spChg chg="del">
          <ac:chgData name="CLAUDIA ELIZABETH ROESSING ROCHA" userId="98c9b574-0003-4444-8361-b3d2c09fda2f" providerId="ADAL" clId="{D2BC25FC-0C39-45AB-8B74-851B6F5A4959}" dt="2024-02-27T13:37:54.643" v="175" actId="478"/>
          <ac:spMkLst>
            <pc:docMk/>
            <pc:sldMk cId="2804961292" sldId="289"/>
            <ac:spMk id="23" creationId="{7159F9B3-7E00-02B5-8956-098A7E1AD7F3}"/>
          </ac:spMkLst>
        </pc:spChg>
        <pc:picChg chg="add mod">
          <ac:chgData name="CLAUDIA ELIZABETH ROESSING ROCHA" userId="98c9b574-0003-4444-8361-b3d2c09fda2f" providerId="ADAL" clId="{D2BC25FC-0C39-45AB-8B74-851B6F5A4959}" dt="2024-02-27T13:38:30.197" v="179" actId="14100"/>
          <ac:picMkLst>
            <pc:docMk/>
            <pc:sldMk cId="2804961292" sldId="289"/>
            <ac:picMk id="4" creationId="{3A20932E-1A0C-F2C7-AF3A-3E5345DFD85A}"/>
          </ac:picMkLst>
        </pc:picChg>
      </pc:sldChg>
      <pc:sldChg chg="addSp modSp add">
        <pc:chgData name="CLAUDIA ELIZABETH ROESSING ROCHA" userId="98c9b574-0003-4444-8361-b3d2c09fda2f" providerId="ADAL" clId="{D2BC25FC-0C39-45AB-8B74-851B6F5A4959}" dt="2024-03-04T18:04:29.889" v="3755"/>
        <pc:sldMkLst>
          <pc:docMk/>
          <pc:sldMk cId="2875068504" sldId="289"/>
        </pc:sldMkLst>
        <pc:picChg chg="add mod">
          <ac:chgData name="CLAUDIA ELIZABETH ROESSING ROCHA" userId="98c9b574-0003-4444-8361-b3d2c09fda2f" providerId="ADAL" clId="{D2BC25FC-0C39-45AB-8B74-851B6F5A4959}" dt="2024-03-04T18:04:29.889" v="3755"/>
          <ac:picMkLst>
            <pc:docMk/>
            <pc:sldMk cId="2875068504" sldId="289"/>
            <ac:picMk id="3" creationId="{D14DEAEE-70AF-8511-A3CD-438D80501AA3}"/>
          </ac:picMkLst>
        </pc:picChg>
      </pc:sldChg>
      <pc:sldChg chg="addSp modSp del mod">
        <pc:chgData name="CLAUDIA ELIZABETH ROESSING ROCHA" userId="98c9b574-0003-4444-8361-b3d2c09fda2f" providerId="ADAL" clId="{D2BC25FC-0C39-45AB-8B74-851B6F5A4959}" dt="2024-03-04T17:59:04.574" v="3734" actId="47"/>
        <pc:sldMkLst>
          <pc:docMk/>
          <pc:sldMk cId="3185577452" sldId="289"/>
        </pc:sldMkLst>
        <pc:picChg chg="add mod">
          <ac:chgData name="CLAUDIA ELIZABETH ROESSING ROCHA" userId="98c9b574-0003-4444-8361-b3d2c09fda2f" providerId="ADAL" clId="{D2BC25FC-0C39-45AB-8B74-851B6F5A4959}" dt="2024-02-27T14:20:02.464" v="489" actId="1076"/>
          <ac:picMkLst>
            <pc:docMk/>
            <pc:sldMk cId="3185577452" sldId="289"/>
            <ac:picMk id="8" creationId="{8C2636AF-6001-0F90-C7BD-785284EF9017}"/>
          </ac:picMkLst>
        </pc:picChg>
      </pc:sldChg>
      <pc:sldChg chg="addSp modSp del mod">
        <pc:chgData name="CLAUDIA ELIZABETH ROESSING ROCHA" userId="98c9b574-0003-4444-8361-b3d2c09fda2f" providerId="ADAL" clId="{D2BC25FC-0C39-45AB-8B74-851B6F5A4959}" dt="2024-03-04T18:00:14.472" v="3735" actId="47"/>
        <pc:sldMkLst>
          <pc:docMk/>
          <pc:sldMk cId="2390951107" sldId="290"/>
        </pc:sldMkLst>
        <pc:picChg chg="add mod">
          <ac:chgData name="CLAUDIA ELIZABETH ROESSING ROCHA" userId="98c9b574-0003-4444-8361-b3d2c09fda2f" providerId="ADAL" clId="{D2BC25FC-0C39-45AB-8B74-851B6F5A4959}" dt="2024-02-27T14:20:20.959" v="493" actId="1076"/>
          <ac:picMkLst>
            <pc:docMk/>
            <pc:sldMk cId="2390951107" sldId="290"/>
            <ac:picMk id="3" creationId="{7811813F-3E20-2722-CDEF-128AA78A6739}"/>
          </ac:picMkLst>
        </pc:picChg>
      </pc:sldChg>
      <pc:sldChg chg="addSp modSp del mod">
        <pc:chgData name="CLAUDIA ELIZABETH ROESSING ROCHA" userId="98c9b574-0003-4444-8361-b3d2c09fda2f" providerId="ADAL" clId="{D2BC25FC-0C39-45AB-8B74-851B6F5A4959}" dt="2024-03-04T18:00:43.179" v="3737" actId="47"/>
        <pc:sldMkLst>
          <pc:docMk/>
          <pc:sldMk cId="1897464138" sldId="291"/>
        </pc:sldMkLst>
        <pc:picChg chg="add mod">
          <ac:chgData name="CLAUDIA ELIZABETH ROESSING ROCHA" userId="98c9b574-0003-4444-8361-b3d2c09fda2f" providerId="ADAL" clId="{D2BC25FC-0C39-45AB-8B74-851B6F5A4959}" dt="2024-02-27T14:20:28.974" v="496" actId="1076"/>
          <ac:picMkLst>
            <pc:docMk/>
            <pc:sldMk cId="1897464138" sldId="291"/>
            <ac:picMk id="5" creationId="{3C8469DE-4FF0-93E8-8471-CF66AECBE727}"/>
          </ac:picMkLst>
        </pc:picChg>
        <pc:picChg chg="add mod">
          <ac:chgData name="CLAUDIA ELIZABETH ROESSING ROCHA" userId="98c9b574-0003-4444-8361-b3d2c09fda2f" providerId="ADAL" clId="{D2BC25FC-0C39-45AB-8B74-851B6F5A4959}" dt="2024-02-27T16:09:14.430" v="1823"/>
          <ac:picMkLst>
            <pc:docMk/>
            <pc:sldMk cId="1897464138" sldId="291"/>
            <ac:picMk id="6" creationId="{AA5C0084-7F4A-7FD2-2F3C-263E18F0DC0D}"/>
          </ac:picMkLst>
        </pc:picChg>
        <pc:picChg chg="mod">
          <ac:chgData name="CLAUDIA ELIZABETH ROESSING ROCHA" userId="98c9b574-0003-4444-8361-b3d2c09fda2f" providerId="ADAL" clId="{D2BC25FC-0C39-45AB-8B74-851B6F5A4959}" dt="2024-02-27T16:09:13.173" v="1822" actId="1076"/>
          <ac:picMkLst>
            <pc:docMk/>
            <pc:sldMk cId="1897464138" sldId="291"/>
            <ac:picMk id="9" creationId="{53890721-1077-EABB-DA24-18D2C2CF8188}"/>
          </ac:picMkLst>
        </pc:picChg>
      </pc:sldChg>
      <pc:sldChg chg="addSp modSp">
        <pc:chgData name="CLAUDIA ELIZABETH ROESSING ROCHA" userId="98c9b574-0003-4444-8361-b3d2c09fda2f" providerId="ADAL" clId="{D2BC25FC-0C39-45AB-8B74-851B6F5A4959}" dt="2024-03-04T18:04:33.465" v="3756"/>
        <pc:sldMkLst>
          <pc:docMk/>
          <pc:sldMk cId="2229187521" sldId="292"/>
        </pc:sldMkLst>
        <pc:picChg chg="add mod">
          <ac:chgData name="CLAUDIA ELIZABETH ROESSING ROCHA" userId="98c9b574-0003-4444-8361-b3d2c09fda2f" providerId="ADAL" clId="{D2BC25FC-0C39-45AB-8B74-851B6F5A4959}" dt="2024-03-04T18:04:33.465" v="3756"/>
          <ac:picMkLst>
            <pc:docMk/>
            <pc:sldMk cId="2229187521" sldId="292"/>
            <ac:picMk id="7" creationId="{665906C3-4061-4442-080C-79BE56DC6C54}"/>
          </ac:picMkLst>
        </pc:picChg>
      </pc:sldChg>
      <pc:sldChg chg="new del">
        <pc:chgData name="CLAUDIA ELIZABETH ROESSING ROCHA" userId="98c9b574-0003-4444-8361-b3d2c09fda2f" providerId="ADAL" clId="{D2BC25FC-0C39-45AB-8B74-851B6F5A4959}" dt="2024-02-27T14:12:21.502" v="450" actId="47"/>
        <pc:sldMkLst>
          <pc:docMk/>
          <pc:sldMk cId="4209219037" sldId="292"/>
        </pc:sldMkLst>
      </pc:sldChg>
      <pc:sldChg chg="addSp delSp modSp add del mod ord">
        <pc:chgData name="CLAUDIA ELIZABETH ROESSING ROCHA" userId="98c9b574-0003-4444-8361-b3d2c09fda2f" providerId="ADAL" clId="{D2BC25FC-0C39-45AB-8B74-851B6F5A4959}" dt="2024-03-05T00:15:35.318" v="3782" actId="47"/>
        <pc:sldMkLst>
          <pc:docMk/>
          <pc:sldMk cId="3733635412" sldId="293"/>
        </pc:sldMkLst>
        <pc:spChg chg="del mod">
          <ac:chgData name="CLAUDIA ELIZABETH ROESSING ROCHA" userId="98c9b574-0003-4444-8361-b3d2c09fda2f" providerId="ADAL" clId="{D2BC25FC-0C39-45AB-8B74-851B6F5A4959}" dt="2024-02-27T14:21:24.871" v="499" actId="3680"/>
          <ac:spMkLst>
            <pc:docMk/>
            <pc:sldMk cId="3733635412" sldId="293"/>
            <ac:spMk id="3" creationId="{1D3A7BD6-C593-66BF-9005-9D5821F5F42F}"/>
          </ac:spMkLst>
        </pc:spChg>
        <pc:spChg chg="add del mod">
          <ac:chgData name="CLAUDIA ELIZABETH ROESSING ROCHA" userId="98c9b574-0003-4444-8361-b3d2c09fda2f" providerId="ADAL" clId="{D2BC25FC-0C39-45AB-8B74-851B6F5A4959}" dt="2024-03-04T16:59:22.075" v="3320" actId="478"/>
          <ac:spMkLst>
            <pc:docMk/>
            <pc:sldMk cId="3733635412" sldId="293"/>
            <ac:spMk id="3" creationId="{59D2A282-433B-B85B-06CA-A11EDA2E231F}"/>
          </ac:spMkLst>
        </pc:spChg>
        <pc:spChg chg="add mod">
          <ac:chgData name="CLAUDIA ELIZABETH ROESSING ROCHA" userId="98c9b574-0003-4444-8361-b3d2c09fda2f" providerId="ADAL" clId="{D2BC25FC-0C39-45AB-8B74-851B6F5A4959}" dt="2024-03-04T16:38:58.765" v="3266" actId="1076"/>
          <ac:spMkLst>
            <pc:docMk/>
            <pc:sldMk cId="3733635412" sldId="293"/>
            <ac:spMk id="4" creationId="{58230F28-28C0-57B8-9B14-2E38E32F83CC}"/>
          </ac:spMkLst>
        </pc:spChg>
        <pc:spChg chg="del">
          <ac:chgData name="CLAUDIA ELIZABETH ROESSING ROCHA" userId="98c9b574-0003-4444-8361-b3d2c09fda2f" providerId="ADAL" clId="{D2BC25FC-0C39-45AB-8B74-851B6F5A4959}" dt="2024-02-27T14:12:28.816" v="452" actId="478"/>
          <ac:spMkLst>
            <pc:docMk/>
            <pc:sldMk cId="3733635412" sldId="293"/>
            <ac:spMk id="4" creationId="{AACCB3BB-FB4B-E41A-01D4-5D46722F1753}"/>
          </ac:spMkLst>
        </pc:spChg>
        <pc:spChg chg="del">
          <ac:chgData name="CLAUDIA ELIZABETH ROESSING ROCHA" userId="98c9b574-0003-4444-8361-b3d2c09fda2f" providerId="ADAL" clId="{D2BC25FC-0C39-45AB-8B74-851B6F5A4959}" dt="2024-02-27T14:12:31.711" v="453" actId="478"/>
          <ac:spMkLst>
            <pc:docMk/>
            <pc:sldMk cId="3733635412" sldId="293"/>
            <ac:spMk id="5" creationId="{9C138774-96C4-2C16-2050-7C16F7A03B0A}"/>
          </ac:spMkLst>
        </pc:spChg>
        <pc:spChg chg="add mod">
          <ac:chgData name="CLAUDIA ELIZABETH ROESSING ROCHA" userId="98c9b574-0003-4444-8361-b3d2c09fda2f" providerId="ADAL" clId="{D2BC25FC-0C39-45AB-8B74-851B6F5A4959}" dt="2024-03-04T16:59:37.996" v="3326" actId="1076"/>
          <ac:spMkLst>
            <pc:docMk/>
            <pc:sldMk cId="3733635412" sldId="293"/>
            <ac:spMk id="5" creationId="{B6224585-436E-CFE6-970F-ADBBEDA89956}"/>
          </ac:spMkLst>
        </pc:spChg>
        <pc:spChg chg="add mod">
          <ac:chgData name="CLAUDIA ELIZABETH ROESSING ROCHA" userId="98c9b574-0003-4444-8361-b3d2c09fda2f" providerId="ADAL" clId="{D2BC25FC-0C39-45AB-8B74-851B6F5A4959}" dt="2024-03-04T16:39:00.516" v="3267" actId="1076"/>
          <ac:spMkLst>
            <pc:docMk/>
            <pc:sldMk cId="3733635412" sldId="293"/>
            <ac:spMk id="6" creationId="{2CF8B25F-6889-F431-0246-C357A4074264}"/>
          </ac:spMkLst>
        </pc:spChg>
        <pc:spChg chg="del">
          <ac:chgData name="CLAUDIA ELIZABETH ROESSING ROCHA" userId="98c9b574-0003-4444-8361-b3d2c09fda2f" providerId="ADAL" clId="{D2BC25FC-0C39-45AB-8B74-851B6F5A4959}" dt="2024-02-27T14:12:33.227" v="454" actId="478"/>
          <ac:spMkLst>
            <pc:docMk/>
            <pc:sldMk cId="3733635412" sldId="293"/>
            <ac:spMk id="6" creationId="{7B516066-6BA5-92FB-2D58-C45772732AD7}"/>
          </ac:spMkLst>
        </pc:spChg>
        <pc:spChg chg="del">
          <ac:chgData name="CLAUDIA ELIZABETH ROESSING ROCHA" userId="98c9b574-0003-4444-8361-b3d2c09fda2f" providerId="ADAL" clId="{D2BC25FC-0C39-45AB-8B74-851B6F5A4959}" dt="2024-02-27T14:12:35.294" v="455" actId="478"/>
          <ac:spMkLst>
            <pc:docMk/>
            <pc:sldMk cId="3733635412" sldId="293"/>
            <ac:spMk id="7" creationId="{73C45D7D-9E75-7EBE-1953-B2300D1862A6}"/>
          </ac:spMkLst>
        </pc:spChg>
        <pc:spChg chg="add del mod">
          <ac:chgData name="CLAUDIA ELIZABETH ROESSING ROCHA" userId="98c9b574-0003-4444-8361-b3d2c09fda2f" providerId="ADAL" clId="{D2BC25FC-0C39-45AB-8B74-851B6F5A4959}" dt="2024-03-04T16:59:23.633" v="3321" actId="478"/>
          <ac:spMkLst>
            <pc:docMk/>
            <pc:sldMk cId="3733635412" sldId="293"/>
            <ac:spMk id="7" creationId="{FBFC8E25-958D-8B6E-9256-27F5AA94A169}"/>
          </ac:spMkLst>
        </pc:spChg>
        <pc:spChg chg="add del mod">
          <ac:chgData name="CLAUDIA ELIZABETH ROESSING ROCHA" userId="98c9b574-0003-4444-8361-b3d2c09fda2f" providerId="ADAL" clId="{D2BC25FC-0C39-45AB-8B74-851B6F5A4959}" dt="2024-03-04T17:11:04.808" v="3399" actId="478"/>
          <ac:spMkLst>
            <pc:docMk/>
            <pc:sldMk cId="3733635412" sldId="293"/>
            <ac:spMk id="9" creationId="{15AFE194-533E-D409-7F47-F6E751E433DA}"/>
          </ac:spMkLst>
        </pc:spChg>
        <pc:spChg chg="add del mod">
          <ac:chgData name="CLAUDIA ELIZABETH ROESSING ROCHA" userId="98c9b574-0003-4444-8361-b3d2c09fda2f" providerId="ADAL" clId="{D2BC25FC-0C39-45AB-8B74-851B6F5A4959}" dt="2024-02-27T14:23:27.964" v="542" actId="478"/>
          <ac:spMkLst>
            <pc:docMk/>
            <pc:sldMk cId="3733635412" sldId="293"/>
            <ac:spMk id="10" creationId="{0235274F-8389-560B-EE4D-63FFDA9944DD}"/>
          </ac:spMkLst>
        </pc:spChg>
        <pc:spChg chg="add mod">
          <ac:chgData name="CLAUDIA ELIZABETH ROESSING ROCHA" userId="98c9b574-0003-4444-8361-b3d2c09fda2f" providerId="ADAL" clId="{D2BC25FC-0C39-45AB-8B74-851B6F5A4959}" dt="2024-03-04T17:03:53.915" v="3351" actId="1076"/>
          <ac:spMkLst>
            <pc:docMk/>
            <pc:sldMk cId="3733635412" sldId="293"/>
            <ac:spMk id="10" creationId="{1F3F5184-AF0F-EC5E-DD43-F0ADCBF43AA5}"/>
          </ac:spMkLst>
        </pc:spChg>
        <pc:spChg chg="add mod">
          <ac:chgData name="CLAUDIA ELIZABETH ROESSING ROCHA" userId="98c9b574-0003-4444-8361-b3d2c09fda2f" providerId="ADAL" clId="{D2BC25FC-0C39-45AB-8B74-851B6F5A4959}" dt="2024-03-04T17:12:02.676" v="3409" actId="1076"/>
          <ac:spMkLst>
            <pc:docMk/>
            <pc:sldMk cId="3733635412" sldId="293"/>
            <ac:spMk id="11" creationId="{0AAC87CD-6656-D849-2510-332944319FCC}"/>
          </ac:spMkLst>
        </pc:spChg>
        <pc:spChg chg="add mod">
          <ac:chgData name="CLAUDIA ELIZABETH ROESSING ROCHA" userId="98c9b574-0003-4444-8361-b3d2c09fda2f" providerId="ADAL" clId="{D2BC25FC-0C39-45AB-8B74-851B6F5A4959}" dt="2024-03-04T17:04:09.108" v="3354" actId="1076"/>
          <ac:spMkLst>
            <pc:docMk/>
            <pc:sldMk cId="3733635412" sldId="293"/>
            <ac:spMk id="12" creationId="{457D2D87-E1B4-07A1-4552-58EC8D501B0B}"/>
          </ac:spMkLst>
        </pc:spChg>
        <pc:spChg chg="add del">
          <ac:chgData name="CLAUDIA ELIZABETH ROESSING ROCHA" userId="98c9b574-0003-4444-8361-b3d2c09fda2f" providerId="ADAL" clId="{D2BC25FC-0C39-45AB-8B74-851B6F5A4959}" dt="2024-02-27T14:55:00.956" v="736" actId="11529"/>
          <ac:spMkLst>
            <pc:docMk/>
            <pc:sldMk cId="3733635412" sldId="293"/>
            <ac:spMk id="12" creationId="{4D4FE81F-385A-0C57-AD32-60C3C93FDBF7}"/>
          </ac:spMkLst>
        </pc:spChg>
        <pc:spChg chg="add mod">
          <ac:chgData name="CLAUDIA ELIZABETH ROESSING ROCHA" userId="98c9b574-0003-4444-8361-b3d2c09fda2f" providerId="ADAL" clId="{D2BC25FC-0C39-45AB-8B74-851B6F5A4959}" dt="2024-03-04T17:11:54.674" v="3406" actId="1076"/>
          <ac:spMkLst>
            <pc:docMk/>
            <pc:sldMk cId="3733635412" sldId="293"/>
            <ac:spMk id="13" creationId="{7210D948-7184-3B3C-7BF3-1B21C09B7F5C}"/>
          </ac:spMkLst>
        </pc:spChg>
        <pc:spChg chg="add mod">
          <ac:chgData name="CLAUDIA ELIZABETH ROESSING ROCHA" userId="98c9b574-0003-4444-8361-b3d2c09fda2f" providerId="ADAL" clId="{D2BC25FC-0C39-45AB-8B74-851B6F5A4959}" dt="2024-03-04T17:11:52.610" v="3405" actId="1076"/>
          <ac:spMkLst>
            <pc:docMk/>
            <pc:sldMk cId="3733635412" sldId="293"/>
            <ac:spMk id="14" creationId="{F6E3A0F0-0436-D0A7-410C-0C2422D882D3}"/>
          </ac:spMkLst>
        </pc:spChg>
        <pc:spChg chg="add mod">
          <ac:chgData name="CLAUDIA ELIZABETH ROESSING ROCHA" userId="98c9b574-0003-4444-8361-b3d2c09fda2f" providerId="ADAL" clId="{D2BC25FC-0C39-45AB-8B74-851B6F5A4959}" dt="2024-03-04T17:11:58.908" v="3408" actId="1076"/>
          <ac:spMkLst>
            <pc:docMk/>
            <pc:sldMk cId="3733635412" sldId="293"/>
            <ac:spMk id="15" creationId="{ED128679-24B3-379E-DF68-C7622306825A}"/>
          </ac:spMkLst>
        </pc:spChg>
        <pc:spChg chg="add del mod">
          <ac:chgData name="CLAUDIA ELIZABETH ROESSING ROCHA" userId="98c9b574-0003-4444-8361-b3d2c09fda2f" providerId="ADAL" clId="{D2BC25FC-0C39-45AB-8B74-851B6F5A4959}" dt="2024-03-04T17:11:19.547" v="3401" actId="478"/>
          <ac:spMkLst>
            <pc:docMk/>
            <pc:sldMk cId="3733635412" sldId="293"/>
            <ac:spMk id="16" creationId="{50BA6E3F-0A16-A472-1071-6854C75142BF}"/>
          </ac:spMkLst>
        </pc:spChg>
        <pc:spChg chg="add mod">
          <ac:chgData name="CLAUDIA ELIZABETH ROESSING ROCHA" userId="98c9b574-0003-4444-8361-b3d2c09fda2f" providerId="ADAL" clId="{D2BC25FC-0C39-45AB-8B74-851B6F5A4959}" dt="2024-03-04T17:11:46.454" v="3403" actId="1076"/>
          <ac:spMkLst>
            <pc:docMk/>
            <pc:sldMk cId="3733635412" sldId="293"/>
            <ac:spMk id="17" creationId="{0D212CBF-0859-942E-3CE2-D7E54E7DAB5A}"/>
          </ac:spMkLst>
        </pc:spChg>
        <pc:spChg chg="add mod">
          <ac:chgData name="CLAUDIA ELIZABETH ROESSING ROCHA" userId="98c9b574-0003-4444-8361-b3d2c09fda2f" providerId="ADAL" clId="{D2BC25FC-0C39-45AB-8B74-851B6F5A4959}" dt="2024-03-04T17:11:50.552" v="3404" actId="1076"/>
          <ac:spMkLst>
            <pc:docMk/>
            <pc:sldMk cId="3733635412" sldId="293"/>
            <ac:spMk id="18" creationId="{23A6BBEF-6C16-4360-BE8F-44602311858C}"/>
          </ac:spMkLst>
        </pc:spChg>
        <pc:spChg chg="add mod">
          <ac:chgData name="CLAUDIA ELIZABETH ROESSING ROCHA" userId="98c9b574-0003-4444-8361-b3d2c09fda2f" providerId="ADAL" clId="{D2BC25FC-0C39-45AB-8B74-851B6F5A4959}" dt="2024-03-04T17:11:56.881" v="3407" actId="1076"/>
          <ac:spMkLst>
            <pc:docMk/>
            <pc:sldMk cId="3733635412" sldId="293"/>
            <ac:spMk id="19" creationId="{93613A76-F908-48F1-EFD1-914E21380D5F}"/>
          </ac:spMkLst>
        </pc:spChg>
        <pc:spChg chg="add del mod">
          <ac:chgData name="CLAUDIA ELIZABETH ROESSING ROCHA" userId="98c9b574-0003-4444-8361-b3d2c09fda2f" providerId="ADAL" clId="{D2BC25FC-0C39-45AB-8B74-851B6F5A4959}" dt="2024-03-04T17:11:22.091" v="3402" actId="478"/>
          <ac:spMkLst>
            <pc:docMk/>
            <pc:sldMk cId="3733635412" sldId="293"/>
            <ac:spMk id="20" creationId="{FFF166BA-0BDB-FB01-4BB2-37E4FAA909BD}"/>
          </ac:spMkLst>
        </pc:spChg>
        <pc:spChg chg="add mod">
          <ac:chgData name="CLAUDIA ELIZABETH ROESSING ROCHA" userId="98c9b574-0003-4444-8361-b3d2c09fda2f" providerId="ADAL" clId="{D2BC25FC-0C39-45AB-8B74-851B6F5A4959}" dt="2024-02-27T15:26:46.719" v="1381" actId="1076"/>
          <ac:spMkLst>
            <pc:docMk/>
            <pc:sldMk cId="3733635412" sldId="293"/>
            <ac:spMk id="21" creationId="{72F33D97-AD00-C018-ADFF-6D115B05153D}"/>
          </ac:spMkLst>
        </pc:spChg>
        <pc:spChg chg="add del mod">
          <ac:chgData name="CLAUDIA ELIZABETH ROESSING ROCHA" userId="98c9b574-0003-4444-8361-b3d2c09fda2f" providerId="ADAL" clId="{D2BC25FC-0C39-45AB-8B74-851B6F5A4959}" dt="2024-02-27T15:31:12.535" v="1413" actId="478"/>
          <ac:spMkLst>
            <pc:docMk/>
            <pc:sldMk cId="3733635412" sldId="293"/>
            <ac:spMk id="22" creationId="{48EF7636-C17F-3DC1-B18A-EC01604F1261}"/>
          </ac:spMkLst>
        </pc:spChg>
        <pc:spChg chg="add del mod">
          <ac:chgData name="CLAUDIA ELIZABETH ROESSING ROCHA" userId="98c9b574-0003-4444-8361-b3d2c09fda2f" providerId="ADAL" clId="{D2BC25FC-0C39-45AB-8B74-851B6F5A4959}" dt="2024-03-04T17:12:23.185" v="3412" actId="478"/>
          <ac:spMkLst>
            <pc:docMk/>
            <pc:sldMk cId="3733635412" sldId="293"/>
            <ac:spMk id="22" creationId="{EAD64BE1-B73A-6338-51F4-8205BC945D54}"/>
          </ac:spMkLst>
        </pc:spChg>
        <pc:spChg chg="add mod ord">
          <ac:chgData name="CLAUDIA ELIZABETH ROESSING ROCHA" userId="98c9b574-0003-4444-8361-b3d2c09fda2f" providerId="ADAL" clId="{D2BC25FC-0C39-45AB-8B74-851B6F5A4959}" dt="2024-03-04T17:12:49.769" v="3418" actId="1076"/>
          <ac:spMkLst>
            <pc:docMk/>
            <pc:sldMk cId="3733635412" sldId="293"/>
            <ac:spMk id="23" creationId="{5C4763EF-14F5-571C-2AA0-960405411FD3}"/>
          </ac:spMkLst>
        </pc:spChg>
        <pc:spChg chg="add del mod">
          <ac:chgData name="CLAUDIA ELIZABETH ROESSING ROCHA" userId="98c9b574-0003-4444-8361-b3d2c09fda2f" providerId="ADAL" clId="{D2BC25FC-0C39-45AB-8B74-851B6F5A4959}" dt="2024-02-27T15:31:13.116" v="1414" actId="478"/>
          <ac:spMkLst>
            <pc:docMk/>
            <pc:sldMk cId="3733635412" sldId="293"/>
            <ac:spMk id="23" creationId="{777FFE91-2FBA-C968-ECD4-0EB53647FB9F}"/>
          </ac:spMkLst>
        </pc:spChg>
        <pc:spChg chg="add mod">
          <ac:chgData name="CLAUDIA ELIZABETH ROESSING ROCHA" userId="98c9b574-0003-4444-8361-b3d2c09fda2f" providerId="ADAL" clId="{D2BC25FC-0C39-45AB-8B74-851B6F5A4959}" dt="2024-03-04T17:01:59.267" v="3338" actId="1076"/>
          <ac:spMkLst>
            <pc:docMk/>
            <pc:sldMk cId="3733635412" sldId="293"/>
            <ac:spMk id="24" creationId="{29686FC4-F9C3-FC1B-88D2-DD7BAB5438EE}"/>
          </ac:spMkLst>
        </pc:spChg>
        <pc:spChg chg="add del mod">
          <ac:chgData name="CLAUDIA ELIZABETH ROESSING ROCHA" userId="98c9b574-0003-4444-8361-b3d2c09fda2f" providerId="ADAL" clId="{D2BC25FC-0C39-45AB-8B74-851B6F5A4959}" dt="2024-02-27T15:31:13.947" v="1415" actId="478"/>
          <ac:spMkLst>
            <pc:docMk/>
            <pc:sldMk cId="3733635412" sldId="293"/>
            <ac:spMk id="24" creationId="{BCF81EBD-EFCF-96C8-EB92-D66A67B97422}"/>
          </ac:spMkLst>
        </pc:spChg>
        <pc:spChg chg="add del mod ord">
          <ac:chgData name="CLAUDIA ELIZABETH ROESSING ROCHA" userId="98c9b574-0003-4444-8361-b3d2c09fda2f" providerId="ADAL" clId="{D2BC25FC-0C39-45AB-8B74-851B6F5A4959}" dt="2024-03-04T17:08:08.164" v="3370" actId="478"/>
          <ac:spMkLst>
            <pc:docMk/>
            <pc:sldMk cId="3733635412" sldId="293"/>
            <ac:spMk id="25" creationId="{BA5EC915-74C2-1A01-7648-9262DB9419F8}"/>
          </ac:spMkLst>
        </pc:spChg>
        <pc:spChg chg="add del mod">
          <ac:chgData name="CLAUDIA ELIZABETH ROESSING ROCHA" userId="98c9b574-0003-4444-8361-b3d2c09fda2f" providerId="ADAL" clId="{D2BC25FC-0C39-45AB-8B74-851B6F5A4959}" dt="2024-02-27T15:31:14.586" v="1416" actId="478"/>
          <ac:spMkLst>
            <pc:docMk/>
            <pc:sldMk cId="3733635412" sldId="293"/>
            <ac:spMk id="25" creationId="{F414DE89-A9F7-BE4E-4D41-26EB62E2F5FA}"/>
          </ac:spMkLst>
        </pc:spChg>
        <pc:spChg chg="add del mod">
          <ac:chgData name="CLAUDIA ELIZABETH ROESSING ROCHA" userId="98c9b574-0003-4444-8361-b3d2c09fda2f" providerId="ADAL" clId="{D2BC25FC-0C39-45AB-8B74-851B6F5A4959}" dt="2024-02-27T15:31:15.127" v="1417" actId="478"/>
          <ac:spMkLst>
            <pc:docMk/>
            <pc:sldMk cId="3733635412" sldId="293"/>
            <ac:spMk id="26" creationId="{218C5CB9-6AC0-9FE6-3BED-04CB08C5EE64}"/>
          </ac:spMkLst>
        </pc:spChg>
        <pc:spChg chg="add mod">
          <ac:chgData name="CLAUDIA ELIZABETH ROESSING ROCHA" userId="98c9b574-0003-4444-8361-b3d2c09fda2f" providerId="ADAL" clId="{D2BC25FC-0C39-45AB-8B74-851B6F5A4959}" dt="2024-03-04T17:05:39.147" v="3357" actId="1076"/>
          <ac:spMkLst>
            <pc:docMk/>
            <pc:sldMk cId="3733635412" sldId="293"/>
            <ac:spMk id="26" creationId="{ECC3CAFA-6296-C701-EFC0-8617BD3A076C}"/>
          </ac:spMkLst>
        </pc:spChg>
        <pc:spChg chg="add del mod">
          <ac:chgData name="CLAUDIA ELIZABETH ROESSING ROCHA" userId="98c9b574-0003-4444-8361-b3d2c09fda2f" providerId="ADAL" clId="{D2BC25FC-0C39-45AB-8B74-851B6F5A4959}" dt="2024-03-04T16:43:12.964" v="3283" actId="478"/>
          <ac:spMkLst>
            <pc:docMk/>
            <pc:sldMk cId="3733635412" sldId="293"/>
            <ac:spMk id="27" creationId="{B333BFBD-288F-564C-CAB7-7979CBEC0E1A}"/>
          </ac:spMkLst>
        </pc:spChg>
        <pc:spChg chg="add del mod">
          <ac:chgData name="CLAUDIA ELIZABETH ROESSING ROCHA" userId="98c9b574-0003-4444-8361-b3d2c09fda2f" providerId="ADAL" clId="{D2BC25FC-0C39-45AB-8B74-851B6F5A4959}" dt="2024-03-04T16:43:14.249" v="3284" actId="478"/>
          <ac:spMkLst>
            <pc:docMk/>
            <pc:sldMk cId="3733635412" sldId="293"/>
            <ac:spMk id="28" creationId="{048D93FC-6A89-F232-CFDC-BBE6CD8DFA3F}"/>
          </ac:spMkLst>
        </pc:spChg>
        <pc:spChg chg="add del mod">
          <ac:chgData name="CLAUDIA ELIZABETH ROESSING ROCHA" userId="98c9b574-0003-4444-8361-b3d2c09fda2f" providerId="ADAL" clId="{D2BC25FC-0C39-45AB-8B74-851B6F5A4959}" dt="2024-03-04T16:43:14.980" v="3285" actId="478"/>
          <ac:spMkLst>
            <pc:docMk/>
            <pc:sldMk cId="3733635412" sldId="293"/>
            <ac:spMk id="29" creationId="{9EDF9416-1949-76D0-1C8F-F979FC3F18E6}"/>
          </ac:spMkLst>
        </pc:spChg>
        <pc:spChg chg="add del mod">
          <ac:chgData name="CLAUDIA ELIZABETH ROESSING ROCHA" userId="98c9b574-0003-4444-8361-b3d2c09fda2f" providerId="ADAL" clId="{D2BC25FC-0C39-45AB-8B74-851B6F5A4959}" dt="2024-03-04T16:43:15.664" v="3287" actId="478"/>
          <ac:spMkLst>
            <pc:docMk/>
            <pc:sldMk cId="3733635412" sldId="293"/>
            <ac:spMk id="30" creationId="{DF7289B8-285C-0AC6-040B-A01D7BD1B447}"/>
          </ac:spMkLst>
        </pc:spChg>
        <pc:spChg chg="add del mod">
          <ac:chgData name="CLAUDIA ELIZABETH ROESSING ROCHA" userId="98c9b574-0003-4444-8361-b3d2c09fda2f" providerId="ADAL" clId="{D2BC25FC-0C39-45AB-8B74-851B6F5A4959}" dt="2024-03-04T16:43:17.951" v="3288" actId="478"/>
          <ac:spMkLst>
            <pc:docMk/>
            <pc:sldMk cId="3733635412" sldId="293"/>
            <ac:spMk id="31" creationId="{BFD682D7-028E-A394-0435-565830B7FDEF}"/>
          </ac:spMkLst>
        </pc:spChg>
        <pc:spChg chg="add del mod ord">
          <ac:chgData name="CLAUDIA ELIZABETH ROESSING ROCHA" userId="98c9b574-0003-4444-8361-b3d2c09fda2f" providerId="ADAL" clId="{D2BC25FC-0C39-45AB-8B74-851B6F5A4959}" dt="2024-03-04T17:08:04.807" v="3369" actId="478"/>
          <ac:spMkLst>
            <pc:docMk/>
            <pc:sldMk cId="3733635412" sldId="293"/>
            <ac:spMk id="32" creationId="{D4D07A05-A2FC-1946-2BD2-309DA41F38DC}"/>
          </ac:spMkLst>
        </pc:spChg>
        <pc:spChg chg="add mod">
          <ac:chgData name="CLAUDIA ELIZABETH ROESSING ROCHA" userId="98c9b574-0003-4444-8361-b3d2c09fda2f" providerId="ADAL" clId="{D2BC25FC-0C39-45AB-8B74-851B6F5A4959}" dt="2024-03-04T17:08:17.392" v="3372" actId="1076"/>
          <ac:spMkLst>
            <pc:docMk/>
            <pc:sldMk cId="3733635412" sldId="293"/>
            <ac:spMk id="33" creationId="{D593A84A-4E4E-21FC-9FAE-94FC9D440EBE}"/>
          </ac:spMkLst>
        </pc:spChg>
        <pc:spChg chg="add mod">
          <ac:chgData name="CLAUDIA ELIZABETH ROESSING ROCHA" userId="98c9b574-0003-4444-8361-b3d2c09fda2f" providerId="ADAL" clId="{D2BC25FC-0C39-45AB-8B74-851B6F5A4959}" dt="2024-03-04T17:08:29.861" v="3374" actId="1076"/>
          <ac:spMkLst>
            <pc:docMk/>
            <pc:sldMk cId="3733635412" sldId="293"/>
            <ac:spMk id="34" creationId="{565AB075-E427-E544-E9FF-5E4428ED224B}"/>
          </ac:spMkLst>
        </pc:spChg>
        <pc:spChg chg="add mod">
          <ac:chgData name="CLAUDIA ELIZABETH ROESSING ROCHA" userId="98c9b574-0003-4444-8361-b3d2c09fda2f" providerId="ADAL" clId="{D2BC25FC-0C39-45AB-8B74-851B6F5A4959}" dt="2024-03-04T17:08:40.088" v="3377" actId="1076"/>
          <ac:spMkLst>
            <pc:docMk/>
            <pc:sldMk cId="3733635412" sldId="293"/>
            <ac:spMk id="35" creationId="{6A668D86-51BB-2ECB-B8C3-9F4D11CF6BFC}"/>
          </ac:spMkLst>
        </pc:spChg>
        <pc:spChg chg="add mod">
          <ac:chgData name="CLAUDIA ELIZABETH ROESSING ROCHA" userId="98c9b574-0003-4444-8361-b3d2c09fda2f" providerId="ADAL" clId="{D2BC25FC-0C39-45AB-8B74-851B6F5A4959}" dt="2024-03-04T17:08:58.351" v="3379" actId="1076"/>
          <ac:spMkLst>
            <pc:docMk/>
            <pc:sldMk cId="3733635412" sldId="293"/>
            <ac:spMk id="36" creationId="{65EA8EB3-3D11-8247-CFC1-39ECA51AB94A}"/>
          </ac:spMkLst>
        </pc:spChg>
        <pc:spChg chg="add mod">
          <ac:chgData name="CLAUDIA ELIZABETH ROESSING ROCHA" userId="98c9b574-0003-4444-8361-b3d2c09fda2f" providerId="ADAL" clId="{D2BC25FC-0C39-45AB-8B74-851B6F5A4959}" dt="2024-03-04T17:09:37.317" v="3386" actId="1076"/>
          <ac:spMkLst>
            <pc:docMk/>
            <pc:sldMk cId="3733635412" sldId="293"/>
            <ac:spMk id="37" creationId="{690D68B9-F7B3-D3DA-A54E-4B4C06051079}"/>
          </ac:spMkLst>
        </pc:spChg>
        <pc:spChg chg="add mod">
          <ac:chgData name="CLAUDIA ELIZABETH ROESSING ROCHA" userId="98c9b574-0003-4444-8361-b3d2c09fda2f" providerId="ADAL" clId="{D2BC25FC-0C39-45AB-8B74-851B6F5A4959}" dt="2024-03-04T17:09:28.874" v="3385" actId="1076"/>
          <ac:spMkLst>
            <pc:docMk/>
            <pc:sldMk cId="3733635412" sldId="293"/>
            <ac:spMk id="38" creationId="{C004F7BD-F9B4-3B61-C2E5-0A42D26A1842}"/>
          </ac:spMkLst>
        </pc:spChg>
        <pc:spChg chg="add mod">
          <ac:chgData name="CLAUDIA ELIZABETH ROESSING ROCHA" userId="98c9b574-0003-4444-8361-b3d2c09fda2f" providerId="ADAL" clId="{D2BC25FC-0C39-45AB-8B74-851B6F5A4959}" dt="2024-03-04T17:09:56.729" v="3388" actId="1076"/>
          <ac:spMkLst>
            <pc:docMk/>
            <pc:sldMk cId="3733635412" sldId="293"/>
            <ac:spMk id="39" creationId="{D854CD57-84DD-107A-CD7A-EAE9AE171764}"/>
          </ac:spMkLst>
        </pc:spChg>
        <pc:spChg chg="add mod">
          <ac:chgData name="CLAUDIA ELIZABETH ROESSING ROCHA" userId="98c9b574-0003-4444-8361-b3d2c09fda2f" providerId="ADAL" clId="{D2BC25FC-0C39-45AB-8B74-851B6F5A4959}" dt="2024-03-04T17:10:07.187" v="3390" actId="1076"/>
          <ac:spMkLst>
            <pc:docMk/>
            <pc:sldMk cId="3733635412" sldId="293"/>
            <ac:spMk id="40" creationId="{3DBFA328-CC1C-6E59-6A5A-A4773D9AB895}"/>
          </ac:spMkLst>
        </pc:spChg>
        <pc:spChg chg="add mod">
          <ac:chgData name="CLAUDIA ELIZABETH ROESSING ROCHA" userId="98c9b574-0003-4444-8361-b3d2c09fda2f" providerId="ADAL" clId="{D2BC25FC-0C39-45AB-8B74-851B6F5A4959}" dt="2024-03-04T17:10:20.846" v="3392" actId="1076"/>
          <ac:spMkLst>
            <pc:docMk/>
            <pc:sldMk cId="3733635412" sldId="293"/>
            <ac:spMk id="41" creationId="{88C01568-5F79-256C-1B2A-17E5E7F9954D}"/>
          </ac:spMkLst>
        </pc:spChg>
        <pc:spChg chg="add mod">
          <ac:chgData name="CLAUDIA ELIZABETH ROESSING ROCHA" userId="98c9b574-0003-4444-8361-b3d2c09fda2f" providerId="ADAL" clId="{D2BC25FC-0C39-45AB-8B74-851B6F5A4959}" dt="2024-03-04T17:10:40.403" v="3394" actId="1076"/>
          <ac:spMkLst>
            <pc:docMk/>
            <pc:sldMk cId="3733635412" sldId="293"/>
            <ac:spMk id="42" creationId="{9EA9E1FD-E8ED-4CAB-3288-35236BD08602}"/>
          </ac:spMkLst>
        </pc:spChg>
        <pc:spChg chg="add mod">
          <ac:chgData name="CLAUDIA ELIZABETH ROESSING ROCHA" userId="98c9b574-0003-4444-8361-b3d2c09fda2f" providerId="ADAL" clId="{D2BC25FC-0C39-45AB-8B74-851B6F5A4959}" dt="2024-03-04T17:10:54.040" v="3396" actId="1076"/>
          <ac:spMkLst>
            <pc:docMk/>
            <pc:sldMk cId="3733635412" sldId="293"/>
            <ac:spMk id="43" creationId="{43FAF2C8-6635-B438-E048-3B7104A30B7F}"/>
          </ac:spMkLst>
        </pc:spChg>
        <pc:spChg chg="add mod">
          <ac:chgData name="CLAUDIA ELIZABETH ROESSING ROCHA" userId="98c9b574-0003-4444-8361-b3d2c09fda2f" providerId="ADAL" clId="{D2BC25FC-0C39-45AB-8B74-851B6F5A4959}" dt="2024-03-04T17:11:01.670" v="3398" actId="1076"/>
          <ac:spMkLst>
            <pc:docMk/>
            <pc:sldMk cId="3733635412" sldId="293"/>
            <ac:spMk id="44" creationId="{4F9837A2-7804-7D8F-59C1-79CC3E98308C}"/>
          </ac:spMkLst>
        </pc:spChg>
        <pc:spChg chg="add mod">
          <ac:chgData name="CLAUDIA ELIZABETH ROESSING ROCHA" userId="98c9b574-0003-4444-8361-b3d2c09fda2f" providerId="ADAL" clId="{D2BC25FC-0C39-45AB-8B74-851B6F5A4959}" dt="2024-03-04T17:12:13.840" v="3411" actId="1076"/>
          <ac:spMkLst>
            <pc:docMk/>
            <pc:sldMk cId="3733635412" sldId="293"/>
            <ac:spMk id="45" creationId="{C945D3AC-E7F2-54D1-EBB0-F1D81F308F1C}"/>
          </ac:spMkLst>
        </pc:spChg>
        <pc:spChg chg="add mod">
          <ac:chgData name="CLAUDIA ELIZABETH ROESSING ROCHA" userId="98c9b574-0003-4444-8361-b3d2c09fda2f" providerId="ADAL" clId="{D2BC25FC-0C39-45AB-8B74-851B6F5A4959}" dt="2024-03-04T17:12:32.741" v="3414" actId="1076"/>
          <ac:spMkLst>
            <pc:docMk/>
            <pc:sldMk cId="3733635412" sldId="293"/>
            <ac:spMk id="46" creationId="{61891EDD-5828-597B-4350-4BEE59C06366}"/>
          </ac:spMkLst>
        </pc:spChg>
        <pc:graphicFrameChg chg="add del mod ord modGraphic">
          <ac:chgData name="CLAUDIA ELIZABETH ROESSING ROCHA" userId="98c9b574-0003-4444-8361-b3d2c09fda2f" providerId="ADAL" clId="{D2BC25FC-0C39-45AB-8B74-851B6F5A4959}" dt="2024-03-04T17:03:38.157" v="3350" actId="14100"/>
          <ac:graphicFrameMkLst>
            <pc:docMk/>
            <pc:sldMk cId="3733635412" sldId="293"/>
            <ac:graphicFrameMk id="8" creationId="{DE3DCACD-F17C-A787-C6CA-F721C7B2A050}"/>
          </ac:graphicFrameMkLst>
        </pc:graphicFrameChg>
      </pc:sldChg>
      <pc:sldChg chg="addSp delSp modSp add del mod ord">
        <pc:chgData name="CLAUDIA ELIZABETH ROESSING ROCHA" userId="98c9b574-0003-4444-8361-b3d2c09fda2f" providerId="ADAL" clId="{D2BC25FC-0C39-45AB-8B74-851B6F5A4959}" dt="2024-03-05T00:15:38.330" v="3783" actId="47"/>
        <pc:sldMkLst>
          <pc:docMk/>
          <pc:sldMk cId="814196614" sldId="294"/>
        </pc:sldMkLst>
        <pc:spChg chg="add mod">
          <ac:chgData name="CLAUDIA ELIZABETH ROESSING ROCHA" userId="98c9b574-0003-4444-8361-b3d2c09fda2f" providerId="ADAL" clId="{D2BC25FC-0C39-45AB-8B74-851B6F5A4959}" dt="2024-02-27T14:31:25.904" v="638" actId="122"/>
          <ac:spMkLst>
            <pc:docMk/>
            <pc:sldMk cId="814196614" sldId="294"/>
            <ac:spMk id="3" creationId="{7F169681-A778-CC37-A0C9-402E684C16A7}"/>
          </ac:spMkLst>
        </pc:spChg>
        <pc:spChg chg="add mod">
          <ac:chgData name="CLAUDIA ELIZABETH ROESSING ROCHA" userId="98c9b574-0003-4444-8361-b3d2c09fda2f" providerId="ADAL" clId="{D2BC25FC-0C39-45AB-8B74-851B6F5A4959}" dt="2024-02-27T14:31:42.152" v="640" actId="1076"/>
          <ac:spMkLst>
            <pc:docMk/>
            <pc:sldMk cId="814196614" sldId="294"/>
            <ac:spMk id="6" creationId="{24DBB6E1-F252-248F-EC34-9A5027287EF7}"/>
          </ac:spMkLst>
        </pc:spChg>
        <pc:spChg chg="del">
          <ac:chgData name="CLAUDIA ELIZABETH ROESSING ROCHA" userId="98c9b574-0003-4444-8361-b3d2c09fda2f" providerId="ADAL" clId="{D2BC25FC-0C39-45AB-8B74-851B6F5A4959}" dt="2024-02-27T14:26:51.950" v="564" actId="478"/>
          <ac:spMkLst>
            <pc:docMk/>
            <pc:sldMk cId="814196614" sldId="294"/>
            <ac:spMk id="10" creationId="{670B5BF7-770A-5C20-56B9-037046962446}"/>
          </ac:spMkLst>
        </pc:spChg>
        <pc:spChg chg="del">
          <ac:chgData name="CLAUDIA ELIZABETH ROESSING ROCHA" userId="98c9b574-0003-4444-8361-b3d2c09fda2f" providerId="ADAL" clId="{D2BC25FC-0C39-45AB-8B74-851B6F5A4959}" dt="2024-02-27T14:26:40.235" v="556" actId="478"/>
          <ac:spMkLst>
            <pc:docMk/>
            <pc:sldMk cId="814196614" sldId="294"/>
            <ac:spMk id="11" creationId="{53B3CA63-E99F-D60A-5E01-40C55874B650}"/>
          </ac:spMkLst>
        </pc:spChg>
        <pc:spChg chg="del mod">
          <ac:chgData name="CLAUDIA ELIZABETH ROESSING ROCHA" userId="98c9b574-0003-4444-8361-b3d2c09fda2f" providerId="ADAL" clId="{D2BC25FC-0C39-45AB-8B74-851B6F5A4959}" dt="2024-02-27T14:26:46.812" v="562" actId="478"/>
          <ac:spMkLst>
            <pc:docMk/>
            <pc:sldMk cId="814196614" sldId="294"/>
            <ac:spMk id="12" creationId="{43A62AF3-FFDF-0F12-9955-13F65698A244}"/>
          </ac:spMkLst>
        </pc:spChg>
        <pc:spChg chg="del">
          <ac:chgData name="CLAUDIA ELIZABETH ROESSING ROCHA" userId="98c9b574-0003-4444-8361-b3d2c09fda2f" providerId="ADAL" clId="{D2BC25FC-0C39-45AB-8B74-851B6F5A4959}" dt="2024-02-27T14:26:42.592" v="559" actId="478"/>
          <ac:spMkLst>
            <pc:docMk/>
            <pc:sldMk cId="814196614" sldId="294"/>
            <ac:spMk id="13" creationId="{6766DFE8-B7E1-0C24-5DCC-DE51C0C543BE}"/>
          </ac:spMkLst>
        </pc:spChg>
        <pc:spChg chg="del">
          <ac:chgData name="CLAUDIA ELIZABETH ROESSING ROCHA" userId="98c9b574-0003-4444-8361-b3d2c09fda2f" providerId="ADAL" clId="{D2BC25FC-0C39-45AB-8B74-851B6F5A4959}" dt="2024-02-27T14:26:48.931" v="563" actId="478"/>
          <ac:spMkLst>
            <pc:docMk/>
            <pc:sldMk cId="814196614" sldId="294"/>
            <ac:spMk id="14" creationId="{9237EA0A-2BFA-851A-59AA-ADD8DD4FE082}"/>
          </ac:spMkLst>
        </pc:spChg>
        <pc:spChg chg="del">
          <ac:chgData name="CLAUDIA ELIZABETH ROESSING ROCHA" userId="98c9b574-0003-4444-8361-b3d2c09fda2f" providerId="ADAL" clId="{D2BC25FC-0C39-45AB-8B74-851B6F5A4959}" dt="2024-02-27T14:26:45.200" v="561" actId="478"/>
          <ac:spMkLst>
            <pc:docMk/>
            <pc:sldMk cId="814196614" sldId="294"/>
            <ac:spMk id="15" creationId="{73C02937-32D6-3045-2C41-C893187ECFCF}"/>
          </ac:spMkLst>
        </pc:spChg>
        <pc:picChg chg="del">
          <ac:chgData name="CLAUDIA ELIZABETH ROESSING ROCHA" userId="98c9b574-0003-4444-8361-b3d2c09fda2f" providerId="ADAL" clId="{D2BC25FC-0C39-45AB-8B74-851B6F5A4959}" dt="2024-02-27T14:26:38.611" v="555" actId="478"/>
          <ac:picMkLst>
            <pc:docMk/>
            <pc:sldMk cId="814196614" sldId="294"/>
            <ac:picMk id="4" creationId="{B59101AB-5001-1A56-E3A4-45BACD637C3E}"/>
          </ac:picMkLst>
        </pc:picChg>
        <pc:picChg chg="del">
          <ac:chgData name="CLAUDIA ELIZABETH ROESSING ROCHA" userId="98c9b574-0003-4444-8361-b3d2c09fda2f" providerId="ADAL" clId="{D2BC25FC-0C39-45AB-8B74-851B6F5A4959}" dt="2024-02-27T14:26:34.112" v="554" actId="478"/>
          <ac:picMkLst>
            <pc:docMk/>
            <pc:sldMk cId="814196614" sldId="294"/>
            <ac:picMk id="5" creationId="{091D6B0E-82B4-17EB-7470-4B409E029B9B}"/>
          </ac:picMkLst>
        </pc:picChg>
        <pc:picChg chg="del">
          <ac:chgData name="CLAUDIA ELIZABETH ROESSING ROCHA" userId="98c9b574-0003-4444-8361-b3d2c09fda2f" providerId="ADAL" clId="{D2BC25FC-0C39-45AB-8B74-851B6F5A4959}" dt="2024-02-27T14:26:40.788" v="557" actId="478"/>
          <ac:picMkLst>
            <pc:docMk/>
            <pc:sldMk cId="814196614" sldId="294"/>
            <ac:picMk id="7" creationId="{27988F6B-D016-9FBB-23F0-F874FD9EAD14}"/>
          </ac:picMkLst>
        </pc:picChg>
        <pc:picChg chg="add mod">
          <ac:chgData name="CLAUDIA ELIZABETH ROESSING ROCHA" userId="98c9b574-0003-4444-8361-b3d2c09fda2f" providerId="ADAL" clId="{D2BC25FC-0C39-45AB-8B74-851B6F5A4959}" dt="2024-02-27T14:32:07.100" v="643" actId="1076"/>
          <ac:picMkLst>
            <pc:docMk/>
            <pc:sldMk cId="814196614" sldId="294"/>
            <ac:picMk id="8" creationId="{8F2E2D86-6BD2-13D4-A483-81986F9C23D4}"/>
          </ac:picMkLst>
        </pc:picChg>
        <pc:picChg chg="del">
          <ac:chgData name="CLAUDIA ELIZABETH ROESSING ROCHA" userId="98c9b574-0003-4444-8361-b3d2c09fda2f" providerId="ADAL" clId="{D2BC25FC-0C39-45AB-8B74-851B6F5A4959}" dt="2024-02-27T14:26:41.407" v="558" actId="478"/>
          <ac:picMkLst>
            <pc:docMk/>
            <pc:sldMk cId="814196614" sldId="294"/>
            <ac:picMk id="9" creationId="{63859ADB-03E9-8E85-3887-4D18A0FD703E}"/>
          </ac:picMkLst>
        </pc:picChg>
        <pc:picChg chg="del">
          <ac:chgData name="CLAUDIA ELIZABETH ROESSING ROCHA" userId="98c9b574-0003-4444-8361-b3d2c09fda2f" providerId="ADAL" clId="{D2BC25FC-0C39-45AB-8B74-851B6F5A4959}" dt="2024-02-27T14:26:38.611" v="555" actId="478"/>
          <ac:picMkLst>
            <pc:docMk/>
            <pc:sldMk cId="814196614" sldId="294"/>
            <ac:picMk id="1026" creationId="{FBF52E98-476C-A036-F464-60DD35073533}"/>
          </ac:picMkLst>
        </pc:picChg>
      </pc:sldChg>
      <pc:sldChg chg="addSp delSp modSp add mod ord">
        <pc:chgData name="CLAUDIA ELIZABETH ROESSING ROCHA" userId="98c9b574-0003-4444-8361-b3d2c09fda2f" providerId="ADAL" clId="{D2BC25FC-0C39-45AB-8B74-851B6F5A4959}" dt="2024-03-05T11:59:33.926" v="3806" actId="20577"/>
        <pc:sldMkLst>
          <pc:docMk/>
          <pc:sldMk cId="44390897" sldId="295"/>
        </pc:sldMkLst>
        <pc:spChg chg="mod">
          <ac:chgData name="CLAUDIA ELIZABETH ROESSING ROCHA" userId="98c9b574-0003-4444-8361-b3d2c09fda2f" providerId="ADAL" clId="{D2BC25FC-0C39-45AB-8B74-851B6F5A4959}" dt="2024-02-27T15:04:58.021" v="959"/>
          <ac:spMkLst>
            <pc:docMk/>
            <pc:sldMk cId="44390897" sldId="295"/>
            <ac:spMk id="2" creationId="{A58A92CC-684A-6B26-FEBF-E814E194DE3B}"/>
          </ac:spMkLst>
        </pc:spChg>
        <pc:spChg chg="add del mod">
          <ac:chgData name="CLAUDIA ELIZABETH ROESSING ROCHA" userId="98c9b574-0003-4444-8361-b3d2c09fda2f" providerId="ADAL" clId="{D2BC25FC-0C39-45AB-8B74-851B6F5A4959}" dt="2024-03-04T17:31:03.742" v="3516" actId="478"/>
          <ac:spMkLst>
            <pc:docMk/>
            <pc:sldMk cId="44390897" sldId="295"/>
            <ac:spMk id="3" creationId="{A756BACD-193D-7E85-C3C5-87C6F276B603}"/>
          </ac:spMkLst>
        </pc:spChg>
        <pc:spChg chg="add del mod">
          <ac:chgData name="CLAUDIA ELIZABETH ROESSING ROCHA" userId="98c9b574-0003-4444-8361-b3d2c09fda2f" providerId="ADAL" clId="{D2BC25FC-0C39-45AB-8B74-851B6F5A4959}" dt="2024-03-04T17:31:04.453" v="3517" actId="478"/>
          <ac:spMkLst>
            <pc:docMk/>
            <pc:sldMk cId="44390897" sldId="295"/>
            <ac:spMk id="4" creationId="{7AFE5C2A-584A-9B46-A123-1F50B5F60A12}"/>
          </ac:spMkLst>
        </pc:spChg>
        <pc:spChg chg="add del mod">
          <ac:chgData name="CLAUDIA ELIZABETH ROESSING ROCHA" userId="98c9b574-0003-4444-8361-b3d2c09fda2f" providerId="ADAL" clId="{D2BC25FC-0C39-45AB-8B74-851B6F5A4959}" dt="2024-03-04T17:31:07.376" v="3519" actId="478"/>
          <ac:spMkLst>
            <pc:docMk/>
            <pc:sldMk cId="44390897" sldId="295"/>
            <ac:spMk id="5" creationId="{FB8F027A-EC83-8982-0937-788363E4EAA1}"/>
          </ac:spMkLst>
        </pc:spChg>
        <pc:spChg chg="add del mod">
          <ac:chgData name="CLAUDIA ELIZABETH ROESSING ROCHA" userId="98c9b574-0003-4444-8361-b3d2c09fda2f" providerId="ADAL" clId="{D2BC25FC-0C39-45AB-8B74-851B6F5A4959}" dt="2024-03-04T17:31:06.712" v="3518" actId="478"/>
          <ac:spMkLst>
            <pc:docMk/>
            <pc:sldMk cId="44390897" sldId="295"/>
            <ac:spMk id="6" creationId="{A2FF974F-913B-19C8-8670-6B52A6EE1FF1}"/>
          </ac:spMkLst>
        </pc:spChg>
        <pc:spChg chg="add mod">
          <ac:chgData name="CLAUDIA ELIZABETH ROESSING ROCHA" userId="98c9b574-0003-4444-8361-b3d2c09fda2f" providerId="ADAL" clId="{D2BC25FC-0C39-45AB-8B74-851B6F5A4959}" dt="2024-03-04T17:39:21.842" v="3603" actId="1076"/>
          <ac:spMkLst>
            <pc:docMk/>
            <pc:sldMk cId="44390897" sldId="295"/>
            <ac:spMk id="7" creationId="{FD1F1770-B75F-13CB-844F-15F7F5B94CEC}"/>
          </ac:spMkLst>
        </pc:spChg>
        <pc:spChg chg="add mod">
          <ac:chgData name="CLAUDIA ELIZABETH ROESSING ROCHA" userId="98c9b574-0003-4444-8361-b3d2c09fda2f" providerId="ADAL" clId="{D2BC25FC-0C39-45AB-8B74-851B6F5A4959}" dt="2024-03-04T17:39:24.744" v="3604" actId="1076"/>
          <ac:spMkLst>
            <pc:docMk/>
            <pc:sldMk cId="44390897" sldId="295"/>
            <ac:spMk id="9" creationId="{3DF2CDF0-5528-5F59-594D-3356612D4092}"/>
          </ac:spMkLst>
        </pc:spChg>
        <pc:spChg chg="add mod">
          <ac:chgData name="CLAUDIA ELIZABETH ROESSING ROCHA" userId="98c9b574-0003-4444-8361-b3d2c09fda2f" providerId="ADAL" clId="{D2BC25FC-0C39-45AB-8B74-851B6F5A4959}" dt="2024-03-04T17:38:57.003" v="3595" actId="1076"/>
          <ac:spMkLst>
            <pc:docMk/>
            <pc:sldMk cId="44390897" sldId="295"/>
            <ac:spMk id="10" creationId="{D8EE3D2D-B70F-46F4-404A-F48A35AF7595}"/>
          </ac:spMkLst>
        </pc:spChg>
        <pc:spChg chg="del">
          <ac:chgData name="CLAUDIA ELIZABETH ROESSING ROCHA" userId="98c9b574-0003-4444-8361-b3d2c09fda2f" providerId="ADAL" clId="{D2BC25FC-0C39-45AB-8B74-851B6F5A4959}" dt="2024-03-04T17:37:36.322" v="3584" actId="478"/>
          <ac:spMkLst>
            <pc:docMk/>
            <pc:sldMk cId="44390897" sldId="295"/>
            <ac:spMk id="11" creationId="{0AAC87CD-6656-D849-2510-332944319FCC}"/>
          </ac:spMkLst>
        </pc:spChg>
        <pc:spChg chg="add mod">
          <ac:chgData name="CLAUDIA ELIZABETH ROESSING ROCHA" userId="98c9b574-0003-4444-8361-b3d2c09fda2f" providerId="ADAL" clId="{D2BC25FC-0C39-45AB-8B74-851B6F5A4959}" dt="2024-03-04T17:38:53.431" v="3594" actId="1076"/>
          <ac:spMkLst>
            <pc:docMk/>
            <pc:sldMk cId="44390897" sldId="295"/>
            <ac:spMk id="12" creationId="{FBC17679-D92C-60AE-DD1A-5AEE0E046934}"/>
          </ac:spMkLst>
        </pc:spChg>
        <pc:spChg chg="del mod">
          <ac:chgData name="CLAUDIA ELIZABETH ROESSING ROCHA" userId="98c9b574-0003-4444-8361-b3d2c09fda2f" providerId="ADAL" clId="{D2BC25FC-0C39-45AB-8B74-851B6F5A4959}" dt="2024-03-04T17:37:29.003" v="3583" actId="478"/>
          <ac:spMkLst>
            <pc:docMk/>
            <pc:sldMk cId="44390897" sldId="295"/>
            <ac:spMk id="13" creationId="{7210D948-7184-3B3C-7BF3-1B21C09B7F5C}"/>
          </ac:spMkLst>
        </pc:spChg>
        <pc:spChg chg="del mod">
          <ac:chgData name="CLAUDIA ELIZABETH ROESSING ROCHA" userId="98c9b574-0003-4444-8361-b3d2c09fda2f" providerId="ADAL" clId="{D2BC25FC-0C39-45AB-8B74-851B6F5A4959}" dt="2024-03-04T17:37:29.003" v="3583" actId="478"/>
          <ac:spMkLst>
            <pc:docMk/>
            <pc:sldMk cId="44390897" sldId="295"/>
            <ac:spMk id="14" creationId="{F6E3A0F0-0436-D0A7-410C-0C2422D882D3}"/>
          </ac:spMkLst>
        </pc:spChg>
        <pc:spChg chg="del mod">
          <ac:chgData name="CLAUDIA ELIZABETH ROESSING ROCHA" userId="98c9b574-0003-4444-8361-b3d2c09fda2f" providerId="ADAL" clId="{D2BC25FC-0C39-45AB-8B74-851B6F5A4959}" dt="2024-03-04T17:37:29.003" v="3583" actId="478"/>
          <ac:spMkLst>
            <pc:docMk/>
            <pc:sldMk cId="44390897" sldId="295"/>
            <ac:spMk id="15" creationId="{ED128679-24B3-379E-DF68-C7622306825A}"/>
          </ac:spMkLst>
        </pc:spChg>
        <pc:spChg chg="del mod">
          <ac:chgData name="CLAUDIA ELIZABETH ROESSING ROCHA" userId="98c9b574-0003-4444-8361-b3d2c09fda2f" providerId="ADAL" clId="{D2BC25FC-0C39-45AB-8B74-851B6F5A4959}" dt="2024-03-04T17:37:29.003" v="3583" actId="478"/>
          <ac:spMkLst>
            <pc:docMk/>
            <pc:sldMk cId="44390897" sldId="295"/>
            <ac:spMk id="16" creationId="{50BA6E3F-0A16-A472-1071-6854C75142BF}"/>
          </ac:spMkLst>
        </pc:spChg>
        <pc:spChg chg="del">
          <ac:chgData name="CLAUDIA ELIZABETH ROESSING ROCHA" userId="98c9b574-0003-4444-8361-b3d2c09fda2f" providerId="ADAL" clId="{D2BC25FC-0C39-45AB-8B74-851B6F5A4959}" dt="2024-03-04T17:37:36.322" v="3584" actId="478"/>
          <ac:spMkLst>
            <pc:docMk/>
            <pc:sldMk cId="44390897" sldId="295"/>
            <ac:spMk id="17" creationId="{0D212CBF-0859-942E-3CE2-D7E54E7DAB5A}"/>
          </ac:spMkLst>
        </pc:spChg>
        <pc:spChg chg="del">
          <ac:chgData name="CLAUDIA ELIZABETH ROESSING ROCHA" userId="98c9b574-0003-4444-8361-b3d2c09fda2f" providerId="ADAL" clId="{D2BC25FC-0C39-45AB-8B74-851B6F5A4959}" dt="2024-03-04T17:37:36.322" v="3584" actId="478"/>
          <ac:spMkLst>
            <pc:docMk/>
            <pc:sldMk cId="44390897" sldId="295"/>
            <ac:spMk id="18" creationId="{23A6BBEF-6C16-4360-BE8F-44602311858C}"/>
          </ac:spMkLst>
        </pc:spChg>
        <pc:spChg chg="del">
          <ac:chgData name="CLAUDIA ELIZABETH ROESSING ROCHA" userId="98c9b574-0003-4444-8361-b3d2c09fda2f" providerId="ADAL" clId="{D2BC25FC-0C39-45AB-8B74-851B6F5A4959}" dt="2024-03-04T17:37:36.322" v="3584" actId="478"/>
          <ac:spMkLst>
            <pc:docMk/>
            <pc:sldMk cId="44390897" sldId="295"/>
            <ac:spMk id="19" creationId="{93613A76-F908-48F1-EFD1-914E21380D5F}"/>
          </ac:spMkLst>
        </pc:spChg>
        <pc:spChg chg="del">
          <ac:chgData name="CLAUDIA ELIZABETH ROESSING ROCHA" userId="98c9b574-0003-4444-8361-b3d2c09fda2f" providerId="ADAL" clId="{D2BC25FC-0C39-45AB-8B74-851B6F5A4959}" dt="2024-03-04T17:37:36.322" v="3584" actId="478"/>
          <ac:spMkLst>
            <pc:docMk/>
            <pc:sldMk cId="44390897" sldId="295"/>
            <ac:spMk id="20" creationId="{FFF166BA-0BDB-FB01-4BB2-37E4FAA909BD}"/>
          </ac:spMkLst>
        </pc:spChg>
        <pc:spChg chg="mod">
          <ac:chgData name="CLAUDIA ELIZABETH ROESSING ROCHA" userId="98c9b574-0003-4444-8361-b3d2c09fda2f" providerId="ADAL" clId="{D2BC25FC-0C39-45AB-8B74-851B6F5A4959}" dt="2024-03-05T11:59:33.926" v="3806" actId="20577"/>
          <ac:spMkLst>
            <pc:docMk/>
            <pc:sldMk cId="44390897" sldId="295"/>
            <ac:spMk id="21" creationId="{72F33D97-AD00-C018-ADFF-6D115B05153D}"/>
          </ac:spMkLst>
        </pc:spChg>
        <pc:spChg chg="del mod">
          <ac:chgData name="CLAUDIA ELIZABETH ROESSING ROCHA" userId="98c9b574-0003-4444-8361-b3d2c09fda2f" providerId="ADAL" clId="{D2BC25FC-0C39-45AB-8B74-851B6F5A4959}" dt="2024-03-04T17:37:45.060" v="3585" actId="478"/>
          <ac:spMkLst>
            <pc:docMk/>
            <pc:sldMk cId="44390897" sldId="295"/>
            <ac:spMk id="22" creationId="{48EF7636-C17F-3DC1-B18A-EC01604F1261}"/>
          </ac:spMkLst>
        </pc:spChg>
        <pc:spChg chg="del mod">
          <ac:chgData name="CLAUDIA ELIZABETH ROESSING ROCHA" userId="98c9b574-0003-4444-8361-b3d2c09fda2f" providerId="ADAL" clId="{D2BC25FC-0C39-45AB-8B74-851B6F5A4959}" dt="2024-02-27T15:31:56.956" v="1429" actId="478"/>
          <ac:spMkLst>
            <pc:docMk/>
            <pc:sldMk cId="44390897" sldId="295"/>
            <ac:spMk id="23" creationId="{777FFE91-2FBA-C968-ECD4-0EB53647FB9F}"/>
          </ac:spMkLst>
        </pc:spChg>
        <pc:spChg chg="add mod">
          <ac:chgData name="CLAUDIA ELIZABETH ROESSING ROCHA" userId="98c9b574-0003-4444-8361-b3d2c09fda2f" providerId="ADAL" clId="{D2BC25FC-0C39-45AB-8B74-851B6F5A4959}" dt="2024-03-04T17:39:31.864" v="3605" actId="1076"/>
          <ac:spMkLst>
            <pc:docMk/>
            <pc:sldMk cId="44390897" sldId="295"/>
            <ac:spMk id="23" creationId="{FA56DA74-C06A-0F7D-C330-C213D6FE3BD8}"/>
          </ac:spMkLst>
        </pc:spChg>
        <pc:spChg chg="del mod">
          <ac:chgData name="CLAUDIA ELIZABETH ROESSING ROCHA" userId="98c9b574-0003-4444-8361-b3d2c09fda2f" providerId="ADAL" clId="{D2BC25FC-0C39-45AB-8B74-851B6F5A4959}" dt="2024-02-27T15:32:01.995" v="1430" actId="478"/>
          <ac:spMkLst>
            <pc:docMk/>
            <pc:sldMk cId="44390897" sldId="295"/>
            <ac:spMk id="24" creationId="{BCF81EBD-EFCF-96C8-EB92-D66A67B97422}"/>
          </ac:spMkLst>
        </pc:spChg>
        <pc:spChg chg="add mod">
          <ac:chgData name="CLAUDIA ELIZABETH ROESSING ROCHA" userId="98c9b574-0003-4444-8361-b3d2c09fda2f" providerId="ADAL" clId="{D2BC25FC-0C39-45AB-8B74-851B6F5A4959}" dt="2024-03-04T17:39:42.941" v="3608" actId="1076"/>
          <ac:spMkLst>
            <pc:docMk/>
            <pc:sldMk cId="44390897" sldId="295"/>
            <ac:spMk id="24" creationId="{C04A6630-DA53-5554-68C5-4C41134EC65F}"/>
          </ac:spMkLst>
        </pc:spChg>
        <pc:spChg chg="add mod">
          <ac:chgData name="CLAUDIA ELIZABETH ROESSING ROCHA" userId="98c9b574-0003-4444-8361-b3d2c09fda2f" providerId="ADAL" clId="{D2BC25FC-0C39-45AB-8B74-851B6F5A4959}" dt="2024-03-04T17:39:05.218" v="3599" actId="1076"/>
          <ac:spMkLst>
            <pc:docMk/>
            <pc:sldMk cId="44390897" sldId="295"/>
            <ac:spMk id="25" creationId="{EDD76200-4B4E-A20C-C758-31F8682E668E}"/>
          </ac:spMkLst>
        </pc:spChg>
        <pc:spChg chg="del mod">
          <ac:chgData name="CLAUDIA ELIZABETH ROESSING ROCHA" userId="98c9b574-0003-4444-8361-b3d2c09fda2f" providerId="ADAL" clId="{D2BC25FC-0C39-45AB-8B74-851B6F5A4959}" dt="2024-02-27T15:32:43.020" v="1438" actId="478"/>
          <ac:spMkLst>
            <pc:docMk/>
            <pc:sldMk cId="44390897" sldId="295"/>
            <ac:spMk id="25" creationId="{F414DE89-A9F7-BE4E-4D41-26EB62E2F5FA}"/>
          </ac:spMkLst>
        </pc:spChg>
        <pc:spChg chg="del mod">
          <ac:chgData name="CLAUDIA ELIZABETH ROESSING ROCHA" userId="98c9b574-0003-4444-8361-b3d2c09fda2f" providerId="ADAL" clId="{D2BC25FC-0C39-45AB-8B74-851B6F5A4959}" dt="2024-02-27T15:32:26.332" v="1435" actId="478"/>
          <ac:spMkLst>
            <pc:docMk/>
            <pc:sldMk cId="44390897" sldId="295"/>
            <ac:spMk id="26" creationId="{218C5CB9-6AC0-9FE6-3BED-04CB08C5EE64}"/>
          </ac:spMkLst>
        </pc:spChg>
        <pc:spChg chg="add mod">
          <ac:chgData name="CLAUDIA ELIZABETH ROESSING ROCHA" userId="98c9b574-0003-4444-8361-b3d2c09fda2f" providerId="ADAL" clId="{D2BC25FC-0C39-45AB-8B74-851B6F5A4959}" dt="2024-03-04T17:39:35.138" v="3606" actId="1076"/>
          <ac:spMkLst>
            <pc:docMk/>
            <pc:sldMk cId="44390897" sldId="295"/>
            <ac:spMk id="26" creationId="{C7A86818-D837-6F27-E611-C67C5F1C071D}"/>
          </ac:spMkLst>
        </pc:spChg>
        <pc:spChg chg="add mod">
          <ac:chgData name="CLAUDIA ELIZABETH ROESSING ROCHA" userId="98c9b574-0003-4444-8361-b3d2c09fda2f" providerId="ADAL" clId="{D2BC25FC-0C39-45AB-8B74-851B6F5A4959}" dt="2024-03-04T17:39:49.331" v="3609" actId="1076"/>
          <ac:spMkLst>
            <pc:docMk/>
            <pc:sldMk cId="44390897" sldId="295"/>
            <ac:spMk id="27" creationId="{63C91637-D22E-0A4A-E770-0293485B174B}"/>
          </ac:spMkLst>
        </pc:spChg>
        <pc:spChg chg="add mod">
          <ac:chgData name="CLAUDIA ELIZABETH ROESSING ROCHA" userId="98c9b574-0003-4444-8361-b3d2c09fda2f" providerId="ADAL" clId="{D2BC25FC-0C39-45AB-8B74-851B6F5A4959}" dt="2024-03-04T17:39:03.316" v="3598" actId="1076"/>
          <ac:spMkLst>
            <pc:docMk/>
            <pc:sldMk cId="44390897" sldId="295"/>
            <ac:spMk id="28" creationId="{4BB2AE1B-3390-8846-BB40-DBEBDC704372}"/>
          </ac:spMkLst>
        </pc:spChg>
        <pc:spChg chg="add mod">
          <ac:chgData name="CLAUDIA ELIZABETH ROESSING ROCHA" userId="98c9b574-0003-4444-8361-b3d2c09fda2f" providerId="ADAL" clId="{D2BC25FC-0C39-45AB-8B74-851B6F5A4959}" dt="2024-03-04T17:39:00.532" v="3597" actId="1076"/>
          <ac:spMkLst>
            <pc:docMk/>
            <pc:sldMk cId="44390897" sldId="295"/>
            <ac:spMk id="29" creationId="{24D0CB6F-E1CD-032F-54BE-675C91B33E8B}"/>
          </ac:spMkLst>
        </pc:spChg>
        <pc:spChg chg="add mod">
          <ac:chgData name="CLAUDIA ELIZABETH ROESSING ROCHA" userId="98c9b574-0003-4444-8361-b3d2c09fda2f" providerId="ADAL" clId="{D2BC25FC-0C39-45AB-8B74-851B6F5A4959}" dt="2024-03-04T17:39:09.799" v="3600" actId="1076"/>
          <ac:spMkLst>
            <pc:docMk/>
            <pc:sldMk cId="44390897" sldId="295"/>
            <ac:spMk id="30" creationId="{CA2D1912-06AD-083F-5B27-695536847A56}"/>
          </ac:spMkLst>
        </pc:spChg>
        <pc:spChg chg="add mod">
          <ac:chgData name="CLAUDIA ELIZABETH ROESSING ROCHA" userId="98c9b574-0003-4444-8361-b3d2c09fda2f" providerId="ADAL" clId="{D2BC25FC-0C39-45AB-8B74-851B6F5A4959}" dt="2024-03-04T17:39:12.442" v="3601" actId="1076"/>
          <ac:spMkLst>
            <pc:docMk/>
            <pc:sldMk cId="44390897" sldId="295"/>
            <ac:spMk id="31" creationId="{76E482FB-F7CE-6DFD-E45E-25AAEC4B4C38}"/>
          </ac:spMkLst>
        </pc:spChg>
        <pc:spChg chg="add mod">
          <ac:chgData name="CLAUDIA ELIZABETH ROESSING ROCHA" userId="98c9b574-0003-4444-8361-b3d2c09fda2f" providerId="ADAL" clId="{D2BC25FC-0C39-45AB-8B74-851B6F5A4959}" dt="2024-03-04T17:38:25.263" v="3590"/>
          <ac:spMkLst>
            <pc:docMk/>
            <pc:sldMk cId="44390897" sldId="295"/>
            <ac:spMk id="32" creationId="{159A527A-7C51-19D4-BF2D-D9F23589305F}"/>
          </ac:spMkLst>
        </pc:spChg>
        <pc:spChg chg="add mod">
          <ac:chgData name="CLAUDIA ELIZABETH ROESSING ROCHA" userId="98c9b574-0003-4444-8361-b3d2c09fda2f" providerId="ADAL" clId="{D2BC25FC-0C39-45AB-8B74-851B6F5A4959}" dt="2024-03-04T17:38:25.263" v="3590"/>
          <ac:spMkLst>
            <pc:docMk/>
            <pc:sldMk cId="44390897" sldId="295"/>
            <ac:spMk id="33" creationId="{95F25318-BC49-54DC-033F-56CD7C467B2A}"/>
          </ac:spMkLst>
        </pc:spChg>
        <pc:spChg chg="add mod">
          <ac:chgData name="CLAUDIA ELIZABETH ROESSING ROCHA" userId="98c9b574-0003-4444-8361-b3d2c09fda2f" providerId="ADAL" clId="{D2BC25FC-0C39-45AB-8B74-851B6F5A4959}" dt="2024-03-04T17:38:25.263" v="3590"/>
          <ac:spMkLst>
            <pc:docMk/>
            <pc:sldMk cId="44390897" sldId="295"/>
            <ac:spMk id="34" creationId="{C1B5078B-4997-F54E-390C-D096A8C8522D}"/>
          </ac:spMkLst>
        </pc:spChg>
        <pc:spChg chg="add mod">
          <ac:chgData name="CLAUDIA ELIZABETH ROESSING ROCHA" userId="98c9b574-0003-4444-8361-b3d2c09fda2f" providerId="ADAL" clId="{D2BC25FC-0C39-45AB-8B74-851B6F5A4959}" dt="2024-03-04T17:38:25.263" v="3590"/>
          <ac:spMkLst>
            <pc:docMk/>
            <pc:sldMk cId="44390897" sldId="295"/>
            <ac:spMk id="35" creationId="{71000A36-ABD7-FF4F-0067-92519B15EE39}"/>
          </ac:spMkLst>
        </pc:spChg>
        <pc:spChg chg="add mod">
          <ac:chgData name="CLAUDIA ELIZABETH ROESSING ROCHA" userId="98c9b574-0003-4444-8361-b3d2c09fda2f" providerId="ADAL" clId="{D2BC25FC-0C39-45AB-8B74-851B6F5A4959}" dt="2024-03-04T17:38:25.263" v="3590"/>
          <ac:spMkLst>
            <pc:docMk/>
            <pc:sldMk cId="44390897" sldId="295"/>
            <ac:spMk id="36" creationId="{E7B91FD1-C59F-59DB-7DD3-670BD1945530}"/>
          </ac:spMkLst>
        </pc:spChg>
        <pc:spChg chg="add mod">
          <ac:chgData name="CLAUDIA ELIZABETH ROESSING ROCHA" userId="98c9b574-0003-4444-8361-b3d2c09fda2f" providerId="ADAL" clId="{D2BC25FC-0C39-45AB-8B74-851B6F5A4959}" dt="2024-03-04T17:38:25.263" v="3590"/>
          <ac:spMkLst>
            <pc:docMk/>
            <pc:sldMk cId="44390897" sldId="295"/>
            <ac:spMk id="37" creationId="{D08D867E-1232-B69C-3230-BF43FB9E94F9}"/>
          </ac:spMkLst>
        </pc:spChg>
        <pc:spChg chg="add mod">
          <ac:chgData name="CLAUDIA ELIZABETH ROESSING ROCHA" userId="98c9b574-0003-4444-8361-b3d2c09fda2f" providerId="ADAL" clId="{D2BC25FC-0C39-45AB-8B74-851B6F5A4959}" dt="2024-03-04T17:38:25.263" v="3590"/>
          <ac:spMkLst>
            <pc:docMk/>
            <pc:sldMk cId="44390897" sldId="295"/>
            <ac:spMk id="38" creationId="{F7B72D24-9CB6-BBAA-C59A-FB8961EC7FDC}"/>
          </ac:spMkLst>
        </pc:spChg>
        <pc:spChg chg="add mod">
          <ac:chgData name="CLAUDIA ELIZABETH ROESSING ROCHA" userId="98c9b574-0003-4444-8361-b3d2c09fda2f" providerId="ADAL" clId="{D2BC25FC-0C39-45AB-8B74-851B6F5A4959}" dt="2024-03-04T17:38:25.263" v="3590"/>
          <ac:spMkLst>
            <pc:docMk/>
            <pc:sldMk cId="44390897" sldId="295"/>
            <ac:spMk id="39" creationId="{8BF2A241-9EFD-3B60-C257-C490FB61A1A9}"/>
          </ac:spMkLst>
        </pc:spChg>
        <pc:spChg chg="add mod">
          <ac:chgData name="CLAUDIA ELIZABETH ROESSING ROCHA" userId="98c9b574-0003-4444-8361-b3d2c09fda2f" providerId="ADAL" clId="{D2BC25FC-0C39-45AB-8B74-851B6F5A4959}" dt="2024-03-04T17:38:38.640" v="3592" actId="1076"/>
          <ac:spMkLst>
            <pc:docMk/>
            <pc:sldMk cId="44390897" sldId="295"/>
            <ac:spMk id="40" creationId="{EF901427-0EDB-B0CE-90F0-3037172B73F0}"/>
          </ac:spMkLst>
        </pc:spChg>
        <pc:graphicFrameChg chg="mod modGraphic">
          <ac:chgData name="CLAUDIA ELIZABETH ROESSING ROCHA" userId="98c9b574-0003-4444-8361-b3d2c09fda2f" providerId="ADAL" clId="{D2BC25FC-0C39-45AB-8B74-851B6F5A4959}" dt="2024-03-04T17:38:50.245" v="3593" actId="1076"/>
          <ac:graphicFrameMkLst>
            <pc:docMk/>
            <pc:sldMk cId="44390897" sldId="295"/>
            <ac:graphicFrameMk id="8" creationId="{DE3DCACD-F17C-A787-C6CA-F721C7B2A050}"/>
          </ac:graphicFrameMkLst>
        </pc:graphicFrameChg>
      </pc:sldChg>
      <pc:sldChg chg="addSp delSp modSp add del mod ord">
        <pc:chgData name="CLAUDIA ELIZABETH ROESSING ROCHA" userId="98c9b574-0003-4444-8361-b3d2c09fda2f" providerId="ADAL" clId="{D2BC25FC-0C39-45AB-8B74-851B6F5A4959}" dt="2024-03-05T00:15:35.318" v="3782" actId="47"/>
        <pc:sldMkLst>
          <pc:docMk/>
          <pc:sldMk cId="1976720577" sldId="296"/>
        </pc:sldMkLst>
        <pc:spChg chg="mod">
          <ac:chgData name="CLAUDIA ELIZABETH ROESSING ROCHA" userId="98c9b574-0003-4444-8361-b3d2c09fda2f" providerId="ADAL" clId="{D2BC25FC-0C39-45AB-8B74-851B6F5A4959}" dt="2024-02-27T15:05:41.891" v="969"/>
          <ac:spMkLst>
            <pc:docMk/>
            <pc:sldMk cId="1976720577" sldId="296"/>
            <ac:spMk id="2" creationId="{A58A92CC-684A-6B26-FEBF-E814E194DE3B}"/>
          </ac:spMkLst>
        </pc:spChg>
        <pc:spChg chg="add mod">
          <ac:chgData name="CLAUDIA ELIZABETH ROESSING ROCHA" userId="98c9b574-0003-4444-8361-b3d2c09fda2f" providerId="ADAL" clId="{D2BC25FC-0C39-45AB-8B74-851B6F5A4959}" dt="2024-02-27T15:33:38.032" v="1446" actId="1076"/>
          <ac:spMkLst>
            <pc:docMk/>
            <pc:sldMk cId="1976720577" sldId="296"/>
            <ac:spMk id="3" creationId="{8A13D2DC-6156-035E-C915-D2754E976AD2}"/>
          </ac:spMkLst>
        </pc:spChg>
        <pc:spChg chg="add mod">
          <ac:chgData name="CLAUDIA ELIZABETH ROESSING ROCHA" userId="98c9b574-0003-4444-8361-b3d2c09fda2f" providerId="ADAL" clId="{D2BC25FC-0C39-45AB-8B74-851B6F5A4959}" dt="2024-02-27T15:34:21.236" v="1456" actId="1076"/>
          <ac:spMkLst>
            <pc:docMk/>
            <pc:sldMk cId="1976720577" sldId="296"/>
            <ac:spMk id="4" creationId="{321EDF95-A397-411D-4B1C-353FE2604A0C}"/>
          </ac:spMkLst>
        </pc:spChg>
        <pc:spChg chg="add mod">
          <ac:chgData name="CLAUDIA ELIZABETH ROESSING ROCHA" userId="98c9b574-0003-4444-8361-b3d2c09fda2f" providerId="ADAL" clId="{D2BC25FC-0C39-45AB-8B74-851B6F5A4959}" dt="2024-02-27T15:34:27.977" v="1458" actId="1076"/>
          <ac:spMkLst>
            <pc:docMk/>
            <pc:sldMk cId="1976720577" sldId="296"/>
            <ac:spMk id="5" creationId="{BACFE7B9-368B-2616-7762-A9FB9D67198F}"/>
          </ac:spMkLst>
        </pc:spChg>
        <pc:spChg chg="add mod">
          <ac:chgData name="CLAUDIA ELIZABETH ROESSING ROCHA" userId="98c9b574-0003-4444-8361-b3d2c09fda2f" providerId="ADAL" clId="{D2BC25FC-0C39-45AB-8B74-851B6F5A4959}" dt="2024-02-27T15:34:40.729" v="1460" actId="1076"/>
          <ac:spMkLst>
            <pc:docMk/>
            <pc:sldMk cId="1976720577" sldId="296"/>
            <ac:spMk id="6" creationId="{3E6F362D-D25E-812E-47E0-1ACE0ECB8114}"/>
          </ac:spMkLst>
        </pc:spChg>
        <pc:spChg chg="mod">
          <ac:chgData name="CLAUDIA ELIZABETH ROESSING ROCHA" userId="98c9b574-0003-4444-8361-b3d2c09fda2f" providerId="ADAL" clId="{D2BC25FC-0C39-45AB-8B74-851B6F5A4959}" dt="2024-02-27T15:05:50.236" v="970" actId="1076"/>
          <ac:spMkLst>
            <pc:docMk/>
            <pc:sldMk cId="1976720577" sldId="296"/>
            <ac:spMk id="21" creationId="{72F33D97-AD00-C018-ADFF-6D115B05153D}"/>
          </ac:spMkLst>
        </pc:spChg>
        <pc:spChg chg="mod">
          <ac:chgData name="CLAUDIA ELIZABETH ROESSING ROCHA" userId="98c9b574-0003-4444-8361-b3d2c09fda2f" providerId="ADAL" clId="{D2BC25FC-0C39-45AB-8B74-851B6F5A4959}" dt="2024-02-27T15:33:20.335" v="1443" actId="1076"/>
          <ac:spMkLst>
            <pc:docMk/>
            <pc:sldMk cId="1976720577" sldId="296"/>
            <ac:spMk id="22" creationId="{48EF7636-C17F-3DC1-B18A-EC01604F1261}"/>
          </ac:spMkLst>
        </pc:spChg>
        <pc:spChg chg="del">
          <ac:chgData name="CLAUDIA ELIZABETH ROESSING ROCHA" userId="98c9b574-0003-4444-8361-b3d2c09fda2f" providerId="ADAL" clId="{D2BC25FC-0C39-45AB-8B74-851B6F5A4959}" dt="2024-02-27T15:33:31.737" v="1444" actId="478"/>
          <ac:spMkLst>
            <pc:docMk/>
            <pc:sldMk cId="1976720577" sldId="296"/>
            <ac:spMk id="23" creationId="{777FFE91-2FBA-C968-ECD4-0EB53647FB9F}"/>
          </ac:spMkLst>
        </pc:spChg>
        <pc:spChg chg="del">
          <ac:chgData name="CLAUDIA ELIZABETH ROESSING ROCHA" userId="98c9b574-0003-4444-8361-b3d2c09fda2f" providerId="ADAL" clId="{D2BC25FC-0C39-45AB-8B74-851B6F5A4959}" dt="2024-02-27T15:33:41.533" v="1447" actId="478"/>
          <ac:spMkLst>
            <pc:docMk/>
            <pc:sldMk cId="1976720577" sldId="296"/>
            <ac:spMk id="24" creationId="{BCF81EBD-EFCF-96C8-EB92-D66A67B97422}"/>
          </ac:spMkLst>
        </pc:spChg>
        <pc:spChg chg="del">
          <ac:chgData name="CLAUDIA ELIZABETH ROESSING ROCHA" userId="98c9b574-0003-4444-8361-b3d2c09fda2f" providerId="ADAL" clId="{D2BC25FC-0C39-45AB-8B74-851B6F5A4959}" dt="2024-02-27T15:33:42.991" v="1448" actId="478"/>
          <ac:spMkLst>
            <pc:docMk/>
            <pc:sldMk cId="1976720577" sldId="296"/>
            <ac:spMk id="25" creationId="{F414DE89-A9F7-BE4E-4D41-26EB62E2F5FA}"/>
          </ac:spMkLst>
        </pc:spChg>
        <pc:spChg chg="del">
          <ac:chgData name="CLAUDIA ELIZABETH ROESSING ROCHA" userId="98c9b574-0003-4444-8361-b3d2c09fda2f" providerId="ADAL" clId="{D2BC25FC-0C39-45AB-8B74-851B6F5A4959}" dt="2024-02-27T15:33:43.690" v="1449" actId="478"/>
          <ac:spMkLst>
            <pc:docMk/>
            <pc:sldMk cId="1976720577" sldId="296"/>
            <ac:spMk id="26" creationId="{218C5CB9-6AC0-9FE6-3BED-04CB08C5EE64}"/>
          </ac:spMkLst>
        </pc:spChg>
        <pc:graphicFrameChg chg="mod modGraphic">
          <ac:chgData name="CLAUDIA ELIZABETH ROESSING ROCHA" userId="98c9b574-0003-4444-8361-b3d2c09fda2f" providerId="ADAL" clId="{D2BC25FC-0C39-45AB-8B74-851B6F5A4959}" dt="2024-03-04T16:24:12.125" v="3173" actId="207"/>
          <ac:graphicFrameMkLst>
            <pc:docMk/>
            <pc:sldMk cId="1976720577" sldId="296"/>
            <ac:graphicFrameMk id="8" creationId="{DE3DCACD-F17C-A787-C6CA-F721C7B2A050}"/>
          </ac:graphicFrameMkLst>
        </pc:graphicFrameChg>
      </pc:sldChg>
      <pc:sldChg chg="addSp delSp modSp add mod ord">
        <pc:chgData name="CLAUDIA ELIZABETH ROESSING ROCHA" userId="98c9b574-0003-4444-8361-b3d2c09fda2f" providerId="ADAL" clId="{D2BC25FC-0C39-45AB-8B74-851B6F5A4959}" dt="2024-03-05T11:54:57.247" v="3796" actId="20577"/>
        <pc:sldMkLst>
          <pc:docMk/>
          <pc:sldMk cId="3974036983" sldId="297"/>
        </pc:sldMkLst>
        <pc:spChg chg="mod">
          <ac:chgData name="CLAUDIA ELIZABETH ROESSING ROCHA" userId="98c9b574-0003-4444-8361-b3d2c09fda2f" providerId="ADAL" clId="{D2BC25FC-0C39-45AB-8B74-851B6F5A4959}" dt="2024-02-27T15:07:18.413" v="980"/>
          <ac:spMkLst>
            <pc:docMk/>
            <pc:sldMk cId="3974036983" sldId="297"/>
            <ac:spMk id="2" creationId="{A58A92CC-684A-6B26-FEBF-E814E194DE3B}"/>
          </ac:spMkLst>
        </pc:spChg>
        <pc:spChg chg="add del mod">
          <ac:chgData name="CLAUDIA ELIZABETH ROESSING ROCHA" userId="98c9b574-0003-4444-8361-b3d2c09fda2f" providerId="ADAL" clId="{D2BC25FC-0C39-45AB-8B74-851B6F5A4959}" dt="2024-03-04T17:42:12.407" v="3622" actId="478"/>
          <ac:spMkLst>
            <pc:docMk/>
            <pc:sldMk cId="3974036983" sldId="297"/>
            <ac:spMk id="3" creationId="{881F0EDA-9D02-865C-A520-2B5E89C5F90F}"/>
          </ac:spMkLst>
        </pc:spChg>
        <pc:spChg chg="add del mod">
          <ac:chgData name="CLAUDIA ELIZABETH ROESSING ROCHA" userId="98c9b574-0003-4444-8361-b3d2c09fda2f" providerId="ADAL" clId="{D2BC25FC-0C39-45AB-8B74-851B6F5A4959}" dt="2024-03-04T17:42:13.203" v="3623" actId="478"/>
          <ac:spMkLst>
            <pc:docMk/>
            <pc:sldMk cId="3974036983" sldId="297"/>
            <ac:spMk id="4" creationId="{6206518F-F0F0-1FB4-7317-1E4C7EDD6CCB}"/>
          </ac:spMkLst>
        </pc:spChg>
        <pc:spChg chg="add del mod">
          <ac:chgData name="CLAUDIA ELIZABETH ROESSING ROCHA" userId="98c9b574-0003-4444-8361-b3d2c09fda2f" providerId="ADAL" clId="{D2BC25FC-0C39-45AB-8B74-851B6F5A4959}" dt="2024-03-04T17:42:13.754" v="3624" actId="478"/>
          <ac:spMkLst>
            <pc:docMk/>
            <pc:sldMk cId="3974036983" sldId="297"/>
            <ac:spMk id="5" creationId="{95DAF299-A78B-E776-D1F4-2F78ED8A4B13}"/>
          </ac:spMkLst>
        </pc:spChg>
        <pc:spChg chg="add del mod">
          <ac:chgData name="CLAUDIA ELIZABETH ROESSING ROCHA" userId="98c9b574-0003-4444-8361-b3d2c09fda2f" providerId="ADAL" clId="{D2BC25FC-0C39-45AB-8B74-851B6F5A4959}" dt="2024-03-04T17:42:14.982" v="3625" actId="478"/>
          <ac:spMkLst>
            <pc:docMk/>
            <pc:sldMk cId="3974036983" sldId="297"/>
            <ac:spMk id="6" creationId="{6B75ECFA-C941-73A7-9353-9858C35AB534}"/>
          </ac:spMkLst>
        </pc:spChg>
        <pc:spChg chg="add mod">
          <ac:chgData name="CLAUDIA ELIZABETH ROESSING ROCHA" userId="98c9b574-0003-4444-8361-b3d2c09fda2f" providerId="ADAL" clId="{D2BC25FC-0C39-45AB-8B74-851B6F5A4959}" dt="2024-03-04T18:12:05.215" v="3773" actId="1076"/>
          <ac:spMkLst>
            <pc:docMk/>
            <pc:sldMk cId="3974036983" sldId="297"/>
            <ac:spMk id="7" creationId="{26938884-9ABE-6A7F-5B63-164BE1505747}"/>
          </ac:spMkLst>
        </pc:spChg>
        <pc:spChg chg="add mod">
          <ac:chgData name="CLAUDIA ELIZABETH ROESSING ROCHA" userId="98c9b574-0003-4444-8361-b3d2c09fda2f" providerId="ADAL" clId="{D2BC25FC-0C39-45AB-8B74-851B6F5A4959}" dt="2024-03-04T18:12:20.645" v="3775" actId="1076"/>
          <ac:spMkLst>
            <pc:docMk/>
            <pc:sldMk cId="3974036983" sldId="297"/>
            <ac:spMk id="9" creationId="{59BAB78C-C559-CAB3-D369-669C89256367}"/>
          </ac:spMkLst>
        </pc:spChg>
        <pc:spChg chg="add mod">
          <ac:chgData name="CLAUDIA ELIZABETH ROESSING ROCHA" userId="98c9b574-0003-4444-8361-b3d2c09fda2f" providerId="ADAL" clId="{D2BC25FC-0C39-45AB-8B74-851B6F5A4959}" dt="2024-03-04T18:12:47.768" v="3776"/>
          <ac:spMkLst>
            <pc:docMk/>
            <pc:sldMk cId="3974036983" sldId="297"/>
            <ac:spMk id="10" creationId="{8C0AF318-E32C-A3B3-0AE0-1BEABA40E64B}"/>
          </ac:spMkLst>
        </pc:spChg>
        <pc:spChg chg="del">
          <ac:chgData name="CLAUDIA ELIZABETH ROESSING ROCHA" userId="98c9b574-0003-4444-8361-b3d2c09fda2f" providerId="ADAL" clId="{D2BC25FC-0C39-45AB-8B74-851B6F5A4959}" dt="2024-02-27T15:44:47.697" v="1503" actId="478"/>
          <ac:spMkLst>
            <pc:docMk/>
            <pc:sldMk cId="3974036983" sldId="297"/>
            <ac:spMk id="11" creationId="{0AAC87CD-6656-D849-2510-332944319FCC}"/>
          </ac:spMkLst>
        </pc:spChg>
        <pc:spChg chg="add mod">
          <ac:chgData name="CLAUDIA ELIZABETH ROESSING ROCHA" userId="98c9b574-0003-4444-8361-b3d2c09fda2f" providerId="ADAL" clId="{D2BC25FC-0C39-45AB-8B74-851B6F5A4959}" dt="2024-03-04T18:12:47.768" v="3776"/>
          <ac:spMkLst>
            <pc:docMk/>
            <pc:sldMk cId="3974036983" sldId="297"/>
            <ac:spMk id="11" creationId="{DA866BF5-8C3B-B59F-6A10-D747239FB3B0}"/>
          </ac:spMkLst>
        </pc:spChg>
        <pc:spChg chg="add mod">
          <ac:chgData name="CLAUDIA ELIZABETH ROESSING ROCHA" userId="98c9b574-0003-4444-8361-b3d2c09fda2f" providerId="ADAL" clId="{D2BC25FC-0C39-45AB-8B74-851B6F5A4959}" dt="2024-03-04T18:12:47.768" v="3776"/>
          <ac:spMkLst>
            <pc:docMk/>
            <pc:sldMk cId="3974036983" sldId="297"/>
            <ac:spMk id="12" creationId="{95EA531E-A49C-BD3C-FAD6-70D623D2FC1C}"/>
          </ac:spMkLst>
        </pc:spChg>
        <pc:spChg chg="add mod">
          <ac:chgData name="CLAUDIA ELIZABETH ROESSING ROCHA" userId="98c9b574-0003-4444-8361-b3d2c09fda2f" providerId="ADAL" clId="{D2BC25FC-0C39-45AB-8B74-851B6F5A4959}" dt="2024-03-04T18:12:47.768" v="3776"/>
          <ac:spMkLst>
            <pc:docMk/>
            <pc:sldMk cId="3974036983" sldId="297"/>
            <ac:spMk id="13" creationId="{4068ACF9-69EC-4981-8004-E1725E661030}"/>
          </ac:spMkLst>
        </pc:spChg>
        <pc:spChg chg="del">
          <ac:chgData name="CLAUDIA ELIZABETH ROESSING ROCHA" userId="98c9b574-0003-4444-8361-b3d2c09fda2f" providerId="ADAL" clId="{D2BC25FC-0C39-45AB-8B74-851B6F5A4959}" dt="2024-02-27T15:46:08.956" v="1522" actId="478"/>
          <ac:spMkLst>
            <pc:docMk/>
            <pc:sldMk cId="3974036983" sldId="297"/>
            <ac:spMk id="13" creationId="{7210D948-7184-3B3C-7BF3-1B21C09B7F5C}"/>
          </ac:spMkLst>
        </pc:spChg>
        <pc:spChg chg="add mod">
          <ac:chgData name="CLAUDIA ELIZABETH ROESSING ROCHA" userId="98c9b574-0003-4444-8361-b3d2c09fda2f" providerId="ADAL" clId="{D2BC25FC-0C39-45AB-8B74-851B6F5A4959}" dt="2024-03-04T18:12:47.768" v="3776"/>
          <ac:spMkLst>
            <pc:docMk/>
            <pc:sldMk cId="3974036983" sldId="297"/>
            <ac:spMk id="14" creationId="{2F44B666-B9CD-80AC-72BB-A7955C41144F}"/>
          </ac:spMkLst>
        </pc:spChg>
        <pc:spChg chg="del">
          <ac:chgData name="CLAUDIA ELIZABETH ROESSING ROCHA" userId="98c9b574-0003-4444-8361-b3d2c09fda2f" providerId="ADAL" clId="{D2BC25FC-0C39-45AB-8B74-851B6F5A4959}" dt="2024-02-27T15:46:08.179" v="1521" actId="478"/>
          <ac:spMkLst>
            <pc:docMk/>
            <pc:sldMk cId="3974036983" sldId="297"/>
            <ac:spMk id="14" creationId="{F6E3A0F0-0436-D0A7-410C-0C2422D882D3}"/>
          </ac:spMkLst>
        </pc:spChg>
        <pc:spChg chg="mod">
          <ac:chgData name="CLAUDIA ELIZABETH ROESSING ROCHA" userId="98c9b574-0003-4444-8361-b3d2c09fda2f" providerId="ADAL" clId="{D2BC25FC-0C39-45AB-8B74-851B6F5A4959}" dt="2024-03-04T18:11:37.876" v="3770" actId="1036"/>
          <ac:spMkLst>
            <pc:docMk/>
            <pc:sldMk cId="3974036983" sldId="297"/>
            <ac:spMk id="15" creationId="{ED128679-24B3-379E-DF68-C7622306825A}"/>
          </ac:spMkLst>
        </pc:spChg>
        <pc:spChg chg="del mod">
          <ac:chgData name="CLAUDIA ELIZABETH ROESSING ROCHA" userId="98c9b574-0003-4444-8361-b3d2c09fda2f" providerId="ADAL" clId="{D2BC25FC-0C39-45AB-8B74-851B6F5A4959}" dt="2024-03-04T18:11:43.029" v="3771" actId="478"/>
          <ac:spMkLst>
            <pc:docMk/>
            <pc:sldMk cId="3974036983" sldId="297"/>
            <ac:spMk id="16" creationId="{50BA6E3F-0A16-A472-1071-6854C75142BF}"/>
          </ac:spMkLst>
        </pc:spChg>
        <pc:spChg chg="del">
          <ac:chgData name="CLAUDIA ELIZABETH ROESSING ROCHA" userId="98c9b574-0003-4444-8361-b3d2c09fda2f" providerId="ADAL" clId="{D2BC25FC-0C39-45AB-8B74-851B6F5A4959}" dt="2024-02-27T15:44:49.713" v="1504" actId="478"/>
          <ac:spMkLst>
            <pc:docMk/>
            <pc:sldMk cId="3974036983" sldId="297"/>
            <ac:spMk id="17" creationId="{0D212CBF-0859-942E-3CE2-D7E54E7DAB5A}"/>
          </ac:spMkLst>
        </pc:spChg>
        <pc:spChg chg="add mod">
          <ac:chgData name="CLAUDIA ELIZABETH ROESSING ROCHA" userId="98c9b574-0003-4444-8361-b3d2c09fda2f" providerId="ADAL" clId="{D2BC25FC-0C39-45AB-8B74-851B6F5A4959}" dt="2024-03-04T18:12:47.768" v="3776"/>
          <ac:spMkLst>
            <pc:docMk/>
            <pc:sldMk cId="3974036983" sldId="297"/>
            <ac:spMk id="17" creationId="{B2157681-FA79-66B3-9D64-8617855675F5}"/>
          </ac:spMkLst>
        </pc:spChg>
        <pc:spChg chg="del">
          <ac:chgData name="CLAUDIA ELIZABETH ROESSING ROCHA" userId="98c9b574-0003-4444-8361-b3d2c09fda2f" providerId="ADAL" clId="{D2BC25FC-0C39-45AB-8B74-851B6F5A4959}" dt="2024-02-27T15:44:52.473" v="1505" actId="478"/>
          <ac:spMkLst>
            <pc:docMk/>
            <pc:sldMk cId="3974036983" sldId="297"/>
            <ac:spMk id="18" creationId="{23A6BBEF-6C16-4360-BE8F-44602311858C}"/>
          </ac:spMkLst>
        </pc:spChg>
        <pc:spChg chg="add mod">
          <ac:chgData name="CLAUDIA ELIZABETH ROESSING ROCHA" userId="98c9b574-0003-4444-8361-b3d2c09fda2f" providerId="ADAL" clId="{D2BC25FC-0C39-45AB-8B74-851B6F5A4959}" dt="2024-03-04T18:12:47.768" v="3776"/>
          <ac:spMkLst>
            <pc:docMk/>
            <pc:sldMk cId="3974036983" sldId="297"/>
            <ac:spMk id="18" creationId="{BA1E39E5-E135-4F8A-4302-33E6BB05FA21}"/>
          </ac:spMkLst>
        </pc:spChg>
        <pc:spChg chg="add mod">
          <ac:chgData name="CLAUDIA ELIZABETH ROESSING ROCHA" userId="98c9b574-0003-4444-8361-b3d2c09fda2f" providerId="ADAL" clId="{D2BC25FC-0C39-45AB-8B74-851B6F5A4959}" dt="2024-03-04T18:12:47.768" v="3776"/>
          <ac:spMkLst>
            <pc:docMk/>
            <pc:sldMk cId="3974036983" sldId="297"/>
            <ac:spMk id="19" creationId="{01C9D3A4-C610-A27B-DB14-CBEBBFBB2D7A}"/>
          </ac:spMkLst>
        </pc:spChg>
        <pc:spChg chg="del">
          <ac:chgData name="CLAUDIA ELIZABETH ROESSING ROCHA" userId="98c9b574-0003-4444-8361-b3d2c09fda2f" providerId="ADAL" clId="{D2BC25FC-0C39-45AB-8B74-851B6F5A4959}" dt="2024-02-27T15:44:57.276" v="1507" actId="478"/>
          <ac:spMkLst>
            <pc:docMk/>
            <pc:sldMk cId="3974036983" sldId="297"/>
            <ac:spMk id="19" creationId="{93613A76-F908-48F1-EFD1-914E21380D5F}"/>
          </ac:spMkLst>
        </pc:spChg>
        <pc:spChg chg="add mod">
          <ac:chgData name="CLAUDIA ELIZABETH ROESSING ROCHA" userId="98c9b574-0003-4444-8361-b3d2c09fda2f" providerId="ADAL" clId="{D2BC25FC-0C39-45AB-8B74-851B6F5A4959}" dt="2024-03-04T18:13:00.052" v="3777"/>
          <ac:spMkLst>
            <pc:docMk/>
            <pc:sldMk cId="3974036983" sldId="297"/>
            <ac:spMk id="20" creationId="{000BF27A-48DF-4975-3C0C-2124EFCF590E}"/>
          </ac:spMkLst>
        </pc:spChg>
        <pc:spChg chg="del">
          <ac:chgData name="CLAUDIA ELIZABETH ROESSING ROCHA" userId="98c9b574-0003-4444-8361-b3d2c09fda2f" providerId="ADAL" clId="{D2BC25FC-0C39-45AB-8B74-851B6F5A4959}" dt="2024-02-27T15:44:55.148" v="1506" actId="478"/>
          <ac:spMkLst>
            <pc:docMk/>
            <pc:sldMk cId="3974036983" sldId="297"/>
            <ac:spMk id="20" creationId="{FFF166BA-0BDB-FB01-4BB2-37E4FAA909BD}"/>
          </ac:spMkLst>
        </pc:spChg>
        <pc:spChg chg="mod">
          <ac:chgData name="CLAUDIA ELIZABETH ROESSING ROCHA" userId="98c9b574-0003-4444-8361-b3d2c09fda2f" providerId="ADAL" clId="{D2BC25FC-0C39-45AB-8B74-851B6F5A4959}" dt="2024-03-05T11:54:57.247" v="3796" actId="20577"/>
          <ac:spMkLst>
            <pc:docMk/>
            <pc:sldMk cId="3974036983" sldId="297"/>
            <ac:spMk id="21" creationId="{72F33D97-AD00-C018-ADFF-6D115B05153D}"/>
          </ac:spMkLst>
        </pc:spChg>
        <pc:spChg chg="del">
          <ac:chgData name="CLAUDIA ELIZABETH ROESSING ROCHA" userId="98c9b574-0003-4444-8361-b3d2c09fda2f" providerId="ADAL" clId="{D2BC25FC-0C39-45AB-8B74-851B6F5A4959}" dt="2024-02-27T15:41:08.435" v="1477" actId="478"/>
          <ac:spMkLst>
            <pc:docMk/>
            <pc:sldMk cId="3974036983" sldId="297"/>
            <ac:spMk id="22" creationId="{48EF7636-C17F-3DC1-B18A-EC01604F1261}"/>
          </ac:spMkLst>
        </pc:spChg>
        <pc:spChg chg="del">
          <ac:chgData name="CLAUDIA ELIZABETH ROESSING ROCHA" userId="98c9b574-0003-4444-8361-b3d2c09fda2f" providerId="ADAL" clId="{D2BC25FC-0C39-45AB-8B74-851B6F5A4959}" dt="2024-02-27T15:41:07.776" v="1476" actId="478"/>
          <ac:spMkLst>
            <pc:docMk/>
            <pc:sldMk cId="3974036983" sldId="297"/>
            <ac:spMk id="23" creationId="{777FFE91-2FBA-C968-ECD4-0EB53647FB9F}"/>
          </ac:spMkLst>
        </pc:spChg>
        <pc:spChg chg="del">
          <ac:chgData name="CLAUDIA ELIZABETH ROESSING ROCHA" userId="98c9b574-0003-4444-8361-b3d2c09fda2f" providerId="ADAL" clId="{D2BC25FC-0C39-45AB-8B74-851B6F5A4959}" dt="2024-02-27T15:41:07.131" v="1475" actId="478"/>
          <ac:spMkLst>
            <pc:docMk/>
            <pc:sldMk cId="3974036983" sldId="297"/>
            <ac:spMk id="24" creationId="{BCF81EBD-EFCF-96C8-EB92-D66A67B97422}"/>
          </ac:spMkLst>
        </pc:spChg>
        <pc:spChg chg="del">
          <ac:chgData name="CLAUDIA ELIZABETH ROESSING ROCHA" userId="98c9b574-0003-4444-8361-b3d2c09fda2f" providerId="ADAL" clId="{D2BC25FC-0C39-45AB-8B74-851B6F5A4959}" dt="2024-02-27T15:41:06.497" v="1474" actId="478"/>
          <ac:spMkLst>
            <pc:docMk/>
            <pc:sldMk cId="3974036983" sldId="297"/>
            <ac:spMk id="25" creationId="{F414DE89-A9F7-BE4E-4D41-26EB62E2F5FA}"/>
          </ac:spMkLst>
        </pc:spChg>
        <pc:spChg chg="del">
          <ac:chgData name="CLAUDIA ELIZABETH ROESSING ROCHA" userId="98c9b574-0003-4444-8361-b3d2c09fda2f" providerId="ADAL" clId="{D2BC25FC-0C39-45AB-8B74-851B6F5A4959}" dt="2024-02-27T15:41:05.817" v="1473" actId="478"/>
          <ac:spMkLst>
            <pc:docMk/>
            <pc:sldMk cId="3974036983" sldId="297"/>
            <ac:spMk id="26" creationId="{218C5CB9-6AC0-9FE6-3BED-04CB08C5EE64}"/>
          </ac:spMkLst>
        </pc:spChg>
        <pc:graphicFrameChg chg="mod modGraphic">
          <ac:chgData name="CLAUDIA ELIZABETH ROESSING ROCHA" userId="98c9b574-0003-4444-8361-b3d2c09fda2f" providerId="ADAL" clId="{D2BC25FC-0C39-45AB-8B74-851B6F5A4959}" dt="2024-03-04T17:44:04.551" v="3640" actId="14734"/>
          <ac:graphicFrameMkLst>
            <pc:docMk/>
            <pc:sldMk cId="3974036983" sldId="297"/>
            <ac:graphicFrameMk id="8" creationId="{DE3DCACD-F17C-A787-C6CA-F721C7B2A050}"/>
          </ac:graphicFrameMkLst>
        </pc:graphicFrameChg>
      </pc:sldChg>
      <pc:sldChg chg="addSp delSp modSp add mod ord">
        <pc:chgData name="CLAUDIA ELIZABETH ROESSING ROCHA" userId="98c9b574-0003-4444-8361-b3d2c09fda2f" providerId="ADAL" clId="{D2BC25FC-0C39-45AB-8B74-851B6F5A4959}" dt="2024-03-04T18:04:00.154" v="3751"/>
        <pc:sldMkLst>
          <pc:docMk/>
          <pc:sldMk cId="1527148310" sldId="298"/>
        </pc:sldMkLst>
        <pc:spChg chg="mod">
          <ac:chgData name="CLAUDIA ELIZABETH ROESSING ROCHA" userId="98c9b574-0003-4444-8361-b3d2c09fda2f" providerId="ADAL" clId="{D2BC25FC-0C39-45AB-8B74-851B6F5A4959}" dt="2024-02-27T15:10:34.751" v="986"/>
          <ac:spMkLst>
            <pc:docMk/>
            <pc:sldMk cId="1527148310" sldId="298"/>
            <ac:spMk id="2" creationId="{A58A92CC-684A-6B26-FEBF-E814E194DE3B}"/>
          </ac:spMkLst>
        </pc:spChg>
        <pc:spChg chg="add del mod">
          <ac:chgData name="CLAUDIA ELIZABETH ROESSING ROCHA" userId="98c9b574-0003-4444-8361-b3d2c09fda2f" providerId="ADAL" clId="{D2BC25FC-0C39-45AB-8B74-851B6F5A4959}" dt="2024-03-04T18:02:27.900" v="3740" actId="478"/>
          <ac:spMkLst>
            <pc:docMk/>
            <pc:sldMk cId="1527148310" sldId="298"/>
            <ac:spMk id="3" creationId="{24E9CBDD-D457-893B-FC48-76D7235DA5EC}"/>
          </ac:spMkLst>
        </pc:spChg>
        <pc:spChg chg="add del mod">
          <ac:chgData name="CLAUDIA ELIZABETH ROESSING ROCHA" userId="98c9b574-0003-4444-8361-b3d2c09fda2f" providerId="ADAL" clId="{D2BC25FC-0C39-45AB-8B74-851B6F5A4959}" dt="2024-03-04T18:02:29.718" v="3742" actId="478"/>
          <ac:spMkLst>
            <pc:docMk/>
            <pc:sldMk cId="1527148310" sldId="298"/>
            <ac:spMk id="4" creationId="{4A70A494-8CCA-EA97-CFB2-26A5316884B4}"/>
          </ac:spMkLst>
        </pc:spChg>
        <pc:spChg chg="add del mod">
          <ac:chgData name="CLAUDIA ELIZABETH ROESSING ROCHA" userId="98c9b574-0003-4444-8361-b3d2c09fda2f" providerId="ADAL" clId="{D2BC25FC-0C39-45AB-8B74-851B6F5A4959}" dt="2024-03-04T18:02:30.346" v="3743" actId="478"/>
          <ac:spMkLst>
            <pc:docMk/>
            <pc:sldMk cId="1527148310" sldId="298"/>
            <ac:spMk id="5" creationId="{4B92C3BE-5A2B-A082-1A86-55A3C25B0C66}"/>
          </ac:spMkLst>
        </pc:spChg>
        <pc:spChg chg="del">
          <ac:chgData name="CLAUDIA ELIZABETH ROESSING ROCHA" userId="98c9b574-0003-4444-8361-b3d2c09fda2f" providerId="ADAL" clId="{D2BC25FC-0C39-45AB-8B74-851B6F5A4959}" dt="2024-02-27T15:56:46.766" v="1628" actId="478"/>
          <ac:spMkLst>
            <pc:docMk/>
            <pc:sldMk cId="1527148310" sldId="298"/>
            <ac:spMk id="11" creationId="{0AAC87CD-6656-D849-2510-332944319FCC}"/>
          </ac:spMkLst>
        </pc:spChg>
        <pc:spChg chg="del">
          <ac:chgData name="CLAUDIA ELIZABETH ROESSING ROCHA" userId="98c9b574-0003-4444-8361-b3d2c09fda2f" providerId="ADAL" clId="{D2BC25FC-0C39-45AB-8B74-851B6F5A4959}" dt="2024-02-27T15:56:47.578" v="1629" actId="478"/>
          <ac:spMkLst>
            <pc:docMk/>
            <pc:sldMk cId="1527148310" sldId="298"/>
            <ac:spMk id="13" creationId="{7210D948-7184-3B3C-7BF3-1B21C09B7F5C}"/>
          </ac:spMkLst>
        </pc:spChg>
        <pc:spChg chg="del">
          <ac:chgData name="CLAUDIA ELIZABETH ROESSING ROCHA" userId="98c9b574-0003-4444-8361-b3d2c09fda2f" providerId="ADAL" clId="{D2BC25FC-0C39-45AB-8B74-851B6F5A4959}" dt="2024-02-27T15:56:50.196" v="1631" actId="478"/>
          <ac:spMkLst>
            <pc:docMk/>
            <pc:sldMk cId="1527148310" sldId="298"/>
            <ac:spMk id="14" creationId="{F6E3A0F0-0436-D0A7-410C-0C2422D882D3}"/>
          </ac:spMkLst>
        </pc:spChg>
        <pc:spChg chg="del">
          <ac:chgData name="CLAUDIA ELIZABETH ROESSING ROCHA" userId="98c9b574-0003-4444-8361-b3d2c09fda2f" providerId="ADAL" clId="{D2BC25FC-0C39-45AB-8B74-851B6F5A4959}" dt="2024-02-27T15:56:52.045" v="1633" actId="478"/>
          <ac:spMkLst>
            <pc:docMk/>
            <pc:sldMk cId="1527148310" sldId="298"/>
            <ac:spMk id="15" creationId="{ED128679-24B3-379E-DF68-C7622306825A}"/>
          </ac:spMkLst>
        </pc:spChg>
        <pc:spChg chg="del mod">
          <ac:chgData name="CLAUDIA ELIZABETH ROESSING ROCHA" userId="98c9b574-0003-4444-8361-b3d2c09fda2f" providerId="ADAL" clId="{D2BC25FC-0C39-45AB-8B74-851B6F5A4959}" dt="2024-03-04T18:02:28.985" v="3741" actId="478"/>
          <ac:spMkLst>
            <pc:docMk/>
            <pc:sldMk cId="1527148310" sldId="298"/>
            <ac:spMk id="16" creationId="{50BA6E3F-0A16-A472-1071-6854C75142BF}"/>
          </ac:spMkLst>
        </pc:spChg>
        <pc:spChg chg="del">
          <ac:chgData name="CLAUDIA ELIZABETH ROESSING ROCHA" userId="98c9b574-0003-4444-8361-b3d2c09fda2f" providerId="ADAL" clId="{D2BC25FC-0C39-45AB-8B74-851B6F5A4959}" dt="2024-02-27T15:56:48.899" v="1630" actId="478"/>
          <ac:spMkLst>
            <pc:docMk/>
            <pc:sldMk cId="1527148310" sldId="298"/>
            <ac:spMk id="17" creationId="{0D212CBF-0859-942E-3CE2-D7E54E7DAB5A}"/>
          </ac:spMkLst>
        </pc:spChg>
        <pc:spChg chg="del">
          <ac:chgData name="CLAUDIA ELIZABETH ROESSING ROCHA" userId="98c9b574-0003-4444-8361-b3d2c09fda2f" providerId="ADAL" clId="{D2BC25FC-0C39-45AB-8B74-851B6F5A4959}" dt="2024-02-27T15:56:51.378" v="1632" actId="478"/>
          <ac:spMkLst>
            <pc:docMk/>
            <pc:sldMk cId="1527148310" sldId="298"/>
            <ac:spMk id="18" creationId="{23A6BBEF-6C16-4360-BE8F-44602311858C}"/>
          </ac:spMkLst>
        </pc:spChg>
        <pc:spChg chg="del">
          <ac:chgData name="CLAUDIA ELIZABETH ROESSING ROCHA" userId="98c9b574-0003-4444-8361-b3d2c09fda2f" providerId="ADAL" clId="{D2BC25FC-0C39-45AB-8B74-851B6F5A4959}" dt="2024-02-27T15:56:56.357" v="1637" actId="478"/>
          <ac:spMkLst>
            <pc:docMk/>
            <pc:sldMk cId="1527148310" sldId="298"/>
            <ac:spMk id="19" creationId="{93613A76-F908-48F1-EFD1-914E21380D5F}"/>
          </ac:spMkLst>
        </pc:spChg>
        <pc:spChg chg="del">
          <ac:chgData name="CLAUDIA ELIZABETH ROESSING ROCHA" userId="98c9b574-0003-4444-8361-b3d2c09fda2f" providerId="ADAL" clId="{D2BC25FC-0C39-45AB-8B74-851B6F5A4959}" dt="2024-02-27T15:56:57.953" v="1638" actId="478"/>
          <ac:spMkLst>
            <pc:docMk/>
            <pc:sldMk cId="1527148310" sldId="298"/>
            <ac:spMk id="20" creationId="{FFF166BA-0BDB-FB01-4BB2-37E4FAA909BD}"/>
          </ac:spMkLst>
        </pc:spChg>
        <pc:spChg chg="mod">
          <ac:chgData name="CLAUDIA ELIZABETH ROESSING ROCHA" userId="98c9b574-0003-4444-8361-b3d2c09fda2f" providerId="ADAL" clId="{D2BC25FC-0C39-45AB-8B74-851B6F5A4959}" dt="2024-03-04T18:02:57.181" v="3747" actId="1076"/>
          <ac:spMkLst>
            <pc:docMk/>
            <pc:sldMk cId="1527148310" sldId="298"/>
            <ac:spMk id="21" creationId="{72F33D97-AD00-C018-ADFF-6D115B05153D}"/>
          </ac:spMkLst>
        </pc:spChg>
        <pc:spChg chg="del mod">
          <ac:chgData name="CLAUDIA ELIZABETH ROESSING ROCHA" userId="98c9b574-0003-4444-8361-b3d2c09fda2f" providerId="ADAL" clId="{D2BC25FC-0C39-45AB-8B74-851B6F5A4959}" dt="2024-02-27T15:56:54.133" v="1636" actId="478"/>
          <ac:spMkLst>
            <pc:docMk/>
            <pc:sldMk cId="1527148310" sldId="298"/>
            <ac:spMk id="22" creationId="{48EF7636-C17F-3DC1-B18A-EC01604F1261}"/>
          </ac:spMkLst>
        </pc:spChg>
        <pc:spChg chg="del">
          <ac:chgData name="CLAUDIA ELIZABETH ROESSING ROCHA" userId="98c9b574-0003-4444-8361-b3d2c09fda2f" providerId="ADAL" clId="{D2BC25FC-0C39-45AB-8B74-851B6F5A4959}" dt="2024-02-27T15:56:53.555" v="1635" actId="478"/>
          <ac:spMkLst>
            <pc:docMk/>
            <pc:sldMk cId="1527148310" sldId="298"/>
            <ac:spMk id="23" creationId="{777FFE91-2FBA-C968-ECD4-0EB53647FB9F}"/>
          </ac:spMkLst>
        </pc:spChg>
        <pc:spChg chg="del">
          <ac:chgData name="CLAUDIA ELIZABETH ROESSING ROCHA" userId="98c9b574-0003-4444-8361-b3d2c09fda2f" providerId="ADAL" clId="{D2BC25FC-0C39-45AB-8B74-851B6F5A4959}" dt="2024-02-27T15:56:52.891" v="1634" actId="478"/>
          <ac:spMkLst>
            <pc:docMk/>
            <pc:sldMk cId="1527148310" sldId="298"/>
            <ac:spMk id="24" creationId="{BCF81EBD-EFCF-96C8-EB92-D66A67B97422}"/>
          </ac:spMkLst>
        </pc:spChg>
        <pc:spChg chg="del">
          <ac:chgData name="CLAUDIA ELIZABETH ROESSING ROCHA" userId="98c9b574-0003-4444-8361-b3d2c09fda2f" providerId="ADAL" clId="{D2BC25FC-0C39-45AB-8B74-851B6F5A4959}" dt="2024-02-27T15:50:37.786" v="1568" actId="478"/>
          <ac:spMkLst>
            <pc:docMk/>
            <pc:sldMk cId="1527148310" sldId="298"/>
            <ac:spMk id="25" creationId="{F414DE89-A9F7-BE4E-4D41-26EB62E2F5FA}"/>
          </ac:spMkLst>
        </pc:spChg>
        <pc:spChg chg="del">
          <ac:chgData name="CLAUDIA ELIZABETH ROESSING ROCHA" userId="98c9b574-0003-4444-8361-b3d2c09fda2f" providerId="ADAL" clId="{D2BC25FC-0C39-45AB-8B74-851B6F5A4959}" dt="2024-02-27T15:50:34.557" v="1567" actId="478"/>
          <ac:spMkLst>
            <pc:docMk/>
            <pc:sldMk cId="1527148310" sldId="298"/>
            <ac:spMk id="26" creationId="{218C5CB9-6AC0-9FE6-3BED-04CB08C5EE64}"/>
          </ac:spMkLst>
        </pc:spChg>
        <pc:graphicFrameChg chg="mod modGraphic">
          <ac:chgData name="CLAUDIA ELIZABETH ROESSING ROCHA" userId="98c9b574-0003-4444-8361-b3d2c09fda2f" providerId="ADAL" clId="{D2BC25FC-0C39-45AB-8B74-851B6F5A4959}" dt="2024-03-04T18:02:51.378" v="3746" actId="14100"/>
          <ac:graphicFrameMkLst>
            <pc:docMk/>
            <pc:sldMk cId="1527148310" sldId="298"/>
            <ac:graphicFrameMk id="8" creationId="{DE3DCACD-F17C-A787-C6CA-F721C7B2A050}"/>
          </ac:graphicFrameMkLst>
        </pc:graphicFrameChg>
        <pc:picChg chg="add mod">
          <ac:chgData name="CLAUDIA ELIZABETH ROESSING ROCHA" userId="98c9b574-0003-4444-8361-b3d2c09fda2f" providerId="ADAL" clId="{D2BC25FC-0C39-45AB-8B74-851B6F5A4959}" dt="2024-03-04T18:04:00.154" v="3751"/>
          <ac:picMkLst>
            <pc:docMk/>
            <pc:sldMk cId="1527148310" sldId="298"/>
            <ac:picMk id="6" creationId="{ADEA5117-1884-1C29-F207-39E9DA7A5AD2}"/>
          </ac:picMkLst>
        </pc:picChg>
      </pc:sldChg>
      <pc:sldChg chg="add del ord">
        <pc:chgData name="CLAUDIA ELIZABETH ROESSING ROCHA" userId="98c9b574-0003-4444-8361-b3d2c09fda2f" providerId="ADAL" clId="{D2BC25FC-0C39-45AB-8B74-851B6F5A4959}" dt="2024-03-05T00:15:41.370" v="3784" actId="47"/>
        <pc:sldMkLst>
          <pc:docMk/>
          <pc:sldMk cId="644448150" sldId="299"/>
        </pc:sldMkLst>
      </pc:sldChg>
      <pc:sldChg chg="addSp delSp modSp add del mod">
        <pc:chgData name="CLAUDIA ELIZABETH ROESSING ROCHA" userId="98c9b574-0003-4444-8361-b3d2c09fda2f" providerId="ADAL" clId="{D2BC25FC-0C39-45AB-8B74-851B6F5A4959}" dt="2024-03-05T00:15:35.318" v="3782" actId="47"/>
        <pc:sldMkLst>
          <pc:docMk/>
          <pc:sldMk cId="1685742831" sldId="300"/>
        </pc:sldMkLst>
        <pc:spChg chg="mod">
          <ac:chgData name="CLAUDIA ELIZABETH ROESSING ROCHA" userId="98c9b574-0003-4444-8361-b3d2c09fda2f" providerId="ADAL" clId="{D2BC25FC-0C39-45AB-8B74-851B6F5A4959}" dt="2024-02-27T16:05:15.996" v="1802" actId="113"/>
          <ac:spMkLst>
            <pc:docMk/>
            <pc:sldMk cId="1685742831" sldId="300"/>
            <ac:spMk id="3" creationId="{7F169681-A778-CC37-A0C9-402E684C16A7}"/>
          </ac:spMkLst>
        </pc:spChg>
        <pc:spChg chg="mod">
          <ac:chgData name="CLAUDIA ELIZABETH ROESSING ROCHA" userId="98c9b574-0003-4444-8361-b3d2c09fda2f" providerId="ADAL" clId="{D2BC25FC-0C39-45AB-8B74-851B6F5A4959}" dt="2024-02-27T16:04:59.251" v="1796" actId="21"/>
          <ac:spMkLst>
            <pc:docMk/>
            <pc:sldMk cId="1685742831" sldId="300"/>
            <ac:spMk id="6" creationId="{24DBB6E1-F252-248F-EC34-9A5027287EF7}"/>
          </ac:spMkLst>
        </pc:spChg>
        <pc:picChg chg="add mod">
          <ac:chgData name="CLAUDIA ELIZABETH ROESSING ROCHA" userId="98c9b574-0003-4444-8361-b3d2c09fda2f" providerId="ADAL" clId="{D2BC25FC-0C39-45AB-8B74-851B6F5A4959}" dt="2024-03-04T18:04:39.661" v="3758"/>
          <ac:picMkLst>
            <pc:docMk/>
            <pc:sldMk cId="1685742831" sldId="300"/>
            <ac:picMk id="4" creationId="{EF52B10A-CDE8-0763-ED6A-28097BF123B2}"/>
          </ac:picMkLst>
        </pc:picChg>
        <pc:picChg chg="del mod">
          <ac:chgData name="CLAUDIA ELIZABETH ROESSING ROCHA" userId="98c9b574-0003-4444-8361-b3d2c09fda2f" providerId="ADAL" clId="{D2BC25FC-0C39-45AB-8B74-851B6F5A4959}" dt="2024-03-04T18:04:14.125" v="3752" actId="478"/>
          <ac:picMkLst>
            <pc:docMk/>
            <pc:sldMk cId="1685742831" sldId="300"/>
            <ac:picMk id="8" creationId="{8F2E2D86-6BD2-13D4-A483-81986F9C23D4}"/>
          </ac:picMkLst>
        </pc:picChg>
      </pc:sldChg>
      <pc:sldChg chg="addSp delSp modSp add mod">
        <pc:chgData name="CLAUDIA ELIZABETH ROESSING ROCHA" userId="98c9b574-0003-4444-8361-b3d2c09fda2f" providerId="ADAL" clId="{D2BC25FC-0C39-45AB-8B74-851B6F5A4959}" dt="2024-03-04T18:57:50.463" v="3781" actId="1076"/>
        <pc:sldMkLst>
          <pc:docMk/>
          <pc:sldMk cId="615066272" sldId="301"/>
        </pc:sldMkLst>
        <pc:spChg chg="mod">
          <ac:chgData name="CLAUDIA ELIZABETH ROESSING ROCHA" userId="98c9b574-0003-4444-8361-b3d2c09fda2f" providerId="ADAL" clId="{D2BC25FC-0C39-45AB-8B74-851B6F5A4959}" dt="2024-03-04T16:06:26.934" v="3164" actId="6549"/>
          <ac:spMkLst>
            <pc:docMk/>
            <pc:sldMk cId="615066272" sldId="301"/>
            <ac:spMk id="2" creationId="{433E7E1F-33AA-32D1-91B4-8E59514CE493}"/>
          </ac:spMkLst>
        </pc:spChg>
        <pc:spChg chg="mod">
          <ac:chgData name="CLAUDIA ELIZABETH ROESSING ROCHA" userId="98c9b574-0003-4444-8361-b3d2c09fda2f" providerId="ADAL" clId="{D2BC25FC-0C39-45AB-8B74-851B6F5A4959}" dt="2024-03-04T18:57:43.611" v="3778" actId="1076"/>
          <ac:spMkLst>
            <pc:docMk/>
            <pc:sldMk cId="615066272" sldId="301"/>
            <ac:spMk id="3" creationId="{5A6593D7-B926-E3F5-44CD-712B62115396}"/>
          </ac:spMkLst>
        </pc:spChg>
        <pc:picChg chg="del">
          <ac:chgData name="CLAUDIA ELIZABETH ROESSING ROCHA" userId="98c9b574-0003-4444-8361-b3d2c09fda2f" providerId="ADAL" clId="{D2BC25FC-0C39-45AB-8B74-851B6F5A4959}" dt="2024-03-04T18:04:23.464" v="3754" actId="478"/>
          <ac:picMkLst>
            <pc:docMk/>
            <pc:sldMk cId="615066272" sldId="301"/>
            <ac:picMk id="4" creationId="{6F5447C0-892F-5265-4451-6242BFD61353}"/>
          </ac:picMkLst>
        </pc:picChg>
        <pc:picChg chg="add mod">
          <ac:chgData name="CLAUDIA ELIZABETH ROESSING ROCHA" userId="98c9b574-0003-4444-8361-b3d2c09fda2f" providerId="ADAL" clId="{D2BC25FC-0C39-45AB-8B74-851B6F5A4959}" dt="2024-03-04T18:04:36.245" v="3757"/>
          <ac:picMkLst>
            <pc:docMk/>
            <pc:sldMk cId="615066272" sldId="301"/>
            <ac:picMk id="5" creationId="{6F5C7739-0725-C607-60CB-719B0214488D}"/>
          </ac:picMkLst>
        </pc:picChg>
        <pc:picChg chg="add mod">
          <ac:chgData name="CLAUDIA ELIZABETH ROESSING ROCHA" userId="98c9b574-0003-4444-8361-b3d2c09fda2f" providerId="ADAL" clId="{D2BC25FC-0C39-45AB-8B74-851B6F5A4959}" dt="2024-03-04T18:57:50.463" v="3781" actId="1076"/>
          <ac:picMkLst>
            <pc:docMk/>
            <pc:sldMk cId="615066272" sldId="301"/>
            <ac:picMk id="7" creationId="{F2662B4F-9C7B-3824-124A-42838F1B0D5B}"/>
          </ac:picMkLst>
        </pc:picChg>
      </pc:sldChg>
      <pc:sldChg chg="add del ord">
        <pc:chgData name="CLAUDIA ELIZABETH ROESSING ROCHA" userId="98c9b574-0003-4444-8361-b3d2c09fda2f" providerId="ADAL" clId="{D2BC25FC-0C39-45AB-8B74-851B6F5A4959}" dt="2024-03-05T00:15:35.318" v="3782" actId="47"/>
        <pc:sldMkLst>
          <pc:docMk/>
          <pc:sldMk cId="2461394051" sldId="302"/>
        </pc:sldMkLst>
      </pc:sldChg>
      <pc:sldChg chg="addSp delSp modSp add mod">
        <pc:chgData name="CLAUDIA ELIZABETH ROESSING ROCHA" userId="98c9b574-0003-4444-8361-b3d2c09fda2f" providerId="ADAL" clId="{D2BC25FC-0C39-45AB-8B74-851B6F5A4959}" dt="2024-03-04T17:27:10.825" v="3496" actId="1076"/>
        <pc:sldMkLst>
          <pc:docMk/>
          <pc:sldMk cId="3994924479" sldId="303"/>
        </pc:sldMkLst>
        <pc:spChg chg="add mod">
          <ac:chgData name="CLAUDIA ELIZABETH ROESSING ROCHA" userId="98c9b574-0003-4444-8361-b3d2c09fda2f" providerId="ADAL" clId="{D2BC25FC-0C39-45AB-8B74-851B6F5A4959}" dt="2024-03-04T17:26:19.062" v="3489" actId="1076"/>
          <ac:spMkLst>
            <pc:docMk/>
            <pc:sldMk cId="3994924479" sldId="303"/>
            <ac:spMk id="3" creationId="{FC4CEF38-4E6B-A58A-91CE-5C4D9603EFAF}"/>
          </ac:spMkLst>
        </pc:spChg>
        <pc:spChg chg="del">
          <ac:chgData name="CLAUDIA ELIZABETH ROESSING ROCHA" userId="98c9b574-0003-4444-8361-b3d2c09fda2f" providerId="ADAL" clId="{D2BC25FC-0C39-45AB-8B74-851B6F5A4959}" dt="2024-03-04T17:13:02.648" v="3424" actId="478"/>
          <ac:spMkLst>
            <pc:docMk/>
            <pc:sldMk cId="3994924479" sldId="303"/>
            <ac:spMk id="4" creationId="{58230F28-28C0-57B8-9B14-2E38E32F83CC}"/>
          </ac:spMkLst>
        </pc:spChg>
        <pc:spChg chg="del">
          <ac:chgData name="CLAUDIA ELIZABETH ROESSING ROCHA" userId="98c9b574-0003-4444-8361-b3d2c09fda2f" providerId="ADAL" clId="{D2BC25FC-0C39-45AB-8B74-851B6F5A4959}" dt="2024-03-04T17:13:01.234" v="3422" actId="478"/>
          <ac:spMkLst>
            <pc:docMk/>
            <pc:sldMk cId="3994924479" sldId="303"/>
            <ac:spMk id="5" creationId="{B6224585-436E-CFE6-970F-ADBBEDA89956}"/>
          </ac:spMkLst>
        </pc:spChg>
        <pc:spChg chg="del">
          <ac:chgData name="CLAUDIA ELIZABETH ROESSING ROCHA" userId="98c9b574-0003-4444-8361-b3d2c09fda2f" providerId="ADAL" clId="{D2BC25FC-0C39-45AB-8B74-851B6F5A4959}" dt="2024-03-04T17:13:01.863" v="3423" actId="478"/>
          <ac:spMkLst>
            <pc:docMk/>
            <pc:sldMk cId="3994924479" sldId="303"/>
            <ac:spMk id="6" creationId="{2CF8B25F-6889-F431-0246-C357A4074264}"/>
          </ac:spMkLst>
        </pc:spChg>
        <pc:spChg chg="add mod">
          <ac:chgData name="CLAUDIA ELIZABETH ROESSING ROCHA" userId="98c9b574-0003-4444-8361-b3d2c09fda2f" providerId="ADAL" clId="{D2BC25FC-0C39-45AB-8B74-851B6F5A4959}" dt="2024-03-04T17:26:27.376" v="3491" actId="1076"/>
          <ac:spMkLst>
            <pc:docMk/>
            <pc:sldMk cId="3994924479" sldId="303"/>
            <ac:spMk id="7" creationId="{26B25AC3-14AE-4894-0DAF-23F1A14F5A33}"/>
          </ac:spMkLst>
        </pc:spChg>
        <pc:spChg chg="add mod">
          <ac:chgData name="CLAUDIA ELIZABETH ROESSING ROCHA" userId="98c9b574-0003-4444-8361-b3d2c09fda2f" providerId="ADAL" clId="{D2BC25FC-0C39-45AB-8B74-851B6F5A4959}" dt="2024-03-04T17:27:10.825" v="3496" actId="1076"/>
          <ac:spMkLst>
            <pc:docMk/>
            <pc:sldMk cId="3994924479" sldId="303"/>
            <ac:spMk id="9" creationId="{8D8AEF7B-C5FE-6A31-F90E-A2EE9E0FBD99}"/>
          </ac:spMkLst>
        </pc:spChg>
        <pc:spChg chg="mod">
          <ac:chgData name="CLAUDIA ELIZABETH ROESSING ROCHA" userId="98c9b574-0003-4444-8361-b3d2c09fda2f" providerId="ADAL" clId="{D2BC25FC-0C39-45AB-8B74-851B6F5A4959}" dt="2024-03-04T17:26:44.567" v="3493" actId="113"/>
          <ac:spMkLst>
            <pc:docMk/>
            <pc:sldMk cId="3994924479" sldId="303"/>
            <ac:spMk id="11" creationId="{0AAC87CD-6656-D849-2510-332944319FCC}"/>
          </ac:spMkLst>
        </pc:spChg>
        <pc:spChg chg="mod">
          <ac:chgData name="CLAUDIA ELIZABETH ROESSING ROCHA" userId="98c9b574-0003-4444-8361-b3d2c09fda2f" providerId="ADAL" clId="{D2BC25FC-0C39-45AB-8B74-851B6F5A4959}" dt="2024-03-04T17:16:25.761" v="3427" actId="207"/>
          <ac:spMkLst>
            <pc:docMk/>
            <pc:sldMk cId="3994924479" sldId="303"/>
            <ac:spMk id="12" creationId="{457D2D87-E1B4-07A1-4552-58EC8D501B0B}"/>
          </ac:spMkLst>
        </pc:spChg>
        <pc:spChg chg="mod">
          <ac:chgData name="CLAUDIA ELIZABETH ROESSING ROCHA" userId="98c9b574-0003-4444-8361-b3d2c09fda2f" providerId="ADAL" clId="{D2BC25FC-0C39-45AB-8B74-851B6F5A4959}" dt="2024-03-04T17:23:41.328" v="3467" actId="1076"/>
          <ac:spMkLst>
            <pc:docMk/>
            <pc:sldMk cId="3994924479" sldId="303"/>
            <ac:spMk id="13" creationId="{7210D948-7184-3B3C-7BF3-1B21C09B7F5C}"/>
          </ac:spMkLst>
        </pc:spChg>
        <pc:spChg chg="mod">
          <ac:chgData name="CLAUDIA ELIZABETH ROESSING ROCHA" userId="98c9b574-0003-4444-8361-b3d2c09fda2f" providerId="ADAL" clId="{D2BC25FC-0C39-45AB-8B74-851B6F5A4959}" dt="2024-03-04T17:26:23.914" v="3490" actId="1076"/>
          <ac:spMkLst>
            <pc:docMk/>
            <pc:sldMk cId="3994924479" sldId="303"/>
            <ac:spMk id="14" creationId="{F6E3A0F0-0436-D0A7-410C-0C2422D882D3}"/>
          </ac:spMkLst>
        </pc:spChg>
        <pc:spChg chg="mod">
          <ac:chgData name="CLAUDIA ELIZABETH ROESSING ROCHA" userId="98c9b574-0003-4444-8361-b3d2c09fda2f" providerId="ADAL" clId="{D2BC25FC-0C39-45AB-8B74-851B6F5A4959}" dt="2024-03-04T17:22:40.157" v="3447" actId="20577"/>
          <ac:spMkLst>
            <pc:docMk/>
            <pc:sldMk cId="3994924479" sldId="303"/>
            <ac:spMk id="19" creationId="{93613A76-F908-48F1-EFD1-914E21380D5F}"/>
          </ac:spMkLst>
        </pc:spChg>
        <pc:spChg chg="mod">
          <ac:chgData name="CLAUDIA ELIZABETH ROESSING ROCHA" userId="98c9b574-0003-4444-8361-b3d2c09fda2f" providerId="ADAL" clId="{D2BC25FC-0C39-45AB-8B74-851B6F5A4959}" dt="2024-03-04T17:16:48.207" v="3431" actId="207"/>
          <ac:spMkLst>
            <pc:docMk/>
            <pc:sldMk cId="3994924479" sldId="303"/>
            <ac:spMk id="23" creationId="{5C4763EF-14F5-571C-2AA0-960405411FD3}"/>
          </ac:spMkLst>
        </pc:spChg>
        <pc:spChg chg="del">
          <ac:chgData name="CLAUDIA ELIZABETH ROESSING ROCHA" userId="98c9b574-0003-4444-8361-b3d2c09fda2f" providerId="ADAL" clId="{D2BC25FC-0C39-45AB-8B74-851B6F5A4959}" dt="2024-03-04T17:12:59.098" v="3420" actId="478"/>
          <ac:spMkLst>
            <pc:docMk/>
            <pc:sldMk cId="3994924479" sldId="303"/>
            <ac:spMk id="24" creationId="{29686FC4-F9C3-FC1B-88D2-DD7BAB5438EE}"/>
          </ac:spMkLst>
        </pc:spChg>
        <pc:spChg chg="del">
          <ac:chgData name="CLAUDIA ELIZABETH ROESSING ROCHA" userId="98c9b574-0003-4444-8361-b3d2c09fda2f" providerId="ADAL" clId="{D2BC25FC-0C39-45AB-8B74-851B6F5A4959}" dt="2024-03-04T17:12:59.930" v="3421" actId="478"/>
          <ac:spMkLst>
            <pc:docMk/>
            <pc:sldMk cId="3994924479" sldId="303"/>
            <ac:spMk id="26" creationId="{ECC3CAFA-6296-C701-EFC0-8617BD3A076C}"/>
          </ac:spMkLst>
        </pc:spChg>
        <pc:spChg chg="del">
          <ac:chgData name="CLAUDIA ELIZABETH ROESSING ROCHA" userId="98c9b574-0003-4444-8361-b3d2c09fda2f" providerId="ADAL" clId="{D2BC25FC-0C39-45AB-8B74-851B6F5A4959}" dt="2024-03-04T17:27:00.819" v="3494" actId="478"/>
          <ac:spMkLst>
            <pc:docMk/>
            <pc:sldMk cId="3994924479" sldId="303"/>
            <ac:spMk id="33" creationId="{D593A84A-4E4E-21FC-9FAE-94FC9D440EBE}"/>
          </ac:spMkLst>
        </pc:spChg>
        <pc:spChg chg="mod">
          <ac:chgData name="CLAUDIA ELIZABETH ROESSING ROCHA" userId="98c9b574-0003-4444-8361-b3d2c09fda2f" providerId="ADAL" clId="{D2BC25FC-0C39-45AB-8B74-851B6F5A4959}" dt="2024-03-04T17:16:40.692" v="3430" actId="207"/>
          <ac:spMkLst>
            <pc:docMk/>
            <pc:sldMk cId="3994924479" sldId="303"/>
            <ac:spMk id="35" creationId="{6A668D86-51BB-2ECB-B8C3-9F4D11CF6BFC}"/>
          </ac:spMkLst>
        </pc:spChg>
        <pc:spChg chg="mod">
          <ac:chgData name="CLAUDIA ELIZABETH ROESSING ROCHA" userId="98c9b574-0003-4444-8361-b3d2c09fda2f" providerId="ADAL" clId="{D2BC25FC-0C39-45AB-8B74-851B6F5A4959}" dt="2024-03-04T17:16:14.929" v="3425" actId="207"/>
          <ac:spMkLst>
            <pc:docMk/>
            <pc:sldMk cId="3994924479" sldId="303"/>
            <ac:spMk id="37" creationId="{690D68B9-F7B3-D3DA-A54E-4B4C06051079}"/>
          </ac:spMkLst>
        </pc:spChg>
        <pc:spChg chg="mod">
          <ac:chgData name="CLAUDIA ELIZABETH ROESSING ROCHA" userId="98c9b574-0003-4444-8361-b3d2c09fda2f" providerId="ADAL" clId="{D2BC25FC-0C39-45AB-8B74-851B6F5A4959}" dt="2024-03-04T17:16:20.425" v="3426" actId="207"/>
          <ac:spMkLst>
            <pc:docMk/>
            <pc:sldMk cId="3994924479" sldId="303"/>
            <ac:spMk id="40" creationId="{3DBFA328-CC1C-6E59-6A5A-A4773D9AB895}"/>
          </ac:spMkLst>
        </pc:spChg>
        <pc:spChg chg="mod">
          <ac:chgData name="CLAUDIA ELIZABETH ROESSING ROCHA" userId="98c9b574-0003-4444-8361-b3d2c09fda2f" providerId="ADAL" clId="{D2BC25FC-0C39-45AB-8B74-851B6F5A4959}" dt="2024-03-04T17:16:31.563" v="3428" actId="207"/>
          <ac:spMkLst>
            <pc:docMk/>
            <pc:sldMk cId="3994924479" sldId="303"/>
            <ac:spMk id="44" creationId="{4F9837A2-7804-7D8F-59C1-79CC3E98308C}"/>
          </ac:spMkLst>
        </pc:spChg>
      </pc:sldChg>
      <pc:sldChg chg="add del">
        <pc:chgData name="CLAUDIA ELIZABETH ROESSING ROCHA" userId="98c9b574-0003-4444-8361-b3d2c09fda2f" providerId="ADAL" clId="{D2BC25FC-0C39-45AB-8B74-851B6F5A4959}" dt="2024-03-04T17:40:05.651" v="3610" actId="47"/>
        <pc:sldMkLst>
          <pc:docMk/>
          <pc:sldMk cId="88753971" sldId="304"/>
        </pc:sldMkLst>
      </pc:sldChg>
      <pc:sldChg chg="addSp delSp modSp add mod ord">
        <pc:chgData name="CLAUDIA ELIZABETH ROESSING ROCHA" userId="98c9b574-0003-4444-8361-b3d2c09fda2f" providerId="ADAL" clId="{D2BC25FC-0C39-45AB-8B74-851B6F5A4959}" dt="2024-03-05T11:58:52.585" v="3802" actId="6549"/>
        <pc:sldMkLst>
          <pc:docMk/>
          <pc:sldMk cId="1728034853" sldId="304"/>
        </pc:sldMkLst>
        <pc:spChg chg="del mod">
          <ac:chgData name="CLAUDIA ELIZABETH ROESSING ROCHA" userId="98c9b574-0003-4444-8361-b3d2c09fda2f" providerId="ADAL" clId="{D2BC25FC-0C39-45AB-8B74-851B6F5A4959}" dt="2024-03-04T17:44:59.824" v="3646" actId="478"/>
          <ac:spMkLst>
            <pc:docMk/>
            <pc:sldMk cId="1728034853" sldId="304"/>
            <ac:spMk id="3" creationId="{8A13D2DC-6156-035E-C915-D2754E976AD2}"/>
          </ac:spMkLst>
        </pc:spChg>
        <pc:spChg chg="del">
          <ac:chgData name="CLAUDIA ELIZABETH ROESSING ROCHA" userId="98c9b574-0003-4444-8361-b3d2c09fda2f" providerId="ADAL" clId="{D2BC25FC-0C39-45AB-8B74-851B6F5A4959}" dt="2024-03-04T17:45:01.392" v="3647" actId="478"/>
          <ac:spMkLst>
            <pc:docMk/>
            <pc:sldMk cId="1728034853" sldId="304"/>
            <ac:spMk id="4" creationId="{321EDF95-A397-411D-4B1C-353FE2604A0C}"/>
          </ac:spMkLst>
        </pc:spChg>
        <pc:spChg chg="del">
          <ac:chgData name="CLAUDIA ELIZABETH ROESSING ROCHA" userId="98c9b574-0003-4444-8361-b3d2c09fda2f" providerId="ADAL" clId="{D2BC25FC-0C39-45AB-8B74-851B6F5A4959}" dt="2024-03-04T17:45:01.947" v="3648" actId="478"/>
          <ac:spMkLst>
            <pc:docMk/>
            <pc:sldMk cId="1728034853" sldId="304"/>
            <ac:spMk id="5" creationId="{BACFE7B9-368B-2616-7762-A9FB9D67198F}"/>
          </ac:spMkLst>
        </pc:spChg>
        <pc:spChg chg="del">
          <ac:chgData name="CLAUDIA ELIZABETH ROESSING ROCHA" userId="98c9b574-0003-4444-8361-b3d2c09fda2f" providerId="ADAL" clId="{D2BC25FC-0C39-45AB-8B74-851B6F5A4959}" dt="2024-03-04T17:45:02.749" v="3649" actId="478"/>
          <ac:spMkLst>
            <pc:docMk/>
            <pc:sldMk cId="1728034853" sldId="304"/>
            <ac:spMk id="6" creationId="{3E6F362D-D25E-812E-47E0-1ACE0ECB8114}"/>
          </ac:spMkLst>
        </pc:spChg>
        <pc:spChg chg="add mod">
          <ac:chgData name="CLAUDIA ELIZABETH ROESSING ROCHA" userId="98c9b574-0003-4444-8361-b3d2c09fda2f" providerId="ADAL" clId="{D2BC25FC-0C39-45AB-8B74-851B6F5A4959}" dt="2024-03-04T17:51:27.234" v="3685" actId="1076"/>
          <ac:spMkLst>
            <pc:docMk/>
            <pc:sldMk cId="1728034853" sldId="304"/>
            <ac:spMk id="7" creationId="{730E5825-BFFE-56F2-91FA-CCAAE10D979B}"/>
          </ac:spMkLst>
        </pc:spChg>
        <pc:spChg chg="add mod">
          <ac:chgData name="CLAUDIA ELIZABETH ROESSING ROCHA" userId="98c9b574-0003-4444-8361-b3d2c09fda2f" providerId="ADAL" clId="{D2BC25FC-0C39-45AB-8B74-851B6F5A4959}" dt="2024-03-04T17:51:57.703" v="3691" actId="1076"/>
          <ac:spMkLst>
            <pc:docMk/>
            <pc:sldMk cId="1728034853" sldId="304"/>
            <ac:spMk id="9" creationId="{5B6B7A6E-55C7-A107-E4F0-62A24D85E5BD}"/>
          </ac:spMkLst>
        </pc:spChg>
        <pc:spChg chg="add mod">
          <ac:chgData name="CLAUDIA ELIZABETH ROESSING ROCHA" userId="98c9b574-0003-4444-8361-b3d2c09fda2f" providerId="ADAL" clId="{D2BC25FC-0C39-45AB-8B74-851B6F5A4959}" dt="2024-03-04T17:53:26.384" v="3702" actId="1076"/>
          <ac:spMkLst>
            <pc:docMk/>
            <pc:sldMk cId="1728034853" sldId="304"/>
            <ac:spMk id="10" creationId="{F1BFD87A-5791-0421-7CD8-676E6F7CCF03}"/>
          </ac:spMkLst>
        </pc:spChg>
        <pc:spChg chg="del">
          <ac:chgData name="CLAUDIA ELIZABETH ROESSING ROCHA" userId="98c9b574-0003-4444-8361-b3d2c09fda2f" providerId="ADAL" clId="{D2BC25FC-0C39-45AB-8B74-851B6F5A4959}" dt="2024-03-04T17:45:57.111" v="3655" actId="478"/>
          <ac:spMkLst>
            <pc:docMk/>
            <pc:sldMk cId="1728034853" sldId="304"/>
            <ac:spMk id="11" creationId="{0AAC87CD-6656-D849-2510-332944319FCC}"/>
          </ac:spMkLst>
        </pc:spChg>
        <pc:spChg chg="add mod">
          <ac:chgData name="CLAUDIA ELIZABETH ROESSING ROCHA" userId="98c9b574-0003-4444-8361-b3d2c09fda2f" providerId="ADAL" clId="{D2BC25FC-0C39-45AB-8B74-851B6F5A4959}" dt="2024-03-04T17:55:56.813" v="3726" actId="1076"/>
          <ac:spMkLst>
            <pc:docMk/>
            <pc:sldMk cId="1728034853" sldId="304"/>
            <ac:spMk id="12" creationId="{C889C4A1-9503-8417-C33C-C09EC480A012}"/>
          </ac:spMkLst>
        </pc:spChg>
        <pc:spChg chg="del">
          <ac:chgData name="CLAUDIA ELIZABETH ROESSING ROCHA" userId="98c9b574-0003-4444-8361-b3d2c09fda2f" providerId="ADAL" clId="{D2BC25FC-0C39-45AB-8B74-851B6F5A4959}" dt="2024-03-04T17:45:57.111" v="3655" actId="478"/>
          <ac:spMkLst>
            <pc:docMk/>
            <pc:sldMk cId="1728034853" sldId="304"/>
            <ac:spMk id="13" creationId="{7210D948-7184-3B3C-7BF3-1B21C09B7F5C}"/>
          </ac:spMkLst>
        </pc:spChg>
        <pc:spChg chg="del">
          <ac:chgData name="CLAUDIA ELIZABETH ROESSING ROCHA" userId="98c9b574-0003-4444-8361-b3d2c09fda2f" providerId="ADAL" clId="{D2BC25FC-0C39-45AB-8B74-851B6F5A4959}" dt="2024-03-04T17:45:57.111" v="3655" actId="478"/>
          <ac:spMkLst>
            <pc:docMk/>
            <pc:sldMk cId="1728034853" sldId="304"/>
            <ac:spMk id="14" creationId="{F6E3A0F0-0436-D0A7-410C-0C2422D882D3}"/>
          </ac:spMkLst>
        </pc:spChg>
        <pc:spChg chg="del">
          <ac:chgData name="CLAUDIA ELIZABETH ROESSING ROCHA" userId="98c9b574-0003-4444-8361-b3d2c09fda2f" providerId="ADAL" clId="{D2BC25FC-0C39-45AB-8B74-851B6F5A4959}" dt="2024-03-04T17:45:57.111" v="3655" actId="478"/>
          <ac:spMkLst>
            <pc:docMk/>
            <pc:sldMk cId="1728034853" sldId="304"/>
            <ac:spMk id="15" creationId="{ED128679-24B3-379E-DF68-C7622306825A}"/>
          </ac:spMkLst>
        </pc:spChg>
        <pc:spChg chg="del">
          <ac:chgData name="CLAUDIA ELIZABETH ROESSING ROCHA" userId="98c9b574-0003-4444-8361-b3d2c09fda2f" providerId="ADAL" clId="{D2BC25FC-0C39-45AB-8B74-851B6F5A4959}" dt="2024-03-04T17:45:57.111" v="3655" actId="478"/>
          <ac:spMkLst>
            <pc:docMk/>
            <pc:sldMk cId="1728034853" sldId="304"/>
            <ac:spMk id="16" creationId="{50BA6E3F-0A16-A472-1071-6854C75142BF}"/>
          </ac:spMkLst>
        </pc:spChg>
        <pc:spChg chg="del">
          <ac:chgData name="CLAUDIA ELIZABETH ROESSING ROCHA" userId="98c9b574-0003-4444-8361-b3d2c09fda2f" providerId="ADAL" clId="{D2BC25FC-0C39-45AB-8B74-851B6F5A4959}" dt="2024-03-04T17:45:57.111" v="3655" actId="478"/>
          <ac:spMkLst>
            <pc:docMk/>
            <pc:sldMk cId="1728034853" sldId="304"/>
            <ac:spMk id="17" creationId="{0D212CBF-0859-942E-3CE2-D7E54E7DAB5A}"/>
          </ac:spMkLst>
        </pc:spChg>
        <pc:spChg chg="del">
          <ac:chgData name="CLAUDIA ELIZABETH ROESSING ROCHA" userId="98c9b574-0003-4444-8361-b3d2c09fda2f" providerId="ADAL" clId="{D2BC25FC-0C39-45AB-8B74-851B6F5A4959}" dt="2024-03-04T17:45:57.111" v="3655" actId="478"/>
          <ac:spMkLst>
            <pc:docMk/>
            <pc:sldMk cId="1728034853" sldId="304"/>
            <ac:spMk id="18" creationId="{23A6BBEF-6C16-4360-BE8F-44602311858C}"/>
          </ac:spMkLst>
        </pc:spChg>
        <pc:spChg chg="del">
          <ac:chgData name="CLAUDIA ELIZABETH ROESSING ROCHA" userId="98c9b574-0003-4444-8361-b3d2c09fda2f" providerId="ADAL" clId="{D2BC25FC-0C39-45AB-8B74-851B6F5A4959}" dt="2024-03-04T17:45:57.111" v="3655" actId="478"/>
          <ac:spMkLst>
            <pc:docMk/>
            <pc:sldMk cId="1728034853" sldId="304"/>
            <ac:spMk id="19" creationId="{93613A76-F908-48F1-EFD1-914E21380D5F}"/>
          </ac:spMkLst>
        </pc:spChg>
        <pc:spChg chg="del mod">
          <ac:chgData name="CLAUDIA ELIZABETH ROESSING ROCHA" userId="98c9b574-0003-4444-8361-b3d2c09fda2f" providerId="ADAL" clId="{D2BC25FC-0C39-45AB-8B74-851B6F5A4959}" dt="2024-03-04T17:45:57.111" v="3655" actId="478"/>
          <ac:spMkLst>
            <pc:docMk/>
            <pc:sldMk cId="1728034853" sldId="304"/>
            <ac:spMk id="20" creationId="{FFF166BA-0BDB-FB01-4BB2-37E4FAA909BD}"/>
          </ac:spMkLst>
        </pc:spChg>
        <pc:spChg chg="mod">
          <ac:chgData name="CLAUDIA ELIZABETH ROESSING ROCHA" userId="98c9b574-0003-4444-8361-b3d2c09fda2f" providerId="ADAL" clId="{D2BC25FC-0C39-45AB-8B74-851B6F5A4959}" dt="2024-03-05T11:58:52.585" v="3802" actId="6549"/>
          <ac:spMkLst>
            <pc:docMk/>
            <pc:sldMk cId="1728034853" sldId="304"/>
            <ac:spMk id="21" creationId="{72F33D97-AD00-C018-ADFF-6D115B05153D}"/>
          </ac:spMkLst>
        </pc:spChg>
        <pc:spChg chg="mod">
          <ac:chgData name="CLAUDIA ELIZABETH ROESSING ROCHA" userId="98c9b574-0003-4444-8361-b3d2c09fda2f" providerId="ADAL" clId="{D2BC25FC-0C39-45AB-8B74-851B6F5A4959}" dt="2024-03-04T17:51:41.989" v="3686" actId="1076"/>
          <ac:spMkLst>
            <pc:docMk/>
            <pc:sldMk cId="1728034853" sldId="304"/>
            <ac:spMk id="22" creationId="{48EF7636-C17F-3DC1-B18A-EC01604F1261}"/>
          </ac:spMkLst>
        </pc:spChg>
        <pc:spChg chg="add mod">
          <ac:chgData name="CLAUDIA ELIZABETH ROESSING ROCHA" userId="98c9b574-0003-4444-8361-b3d2c09fda2f" providerId="ADAL" clId="{D2BC25FC-0C39-45AB-8B74-851B6F5A4959}" dt="2024-03-04T17:56:03.343" v="3728" actId="1076"/>
          <ac:spMkLst>
            <pc:docMk/>
            <pc:sldMk cId="1728034853" sldId="304"/>
            <ac:spMk id="23" creationId="{3A085A19-1D87-CDAA-2307-2E5F76B061FD}"/>
          </ac:spMkLst>
        </pc:spChg>
        <pc:spChg chg="add mod">
          <ac:chgData name="CLAUDIA ELIZABETH ROESSING ROCHA" userId="98c9b574-0003-4444-8361-b3d2c09fda2f" providerId="ADAL" clId="{D2BC25FC-0C39-45AB-8B74-851B6F5A4959}" dt="2024-03-04T17:54:04.012" v="3708" actId="1076"/>
          <ac:spMkLst>
            <pc:docMk/>
            <pc:sldMk cId="1728034853" sldId="304"/>
            <ac:spMk id="24" creationId="{651FE0E1-04DB-02A2-AB62-08BCBB8AC356}"/>
          </ac:spMkLst>
        </pc:spChg>
        <pc:spChg chg="add mod">
          <ac:chgData name="CLAUDIA ELIZABETH ROESSING ROCHA" userId="98c9b574-0003-4444-8361-b3d2c09fda2f" providerId="ADAL" clId="{D2BC25FC-0C39-45AB-8B74-851B6F5A4959}" dt="2024-03-04T17:55:58.895" v="3727" actId="1076"/>
          <ac:spMkLst>
            <pc:docMk/>
            <pc:sldMk cId="1728034853" sldId="304"/>
            <ac:spMk id="25" creationId="{4F457F6C-4427-618C-49C9-128954B380C0}"/>
          </ac:spMkLst>
        </pc:spChg>
        <pc:spChg chg="add mod">
          <ac:chgData name="CLAUDIA ELIZABETH ROESSING ROCHA" userId="98c9b574-0003-4444-8361-b3d2c09fda2f" providerId="ADAL" clId="{D2BC25FC-0C39-45AB-8B74-851B6F5A4959}" dt="2024-03-04T17:56:07.421" v="3729" actId="1076"/>
          <ac:spMkLst>
            <pc:docMk/>
            <pc:sldMk cId="1728034853" sldId="304"/>
            <ac:spMk id="26" creationId="{3BD14C18-CDA6-0F26-607D-8DBB269C2BB8}"/>
          </ac:spMkLst>
        </pc:spChg>
        <pc:spChg chg="add mod">
          <ac:chgData name="CLAUDIA ELIZABETH ROESSING ROCHA" userId="98c9b574-0003-4444-8361-b3d2c09fda2f" providerId="ADAL" clId="{D2BC25FC-0C39-45AB-8B74-851B6F5A4959}" dt="2024-03-04T17:54:26.652" v="3714" actId="1076"/>
          <ac:spMkLst>
            <pc:docMk/>
            <pc:sldMk cId="1728034853" sldId="304"/>
            <ac:spMk id="27" creationId="{0CA44F57-CF64-C828-E446-13BF8E8A221E}"/>
          </ac:spMkLst>
        </pc:spChg>
        <pc:spChg chg="add del mod">
          <ac:chgData name="CLAUDIA ELIZABETH ROESSING ROCHA" userId="98c9b574-0003-4444-8361-b3d2c09fda2f" providerId="ADAL" clId="{D2BC25FC-0C39-45AB-8B74-851B6F5A4959}" dt="2024-03-04T17:54:55.765" v="3719" actId="478"/>
          <ac:spMkLst>
            <pc:docMk/>
            <pc:sldMk cId="1728034853" sldId="304"/>
            <ac:spMk id="28" creationId="{5CC0D53E-E008-31BB-0AED-1DEEBD30AFC8}"/>
          </ac:spMkLst>
        </pc:spChg>
        <pc:spChg chg="add mod">
          <ac:chgData name="CLAUDIA ELIZABETH ROESSING ROCHA" userId="98c9b574-0003-4444-8361-b3d2c09fda2f" providerId="ADAL" clId="{D2BC25FC-0C39-45AB-8B74-851B6F5A4959}" dt="2024-03-04T17:55:20.251" v="3721" actId="1076"/>
          <ac:spMkLst>
            <pc:docMk/>
            <pc:sldMk cId="1728034853" sldId="304"/>
            <ac:spMk id="29" creationId="{0343D3D3-D41E-39AC-4046-CE311B617169}"/>
          </ac:spMkLst>
        </pc:spChg>
        <pc:spChg chg="add mod">
          <ac:chgData name="CLAUDIA ELIZABETH ROESSING ROCHA" userId="98c9b574-0003-4444-8361-b3d2c09fda2f" providerId="ADAL" clId="{D2BC25FC-0C39-45AB-8B74-851B6F5A4959}" dt="2024-03-04T17:55:29.830" v="3723" actId="1076"/>
          <ac:spMkLst>
            <pc:docMk/>
            <pc:sldMk cId="1728034853" sldId="304"/>
            <ac:spMk id="30" creationId="{D9C97A81-3037-275E-6815-CA4209191F80}"/>
          </ac:spMkLst>
        </pc:spChg>
        <pc:spChg chg="add mod">
          <ac:chgData name="CLAUDIA ELIZABETH ROESSING ROCHA" userId="98c9b574-0003-4444-8361-b3d2c09fda2f" providerId="ADAL" clId="{D2BC25FC-0C39-45AB-8B74-851B6F5A4959}" dt="2024-03-04T17:55:50.045" v="3725" actId="1076"/>
          <ac:spMkLst>
            <pc:docMk/>
            <pc:sldMk cId="1728034853" sldId="304"/>
            <ac:spMk id="31" creationId="{115627A2-81FB-5482-8EEA-F2D51A58F2EF}"/>
          </ac:spMkLst>
        </pc:spChg>
        <pc:spChg chg="add mod">
          <ac:chgData name="CLAUDIA ELIZABETH ROESSING ROCHA" userId="98c9b574-0003-4444-8361-b3d2c09fda2f" providerId="ADAL" clId="{D2BC25FC-0C39-45AB-8B74-851B6F5A4959}" dt="2024-03-04T17:56:24.115" v="3730"/>
          <ac:spMkLst>
            <pc:docMk/>
            <pc:sldMk cId="1728034853" sldId="304"/>
            <ac:spMk id="32" creationId="{D768F36E-DFBB-12F2-D643-120CDBC86B57}"/>
          </ac:spMkLst>
        </pc:spChg>
        <pc:spChg chg="add mod">
          <ac:chgData name="CLAUDIA ELIZABETH ROESSING ROCHA" userId="98c9b574-0003-4444-8361-b3d2c09fda2f" providerId="ADAL" clId="{D2BC25FC-0C39-45AB-8B74-851B6F5A4959}" dt="2024-03-04T17:56:24.115" v="3730"/>
          <ac:spMkLst>
            <pc:docMk/>
            <pc:sldMk cId="1728034853" sldId="304"/>
            <ac:spMk id="33" creationId="{7CBF9F61-1903-E06F-28D5-97381273203C}"/>
          </ac:spMkLst>
        </pc:spChg>
        <pc:spChg chg="add mod">
          <ac:chgData name="CLAUDIA ELIZABETH ROESSING ROCHA" userId="98c9b574-0003-4444-8361-b3d2c09fda2f" providerId="ADAL" clId="{D2BC25FC-0C39-45AB-8B74-851B6F5A4959}" dt="2024-03-04T17:56:24.115" v="3730"/>
          <ac:spMkLst>
            <pc:docMk/>
            <pc:sldMk cId="1728034853" sldId="304"/>
            <ac:spMk id="34" creationId="{8DB1BFB6-8B34-4036-A0D6-D8D07EEC508F}"/>
          </ac:spMkLst>
        </pc:spChg>
        <pc:spChg chg="add mod">
          <ac:chgData name="CLAUDIA ELIZABETH ROESSING ROCHA" userId="98c9b574-0003-4444-8361-b3d2c09fda2f" providerId="ADAL" clId="{D2BC25FC-0C39-45AB-8B74-851B6F5A4959}" dt="2024-03-04T17:56:24.115" v="3730"/>
          <ac:spMkLst>
            <pc:docMk/>
            <pc:sldMk cId="1728034853" sldId="304"/>
            <ac:spMk id="35" creationId="{CFFBA220-1D75-B26E-641D-844455DEF6D6}"/>
          </ac:spMkLst>
        </pc:spChg>
        <pc:spChg chg="add mod">
          <ac:chgData name="CLAUDIA ELIZABETH ROESSING ROCHA" userId="98c9b574-0003-4444-8361-b3d2c09fda2f" providerId="ADAL" clId="{D2BC25FC-0C39-45AB-8B74-851B6F5A4959}" dt="2024-03-04T17:56:24.115" v="3730"/>
          <ac:spMkLst>
            <pc:docMk/>
            <pc:sldMk cId="1728034853" sldId="304"/>
            <ac:spMk id="36" creationId="{F7A33CB6-618F-6F42-2759-34E433EA37B7}"/>
          </ac:spMkLst>
        </pc:spChg>
        <pc:spChg chg="add mod">
          <ac:chgData name="CLAUDIA ELIZABETH ROESSING ROCHA" userId="98c9b574-0003-4444-8361-b3d2c09fda2f" providerId="ADAL" clId="{D2BC25FC-0C39-45AB-8B74-851B6F5A4959}" dt="2024-03-04T17:56:24.115" v="3730"/>
          <ac:spMkLst>
            <pc:docMk/>
            <pc:sldMk cId="1728034853" sldId="304"/>
            <ac:spMk id="37" creationId="{70D75274-1E05-2F77-2CA9-6F0D0BE3C04C}"/>
          </ac:spMkLst>
        </pc:spChg>
        <pc:spChg chg="add mod">
          <ac:chgData name="CLAUDIA ELIZABETH ROESSING ROCHA" userId="98c9b574-0003-4444-8361-b3d2c09fda2f" providerId="ADAL" clId="{D2BC25FC-0C39-45AB-8B74-851B6F5A4959}" dt="2024-03-04T17:56:24.115" v="3730"/>
          <ac:spMkLst>
            <pc:docMk/>
            <pc:sldMk cId="1728034853" sldId="304"/>
            <ac:spMk id="38" creationId="{728E5BAE-B9B6-DD52-D29C-92856A329932}"/>
          </ac:spMkLst>
        </pc:spChg>
        <pc:spChg chg="add mod">
          <ac:chgData name="CLAUDIA ELIZABETH ROESSING ROCHA" userId="98c9b574-0003-4444-8361-b3d2c09fda2f" providerId="ADAL" clId="{D2BC25FC-0C39-45AB-8B74-851B6F5A4959}" dt="2024-03-04T17:56:24.115" v="3730"/>
          <ac:spMkLst>
            <pc:docMk/>
            <pc:sldMk cId="1728034853" sldId="304"/>
            <ac:spMk id="39" creationId="{68F4DFA2-7BD2-2090-ED12-F512327569E2}"/>
          </ac:spMkLst>
        </pc:spChg>
        <pc:spChg chg="add mod">
          <ac:chgData name="CLAUDIA ELIZABETH ROESSING ROCHA" userId="98c9b574-0003-4444-8361-b3d2c09fda2f" providerId="ADAL" clId="{D2BC25FC-0C39-45AB-8B74-851B6F5A4959}" dt="2024-03-04T17:56:32.572" v="3731"/>
          <ac:spMkLst>
            <pc:docMk/>
            <pc:sldMk cId="1728034853" sldId="304"/>
            <ac:spMk id="40" creationId="{77291E95-586B-38DA-3E7B-6DCB361DAD70}"/>
          </ac:spMkLst>
        </pc:spChg>
        <pc:graphicFrameChg chg="mod modGraphic">
          <ac:chgData name="CLAUDIA ELIZABETH ROESSING ROCHA" userId="98c9b574-0003-4444-8361-b3d2c09fda2f" providerId="ADAL" clId="{D2BC25FC-0C39-45AB-8B74-851B6F5A4959}" dt="2024-03-04T17:54:53.725" v="3718" actId="6549"/>
          <ac:graphicFrameMkLst>
            <pc:docMk/>
            <pc:sldMk cId="1728034853" sldId="304"/>
            <ac:graphicFrameMk id="8" creationId="{DE3DCACD-F17C-A787-C6CA-F721C7B2A050}"/>
          </ac:graphicFrameMkLst>
        </pc:graphicFrameChg>
      </pc:sldChg>
      <pc:sldChg chg="modSp mod">
        <pc:chgData name="CLAUDIA ELIZABETH ROESSING ROCHA" userId="98c9b574-0003-4444-8361-b3d2c09fda2f" providerId="ADAL" clId="{D2BC25FC-0C39-45AB-8B74-851B6F5A4959}" dt="2024-03-07T16:26:54.534" v="4287" actId="20577"/>
        <pc:sldMkLst>
          <pc:docMk/>
          <pc:sldMk cId="2249361188" sldId="307"/>
        </pc:sldMkLst>
        <pc:graphicFrameChg chg="modGraphic">
          <ac:chgData name="CLAUDIA ELIZABETH ROESSING ROCHA" userId="98c9b574-0003-4444-8361-b3d2c09fda2f" providerId="ADAL" clId="{D2BC25FC-0C39-45AB-8B74-851B6F5A4959}" dt="2024-03-07T16:26:54.534" v="4287" actId="20577"/>
          <ac:graphicFrameMkLst>
            <pc:docMk/>
            <pc:sldMk cId="2249361188" sldId="307"/>
            <ac:graphicFrameMk id="5" creationId="{7CE24152-5BA9-28E4-0396-74444281070B}"/>
          </ac:graphicFrameMkLst>
        </pc:graphicFrameChg>
      </pc:sldChg>
      <pc:sldChg chg="addSp delSp modSp mod">
        <pc:chgData name="CLAUDIA ELIZABETH ROESSING ROCHA" userId="98c9b574-0003-4444-8361-b3d2c09fda2f" providerId="ADAL" clId="{D2BC25FC-0C39-45AB-8B74-851B6F5A4959}" dt="2024-03-05T14:56:36.218" v="4256" actId="1076"/>
        <pc:sldMkLst>
          <pc:docMk/>
          <pc:sldMk cId="1082506310" sldId="310"/>
        </pc:sldMkLst>
        <pc:spChg chg="mod">
          <ac:chgData name="CLAUDIA ELIZABETH ROESSING ROCHA" userId="98c9b574-0003-4444-8361-b3d2c09fda2f" providerId="ADAL" clId="{D2BC25FC-0C39-45AB-8B74-851B6F5A4959}" dt="2024-03-05T13:31:37.915" v="3890" actId="20577"/>
          <ac:spMkLst>
            <pc:docMk/>
            <pc:sldMk cId="1082506310" sldId="310"/>
            <ac:spMk id="2" creationId="{9B35963D-A000-CD00-143E-BBC321DEDDDB}"/>
          </ac:spMkLst>
        </pc:spChg>
        <pc:spChg chg="del mod">
          <ac:chgData name="CLAUDIA ELIZABETH ROESSING ROCHA" userId="98c9b574-0003-4444-8361-b3d2c09fda2f" providerId="ADAL" clId="{D2BC25FC-0C39-45AB-8B74-851B6F5A4959}" dt="2024-03-05T13:30:39.686" v="3867" actId="478"/>
          <ac:spMkLst>
            <pc:docMk/>
            <pc:sldMk cId="1082506310" sldId="310"/>
            <ac:spMk id="5" creationId="{4D35A7EE-B521-0A91-38A0-C0E2CF034E9A}"/>
          </ac:spMkLst>
        </pc:spChg>
        <pc:spChg chg="add del mod">
          <ac:chgData name="CLAUDIA ELIZABETH ROESSING ROCHA" userId="98c9b574-0003-4444-8361-b3d2c09fda2f" providerId="ADAL" clId="{D2BC25FC-0C39-45AB-8B74-851B6F5A4959}" dt="2024-03-05T14:56:15.734" v="4252" actId="1076"/>
          <ac:spMkLst>
            <pc:docMk/>
            <pc:sldMk cId="1082506310" sldId="310"/>
            <ac:spMk id="7" creationId="{9B1507AC-345B-8858-492F-390AFA5E7CEE}"/>
          </ac:spMkLst>
        </pc:spChg>
        <pc:spChg chg="add mod">
          <ac:chgData name="CLAUDIA ELIZABETH ROESSING ROCHA" userId="98c9b574-0003-4444-8361-b3d2c09fda2f" providerId="ADAL" clId="{D2BC25FC-0C39-45AB-8B74-851B6F5A4959}" dt="2024-03-05T14:56:36.218" v="4256" actId="1076"/>
          <ac:spMkLst>
            <pc:docMk/>
            <pc:sldMk cId="1082506310" sldId="310"/>
            <ac:spMk id="8" creationId="{EC7D2048-4DE8-3E4B-92AA-65B37A8FB921}"/>
          </ac:spMkLst>
        </pc:spChg>
        <pc:spChg chg="mod">
          <ac:chgData name="CLAUDIA ELIZABETH ROESSING ROCHA" userId="98c9b574-0003-4444-8361-b3d2c09fda2f" providerId="ADAL" clId="{D2BC25FC-0C39-45AB-8B74-851B6F5A4959}" dt="2024-03-05T00:16:38.301" v="3794" actId="1076"/>
          <ac:spMkLst>
            <pc:docMk/>
            <pc:sldMk cId="1082506310" sldId="310"/>
            <ac:spMk id="9" creationId="{F7D11CA9-4D9A-0382-6054-DA67EFEE7461}"/>
          </ac:spMkLst>
        </pc:spChg>
        <pc:graphicFrameChg chg="del mod modGraphic">
          <ac:chgData name="CLAUDIA ELIZABETH ROESSING ROCHA" userId="98c9b574-0003-4444-8361-b3d2c09fda2f" providerId="ADAL" clId="{D2BC25FC-0C39-45AB-8B74-851B6F5A4959}" dt="2024-03-05T13:31:58.157" v="3902" actId="478"/>
          <ac:graphicFrameMkLst>
            <pc:docMk/>
            <pc:sldMk cId="1082506310" sldId="310"/>
            <ac:graphicFrameMk id="3" creationId="{3BC672DD-E4BC-76CF-2F58-E6144C1A86E0}"/>
          </ac:graphicFrameMkLst>
        </pc:graphicFrameChg>
        <pc:graphicFrameChg chg="add mod modGraphic">
          <ac:chgData name="CLAUDIA ELIZABETH ROESSING ROCHA" userId="98c9b574-0003-4444-8361-b3d2c09fda2f" providerId="ADAL" clId="{D2BC25FC-0C39-45AB-8B74-851B6F5A4959}" dt="2024-03-05T14:56:30.012" v="4255" actId="1076"/>
          <ac:graphicFrameMkLst>
            <pc:docMk/>
            <pc:sldMk cId="1082506310" sldId="310"/>
            <ac:graphicFrameMk id="10" creationId="{B26EAE42-346C-9AD6-4D4F-358FF46BE2DB}"/>
          </ac:graphicFrameMkLst>
        </pc:graphicFrameChg>
        <pc:graphicFrameChg chg="add mod modGraphic">
          <ac:chgData name="CLAUDIA ELIZABETH ROESSING ROCHA" userId="98c9b574-0003-4444-8361-b3d2c09fda2f" providerId="ADAL" clId="{D2BC25FC-0C39-45AB-8B74-851B6F5A4959}" dt="2024-03-05T14:56:24.244" v="4254" actId="1076"/>
          <ac:graphicFrameMkLst>
            <pc:docMk/>
            <pc:sldMk cId="1082506310" sldId="310"/>
            <ac:graphicFrameMk id="11" creationId="{8F14D152-D3A4-F20C-575B-D1D5886A1D1A}"/>
          </ac:graphicFrameMkLst>
        </pc:graphicFrameChg>
      </pc:sldChg>
      <pc:sldChg chg="add del ord">
        <pc:chgData name="CLAUDIA ELIZABETH ROESSING ROCHA" userId="98c9b574-0003-4444-8361-b3d2c09fda2f" providerId="ADAL" clId="{D2BC25FC-0C39-45AB-8B74-851B6F5A4959}" dt="2024-03-05T14:57:44.699" v="4257" actId="47"/>
        <pc:sldMkLst>
          <pc:docMk/>
          <pc:sldMk cId="382050463" sldId="311"/>
        </pc:sldMkLst>
      </pc:sldChg>
    </pc:docChg>
  </pc:docChgLst>
  <pc:docChgLst>
    <pc:chgData name="CLAUDIA ELIZABETH ROESSING ROCHA" userId="98c9b574-0003-4444-8361-b3d2c09fda2f" providerId="ADAL" clId="{4C3FA731-FE59-4B03-8A34-21D20CAEAA1D}"/>
    <pc:docChg chg="custSel delSld modSld">
      <pc:chgData name="CLAUDIA ELIZABETH ROESSING ROCHA" userId="98c9b574-0003-4444-8361-b3d2c09fda2f" providerId="ADAL" clId="{4C3FA731-FE59-4B03-8A34-21D20CAEAA1D}" dt="2024-03-28T18:45:32.576" v="339" actId="20577"/>
      <pc:docMkLst>
        <pc:docMk/>
      </pc:docMkLst>
      <pc:sldChg chg="modSp mod">
        <pc:chgData name="CLAUDIA ELIZABETH ROESSING ROCHA" userId="98c9b574-0003-4444-8361-b3d2c09fda2f" providerId="ADAL" clId="{4C3FA731-FE59-4B03-8A34-21D20CAEAA1D}" dt="2024-03-28T18:35:11.395" v="36" actId="6549"/>
        <pc:sldMkLst>
          <pc:docMk/>
          <pc:sldMk cId="2316013928" sldId="257"/>
        </pc:sldMkLst>
        <pc:spChg chg="mod">
          <ac:chgData name="CLAUDIA ELIZABETH ROESSING ROCHA" userId="98c9b574-0003-4444-8361-b3d2c09fda2f" providerId="ADAL" clId="{4C3FA731-FE59-4B03-8A34-21D20CAEAA1D}" dt="2024-03-28T18:35:11.395" v="36" actId="6549"/>
          <ac:spMkLst>
            <pc:docMk/>
            <pc:sldMk cId="2316013928" sldId="257"/>
            <ac:spMk id="3" creationId="{CA5C4010-508F-9CAD-D00A-E64153694D24}"/>
          </ac:spMkLst>
        </pc:spChg>
      </pc:sldChg>
      <pc:sldChg chg="del">
        <pc:chgData name="CLAUDIA ELIZABETH ROESSING ROCHA" userId="98c9b574-0003-4444-8361-b3d2c09fda2f" providerId="ADAL" clId="{4C3FA731-FE59-4B03-8A34-21D20CAEAA1D}" dt="2024-03-28T18:31:58.860" v="2" actId="47"/>
        <pc:sldMkLst>
          <pc:docMk/>
          <pc:sldMk cId="869432526" sldId="261"/>
        </pc:sldMkLst>
      </pc:sldChg>
      <pc:sldChg chg="delSp modSp mod">
        <pc:chgData name="CLAUDIA ELIZABETH ROESSING ROCHA" userId="98c9b574-0003-4444-8361-b3d2c09fda2f" providerId="ADAL" clId="{4C3FA731-FE59-4B03-8A34-21D20CAEAA1D}" dt="2024-03-28T18:41:55.688" v="328" actId="1076"/>
        <pc:sldMkLst>
          <pc:docMk/>
          <pc:sldMk cId="257230532" sldId="262"/>
        </pc:sldMkLst>
        <pc:spChg chg="del">
          <ac:chgData name="CLAUDIA ELIZABETH ROESSING ROCHA" userId="98c9b574-0003-4444-8361-b3d2c09fda2f" providerId="ADAL" clId="{4C3FA731-FE59-4B03-8A34-21D20CAEAA1D}" dt="2024-03-28T18:31:47.352" v="0" actId="478"/>
          <ac:spMkLst>
            <pc:docMk/>
            <pc:sldMk cId="257230532" sldId="262"/>
            <ac:spMk id="3" creationId="{4B8EC43D-AF2F-6DBD-063B-404B86CCF03C}"/>
          </ac:spMkLst>
        </pc:spChg>
        <pc:spChg chg="mod">
          <ac:chgData name="CLAUDIA ELIZABETH ROESSING ROCHA" userId="98c9b574-0003-4444-8361-b3d2c09fda2f" providerId="ADAL" clId="{4C3FA731-FE59-4B03-8A34-21D20CAEAA1D}" dt="2024-03-28T18:41:55.688" v="328" actId="1076"/>
          <ac:spMkLst>
            <pc:docMk/>
            <pc:sldMk cId="257230532" sldId="262"/>
            <ac:spMk id="4" creationId="{EB991902-441B-E88F-F8F3-2426DCE10B09}"/>
          </ac:spMkLst>
        </pc:spChg>
      </pc:sldChg>
      <pc:sldChg chg="del">
        <pc:chgData name="CLAUDIA ELIZABETH ROESSING ROCHA" userId="98c9b574-0003-4444-8361-b3d2c09fda2f" providerId="ADAL" clId="{4C3FA731-FE59-4B03-8A34-21D20CAEAA1D}" dt="2024-03-28T18:33:28.806" v="11" actId="47"/>
        <pc:sldMkLst>
          <pc:docMk/>
          <pc:sldMk cId="1215672095" sldId="264"/>
        </pc:sldMkLst>
      </pc:sldChg>
      <pc:sldChg chg="del">
        <pc:chgData name="CLAUDIA ELIZABETH ROESSING ROCHA" userId="98c9b574-0003-4444-8361-b3d2c09fda2f" providerId="ADAL" clId="{4C3FA731-FE59-4B03-8A34-21D20CAEAA1D}" dt="2024-03-28T18:36:27.020" v="87" actId="47"/>
        <pc:sldMkLst>
          <pc:docMk/>
          <pc:sldMk cId="594921248" sldId="266"/>
        </pc:sldMkLst>
      </pc:sldChg>
      <pc:sldChg chg="del">
        <pc:chgData name="CLAUDIA ELIZABETH ROESSING ROCHA" userId="98c9b574-0003-4444-8361-b3d2c09fda2f" providerId="ADAL" clId="{4C3FA731-FE59-4B03-8A34-21D20CAEAA1D}" dt="2024-03-28T18:33:52.011" v="14" actId="47"/>
        <pc:sldMkLst>
          <pc:docMk/>
          <pc:sldMk cId="1872562337" sldId="268"/>
        </pc:sldMkLst>
      </pc:sldChg>
      <pc:sldChg chg="modSp mod">
        <pc:chgData name="CLAUDIA ELIZABETH ROESSING ROCHA" userId="98c9b574-0003-4444-8361-b3d2c09fda2f" providerId="ADAL" clId="{4C3FA731-FE59-4B03-8A34-21D20CAEAA1D}" dt="2024-03-28T18:45:32.576" v="339" actId="20577"/>
        <pc:sldMkLst>
          <pc:docMk/>
          <pc:sldMk cId="2251601990" sldId="269"/>
        </pc:sldMkLst>
        <pc:spChg chg="mod">
          <ac:chgData name="CLAUDIA ELIZABETH ROESSING ROCHA" userId="98c9b574-0003-4444-8361-b3d2c09fda2f" providerId="ADAL" clId="{4C3FA731-FE59-4B03-8A34-21D20CAEAA1D}" dt="2024-03-28T18:45:32.576" v="339" actId="20577"/>
          <ac:spMkLst>
            <pc:docMk/>
            <pc:sldMk cId="2251601990" sldId="269"/>
            <ac:spMk id="2" creationId="{7539F05F-C142-98B8-670B-89B688B4236B}"/>
          </ac:spMkLst>
        </pc:spChg>
        <pc:spChg chg="mod">
          <ac:chgData name="CLAUDIA ELIZABETH ROESSING ROCHA" userId="98c9b574-0003-4444-8361-b3d2c09fda2f" providerId="ADAL" clId="{4C3FA731-FE59-4B03-8A34-21D20CAEAA1D}" dt="2024-03-28T18:43:53.061" v="331" actId="6549"/>
          <ac:spMkLst>
            <pc:docMk/>
            <pc:sldMk cId="2251601990" sldId="269"/>
            <ac:spMk id="3" creationId="{728B339F-8569-E916-35A7-1DBD0568EBC5}"/>
          </ac:spMkLst>
        </pc:spChg>
      </pc:sldChg>
      <pc:sldChg chg="del">
        <pc:chgData name="CLAUDIA ELIZABETH ROESSING ROCHA" userId="98c9b574-0003-4444-8361-b3d2c09fda2f" providerId="ADAL" clId="{4C3FA731-FE59-4B03-8A34-21D20CAEAA1D}" dt="2024-03-28T18:36:46.887" v="90" actId="47"/>
        <pc:sldMkLst>
          <pc:docMk/>
          <pc:sldMk cId="1699077570" sldId="276"/>
        </pc:sldMkLst>
      </pc:sldChg>
      <pc:sldChg chg="del">
        <pc:chgData name="CLAUDIA ELIZABETH ROESSING ROCHA" userId="98c9b574-0003-4444-8361-b3d2c09fda2f" providerId="ADAL" clId="{4C3FA731-FE59-4B03-8A34-21D20CAEAA1D}" dt="2024-03-28T18:33:33.106" v="12" actId="47"/>
        <pc:sldMkLst>
          <pc:docMk/>
          <pc:sldMk cId="2883095463" sldId="279"/>
        </pc:sldMkLst>
      </pc:sldChg>
      <pc:sldChg chg="del">
        <pc:chgData name="CLAUDIA ELIZABETH ROESSING ROCHA" userId="98c9b574-0003-4444-8361-b3d2c09fda2f" providerId="ADAL" clId="{4C3FA731-FE59-4B03-8A34-21D20CAEAA1D}" dt="2024-03-28T18:32:09.434" v="8" actId="47"/>
        <pc:sldMkLst>
          <pc:docMk/>
          <pc:sldMk cId="1999478384" sldId="281"/>
        </pc:sldMkLst>
      </pc:sldChg>
      <pc:sldChg chg="del">
        <pc:chgData name="CLAUDIA ELIZABETH ROESSING ROCHA" userId="98c9b574-0003-4444-8361-b3d2c09fda2f" providerId="ADAL" clId="{4C3FA731-FE59-4B03-8A34-21D20CAEAA1D}" dt="2024-03-28T18:41:34.089" v="325" actId="47"/>
        <pc:sldMkLst>
          <pc:docMk/>
          <pc:sldMk cId="2612890302" sldId="282"/>
        </pc:sldMkLst>
      </pc:sldChg>
      <pc:sldChg chg="del">
        <pc:chgData name="CLAUDIA ELIZABETH ROESSING ROCHA" userId="98c9b574-0003-4444-8361-b3d2c09fda2f" providerId="ADAL" clId="{4C3FA731-FE59-4B03-8A34-21D20CAEAA1D}" dt="2024-03-28T18:32:06.293" v="6" actId="47"/>
        <pc:sldMkLst>
          <pc:docMk/>
          <pc:sldMk cId="154732435" sldId="283"/>
        </pc:sldMkLst>
      </pc:sldChg>
      <pc:sldChg chg="del">
        <pc:chgData name="CLAUDIA ELIZABETH ROESSING ROCHA" userId="98c9b574-0003-4444-8361-b3d2c09fda2f" providerId="ADAL" clId="{4C3FA731-FE59-4B03-8A34-21D20CAEAA1D}" dt="2024-03-28T18:31:58.076" v="1" actId="47"/>
        <pc:sldMkLst>
          <pc:docMk/>
          <pc:sldMk cId="3123340584" sldId="284"/>
        </pc:sldMkLst>
      </pc:sldChg>
      <pc:sldChg chg="del">
        <pc:chgData name="CLAUDIA ELIZABETH ROESSING ROCHA" userId="98c9b574-0003-4444-8361-b3d2c09fda2f" providerId="ADAL" clId="{4C3FA731-FE59-4B03-8A34-21D20CAEAA1D}" dt="2024-03-28T18:41:27.109" v="323" actId="47"/>
        <pc:sldMkLst>
          <pc:docMk/>
          <pc:sldMk cId="3753655892" sldId="285"/>
        </pc:sldMkLst>
      </pc:sldChg>
      <pc:sldChg chg="del">
        <pc:chgData name="CLAUDIA ELIZABETH ROESSING ROCHA" userId="98c9b574-0003-4444-8361-b3d2c09fda2f" providerId="ADAL" clId="{4C3FA731-FE59-4B03-8A34-21D20CAEAA1D}" dt="2024-03-28T18:35:25.177" v="37" actId="47"/>
        <pc:sldMkLst>
          <pc:docMk/>
          <pc:sldMk cId="2197748877" sldId="288"/>
        </pc:sldMkLst>
      </pc:sldChg>
      <pc:sldChg chg="del">
        <pc:chgData name="CLAUDIA ELIZABETH ROESSING ROCHA" userId="98c9b574-0003-4444-8361-b3d2c09fda2f" providerId="ADAL" clId="{4C3FA731-FE59-4B03-8A34-21D20CAEAA1D}" dt="2024-03-28T18:32:00.757" v="4" actId="47"/>
        <pc:sldMkLst>
          <pc:docMk/>
          <pc:sldMk cId="2875068504" sldId="289"/>
        </pc:sldMkLst>
      </pc:sldChg>
      <pc:sldChg chg="del">
        <pc:chgData name="CLAUDIA ELIZABETH ROESSING ROCHA" userId="98c9b574-0003-4444-8361-b3d2c09fda2f" providerId="ADAL" clId="{4C3FA731-FE59-4B03-8A34-21D20CAEAA1D}" dt="2024-03-28T18:31:59.827" v="3" actId="47"/>
        <pc:sldMkLst>
          <pc:docMk/>
          <pc:sldMk cId="2229187521" sldId="292"/>
        </pc:sldMkLst>
      </pc:sldChg>
      <pc:sldChg chg="del">
        <pc:chgData name="CLAUDIA ELIZABETH ROESSING ROCHA" userId="98c9b574-0003-4444-8361-b3d2c09fda2f" providerId="ADAL" clId="{4C3FA731-FE59-4B03-8A34-21D20CAEAA1D}" dt="2024-03-28T18:36:38.442" v="89" actId="47"/>
        <pc:sldMkLst>
          <pc:docMk/>
          <pc:sldMk cId="44390897" sldId="295"/>
        </pc:sldMkLst>
      </pc:sldChg>
      <pc:sldChg chg="del">
        <pc:chgData name="CLAUDIA ELIZABETH ROESSING ROCHA" userId="98c9b574-0003-4444-8361-b3d2c09fda2f" providerId="ADAL" clId="{4C3FA731-FE59-4B03-8A34-21D20CAEAA1D}" dt="2024-03-28T18:42:09.819" v="330" actId="47"/>
        <pc:sldMkLst>
          <pc:docMk/>
          <pc:sldMk cId="3974036983" sldId="297"/>
        </pc:sldMkLst>
      </pc:sldChg>
      <pc:sldChg chg="del">
        <pc:chgData name="CLAUDIA ELIZABETH ROESSING ROCHA" userId="98c9b574-0003-4444-8361-b3d2c09fda2f" providerId="ADAL" clId="{4C3FA731-FE59-4B03-8A34-21D20CAEAA1D}" dt="2024-03-28T18:41:47.458" v="326" actId="47"/>
        <pc:sldMkLst>
          <pc:docMk/>
          <pc:sldMk cId="1527148310" sldId="298"/>
        </pc:sldMkLst>
      </pc:sldChg>
      <pc:sldChg chg="del">
        <pc:chgData name="CLAUDIA ELIZABETH ROESSING ROCHA" userId="98c9b574-0003-4444-8361-b3d2c09fda2f" providerId="ADAL" clId="{4C3FA731-FE59-4B03-8A34-21D20CAEAA1D}" dt="2024-03-28T18:32:01.547" v="5" actId="47"/>
        <pc:sldMkLst>
          <pc:docMk/>
          <pc:sldMk cId="615066272" sldId="301"/>
        </pc:sldMkLst>
      </pc:sldChg>
      <pc:sldChg chg="del">
        <pc:chgData name="CLAUDIA ELIZABETH ROESSING ROCHA" userId="98c9b574-0003-4444-8361-b3d2c09fda2f" providerId="ADAL" clId="{4C3FA731-FE59-4B03-8A34-21D20CAEAA1D}" dt="2024-03-28T18:36:32.163" v="88" actId="47"/>
        <pc:sldMkLst>
          <pc:docMk/>
          <pc:sldMk cId="3994924479" sldId="303"/>
        </pc:sldMkLst>
      </pc:sldChg>
      <pc:sldChg chg="del">
        <pc:chgData name="CLAUDIA ELIZABETH ROESSING ROCHA" userId="98c9b574-0003-4444-8361-b3d2c09fda2f" providerId="ADAL" clId="{4C3FA731-FE59-4B03-8A34-21D20CAEAA1D}" dt="2024-03-28T18:41:25.414" v="322" actId="47"/>
        <pc:sldMkLst>
          <pc:docMk/>
          <pc:sldMk cId="1728034853" sldId="304"/>
        </pc:sldMkLst>
      </pc:sldChg>
      <pc:sldChg chg="del">
        <pc:chgData name="CLAUDIA ELIZABETH ROESSING ROCHA" userId="98c9b574-0003-4444-8361-b3d2c09fda2f" providerId="ADAL" clId="{4C3FA731-FE59-4B03-8A34-21D20CAEAA1D}" dt="2024-03-28T18:32:16.628" v="10" actId="47"/>
        <pc:sldMkLst>
          <pc:docMk/>
          <pc:sldMk cId="4041491581" sldId="305"/>
        </pc:sldMkLst>
      </pc:sldChg>
      <pc:sldChg chg="del">
        <pc:chgData name="CLAUDIA ELIZABETH ROESSING ROCHA" userId="98c9b574-0003-4444-8361-b3d2c09fda2f" providerId="ADAL" clId="{4C3FA731-FE59-4B03-8A34-21D20CAEAA1D}" dt="2024-03-28T18:41:48.438" v="327" actId="47"/>
        <pc:sldMkLst>
          <pc:docMk/>
          <pc:sldMk cId="463993074" sldId="306"/>
        </pc:sldMkLst>
      </pc:sldChg>
      <pc:sldChg chg="del">
        <pc:chgData name="CLAUDIA ELIZABETH ROESSING ROCHA" userId="98c9b574-0003-4444-8361-b3d2c09fda2f" providerId="ADAL" clId="{4C3FA731-FE59-4B03-8A34-21D20CAEAA1D}" dt="2024-03-28T18:32:08.239" v="7" actId="47"/>
        <pc:sldMkLst>
          <pc:docMk/>
          <pc:sldMk cId="2249361188" sldId="307"/>
        </pc:sldMkLst>
      </pc:sldChg>
      <pc:sldChg chg="del">
        <pc:chgData name="CLAUDIA ELIZABETH ROESSING ROCHA" userId="98c9b574-0003-4444-8361-b3d2c09fda2f" providerId="ADAL" clId="{4C3FA731-FE59-4B03-8A34-21D20CAEAA1D}" dt="2024-03-28T18:32:10.909" v="9" actId="47"/>
        <pc:sldMkLst>
          <pc:docMk/>
          <pc:sldMk cId="4233022412" sldId="308"/>
        </pc:sldMkLst>
      </pc:sldChg>
      <pc:sldChg chg="del">
        <pc:chgData name="CLAUDIA ELIZABETH ROESSING ROCHA" userId="98c9b574-0003-4444-8361-b3d2c09fda2f" providerId="ADAL" clId="{4C3FA731-FE59-4B03-8A34-21D20CAEAA1D}" dt="2024-03-28T18:42:07.330" v="329" actId="47"/>
        <pc:sldMkLst>
          <pc:docMk/>
          <pc:sldMk cId="2117262705" sldId="309"/>
        </pc:sldMkLst>
      </pc:sldChg>
      <pc:sldChg chg="del">
        <pc:chgData name="CLAUDIA ELIZABETH ROESSING ROCHA" userId="98c9b574-0003-4444-8361-b3d2c09fda2f" providerId="ADAL" clId="{4C3FA731-FE59-4B03-8A34-21D20CAEAA1D}" dt="2024-03-28T18:41:29.402" v="324" actId="47"/>
        <pc:sldMkLst>
          <pc:docMk/>
          <pc:sldMk cId="1082506310" sldId="310"/>
        </pc:sldMkLst>
      </pc:sldChg>
    </pc:docChg>
  </pc:docChgLst>
  <pc:docChgLst>
    <pc:chgData name="CLAUDIA ELIZABETH ROESSING ROCHA" userId="98c9b574-0003-4444-8361-b3d2c09fda2f" providerId="ADAL" clId="{C2DEE46B-E9C7-4192-9998-C417E9419807}"/>
    <pc:docChg chg="addSld">
      <pc:chgData name="CLAUDIA ELIZABETH ROESSING ROCHA" userId="98c9b574-0003-4444-8361-b3d2c09fda2f" providerId="ADAL" clId="{C2DEE46B-E9C7-4192-9998-C417E9419807}" dt="2024-01-30T20:58:16.318" v="0" actId="680"/>
      <pc:docMkLst>
        <pc:docMk/>
      </pc:docMkLst>
      <pc:sldChg chg="new">
        <pc:chgData name="CLAUDIA ELIZABETH ROESSING ROCHA" userId="98c9b574-0003-4444-8361-b3d2c09fda2f" providerId="ADAL" clId="{C2DEE46B-E9C7-4192-9998-C417E9419807}" dt="2024-01-30T20:58:16.318" v="0" actId="680"/>
        <pc:sldMkLst>
          <pc:docMk/>
          <pc:sldMk cId="2316013928" sldId="257"/>
        </pc:sldMkLst>
      </pc:sldChg>
    </pc:docChg>
  </pc:docChgLst>
  <pc:docChgLst>
    <pc:chgData name="Paul Heynen" userId="ca67d4eb-dae5-4ee3-85df-375cd24c91ea" providerId="ADAL" clId="{186D5C13-729C-4291-A238-06C6917B823D}"/>
    <pc:docChg chg="custSel addSld delSld modSld modMainMaster replTag">
      <pc:chgData name="Paul Heynen" userId="ca67d4eb-dae5-4ee3-85df-375cd24c91ea" providerId="ADAL" clId="{186D5C13-729C-4291-A238-06C6917B823D}" dt="2021-10-23T17:10:30.878" v="75" actId="47"/>
      <pc:docMkLst>
        <pc:docMk/>
      </pc:docMkLst>
      <pc:sldChg chg="new add">
        <pc:chgData name="Paul Heynen" userId="ca67d4eb-dae5-4ee3-85df-375cd24c91ea" providerId="ADAL" clId="{186D5C13-729C-4291-A238-06C6917B823D}" dt="2021-09-30T13:37:51.958" v="1"/>
        <pc:sldMkLst>
          <pc:docMk/>
          <pc:sldMk cId="2716902829" sldId="256"/>
        </pc:sldMkLst>
      </pc:sldChg>
      <pc:sldChg chg="new add del">
        <pc:chgData name="Paul Heynen" userId="ca67d4eb-dae5-4ee3-85df-375cd24c91ea" providerId="ADAL" clId="{186D5C13-729C-4291-A238-06C6917B823D}" dt="2021-10-23T16:40:01.788" v="69" actId="2696"/>
        <pc:sldMkLst>
          <pc:docMk/>
          <pc:sldMk cId="2306693164" sldId="257"/>
        </pc:sldMkLst>
      </pc:sldChg>
      <pc:sldChg chg="delSp add del mod">
        <pc:chgData name="Paul Heynen" userId="ca67d4eb-dae5-4ee3-85df-375cd24c91ea" providerId="ADAL" clId="{186D5C13-729C-4291-A238-06C6917B823D}" dt="2021-10-23T17:10:30.055" v="74" actId="47"/>
        <pc:sldMkLst>
          <pc:docMk/>
          <pc:sldMk cId="3896950122" sldId="3923"/>
        </pc:sldMkLst>
        <pc:spChg chg="del">
          <ac:chgData name="Paul Heynen" userId="ca67d4eb-dae5-4ee3-85df-375cd24c91ea" providerId="ADAL" clId="{186D5C13-729C-4291-A238-06C6917B823D}" dt="2021-10-23T16:39:53.196" v="68" actId="478"/>
          <ac:spMkLst>
            <pc:docMk/>
            <pc:sldMk cId="3896950122" sldId="3923"/>
            <ac:spMk id="46" creationId="{866EC3A8-353A-4BBE-9E3C-3BABC9005C97}"/>
          </ac:spMkLst>
        </pc:spChg>
        <pc:grpChg chg="del">
          <ac:chgData name="Paul Heynen" userId="ca67d4eb-dae5-4ee3-85df-375cd24c91ea" providerId="ADAL" clId="{186D5C13-729C-4291-A238-06C6917B823D}" dt="2021-10-23T16:39:50.564" v="67" actId="478"/>
          <ac:grpSpMkLst>
            <pc:docMk/>
            <pc:sldMk cId="3896950122" sldId="3923"/>
            <ac:grpSpMk id="5" creationId="{E6D7A411-64CC-48E2-B4CF-5CADBB101D17}"/>
          </ac:grpSpMkLst>
        </pc:grpChg>
      </pc:sldChg>
      <pc:sldChg chg="add del">
        <pc:chgData name="Paul Heynen" userId="ca67d4eb-dae5-4ee3-85df-375cd24c91ea" providerId="ADAL" clId="{186D5C13-729C-4291-A238-06C6917B823D}" dt="2021-10-23T17:10:30.878" v="75" actId="47"/>
        <pc:sldMkLst>
          <pc:docMk/>
          <pc:sldMk cId="1154477831" sldId="3926"/>
        </pc:sldMkLst>
      </pc:sldChg>
      <pc:sldChg chg="addSp delSp modSp add del mod modClrScheme chgLayout">
        <pc:chgData name="Paul Heynen" userId="ca67d4eb-dae5-4ee3-85df-375cd24c91ea" providerId="ADAL" clId="{186D5C13-729C-4291-A238-06C6917B823D}" dt="2021-10-23T17:10:29.040" v="73" actId="47"/>
        <pc:sldMkLst>
          <pc:docMk/>
          <pc:sldMk cId="2122494157" sldId="3927"/>
        </pc:sldMkLst>
        <pc:spChg chg="add del mod modVis">
          <ac:chgData name="Paul Heynen" userId="ca67d4eb-dae5-4ee3-85df-375cd24c91ea" providerId="ADAL" clId="{186D5C13-729C-4291-A238-06C6917B823D}" dt="2021-10-23T16:38:38.422" v="47"/>
          <ac:spMkLst>
            <pc:docMk/>
            <pc:sldMk cId="2122494157" sldId="3927"/>
            <ac:spMk id="2" creationId="{7FF81649-320E-4559-AB24-C1D333BA644C}"/>
          </ac:spMkLst>
        </pc:spChg>
        <pc:spChg chg="mod ord">
          <ac:chgData name="Paul Heynen" userId="ca67d4eb-dae5-4ee3-85df-375cd24c91ea" providerId="ADAL" clId="{186D5C13-729C-4291-A238-06C6917B823D}" dt="2021-10-23T16:38:38.361" v="7" actId="948"/>
          <ac:spMkLst>
            <pc:docMk/>
            <pc:sldMk cId="2122494157" sldId="3927"/>
            <ac:spMk id="3" creationId="{9D6D4967-4CE6-4219-9984-2FA6EEE349DE}"/>
          </ac:spMkLst>
        </pc:spChg>
        <pc:spChg chg="del">
          <ac:chgData name="Paul Heynen" userId="ca67d4eb-dae5-4ee3-85df-375cd24c91ea" providerId="ADAL" clId="{186D5C13-729C-4291-A238-06C6917B823D}" dt="2021-10-23T16:45:32.758" v="71" actId="478"/>
          <ac:spMkLst>
            <pc:docMk/>
            <pc:sldMk cId="2122494157" sldId="3927"/>
            <ac:spMk id="33" creationId="{2663A0D1-03A2-4945-84F9-6FF5E3A045D7}"/>
          </ac:spMkLst>
        </pc:spChg>
        <pc:spChg chg="mod ord">
          <ac:chgData name="Paul Heynen" userId="ca67d4eb-dae5-4ee3-85df-375cd24c91ea" providerId="ADAL" clId="{186D5C13-729C-4291-A238-06C6917B823D}" dt="2021-10-23T16:45:44.725" v="72" actId="21"/>
          <ac:spMkLst>
            <pc:docMk/>
            <pc:sldMk cId="2122494157" sldId="3927"/>
            <ac:spMk id="114" creationId="{0BA2BE5D-3EEB-45DD-A831-5272B29F11D0}"/>
          </ac:spMkLst>
        </pc:spChg>
        <pc:spChg chg="del">
          <ac:chgData name="Paul Heynen" userId="ca67d4eb-dae5-4ee3-85df-375cd24c91ea" providerId="ADAL" clId="{186D5C13-729C-4291-A238-06C6917B823D}" dt="2021-10-23T16:45:17.152" v="70" actId="478"/>
          <ac:spMkLst>
            <pc:docMk/>
            <pc:sldMk cId="2122494157" sldId="3927"/>
            <ac:spMk id="171" creationId="{B4385F49-FEF2-418C-B833-B48F211263C7}"/>
          </ac:spMkLst>
        </pc:spChg>
        <pc:grpChg chg="del">
          <ac:chgData name="Paul Heynen" userId="ca67d4eb-dae5-4ee3-85df-375cd24c91ea" providerId="ADAL" clId="{186D5C13-729C-4291-A238-06C6917B823D}" dt="2021-10-23T16:45:32.758" v="71" actId="478"/>
          <ac:grpSpMkLst>
            <pc:docMk/>
            <pc:sldMk cId="2122494157" sldId="3927"/>
            <ac:grpSpMk id="27" creationId="{B7633902-1DAE-46EB-94A1-0E307364701F}"/>
          </ac:grpSpMkLst>
        </pc:grpChg>
        <pc:graphicFrameChg chg="add mod ord modVis replST">
          <ac:chgData name="Paul Heynen" userId="ca67d4eb-dae5-4ee3-85df-375cd24c91ea" providerId="ADAL" clId="{186D5C13-729C-4291-A238-06C6917B823D}" dt="2021-10-23T16:38:38.453" v="63"/>
          <ac:graphicFrameMkLst>
            <pc:docMk/>
            <pc:sldMk cId="2122494157" sldId="3927"/>
            <ac:graphicFrameMk id="5" creationId="{F3FB057A-71A0-4864-848A-EDC0FBD98F6F}"/>
          </ac:graphicFrameMkLst>
        </pc:graphicFrameChg>
        <pc:cxnChg chg="del">
          <ac:chgData name="Paul Heynen" userId="ca67d4eb-dae5-4ee3-85df-375cd24c91ea" providerId="ADAL" clId="{186D5C13-729C-4291-A238-06C6917B823D}" dt="2021-10-23T16:45:17.152" v="70" actId="478"/>
          <ac:cxnSpMkLst>
            <pc:docMk/>
            <pc:sldMk cId="2122494157" sldId="3927"/>
            <ac:cxnSpMk id="170" creationId="{DEBE4764-F5EA-4DA5-AF7A-402D6889F8B0}"/>
          </ac:cxnSpMkLst>
        </pc:cxnChg>
        <pc:cxnChg chg="del">
          <ac:chgData name="Paul Heynen" userId="ca67d4eb-dae5-4ee3-85df-375cd24c91ea" providerId="ADAL" clId="{186D5C13-729C-4291-A238-06C6917B823D}" dt="2021-10-23T16:45:17.152" v="70" actId="478"/>
          <ac:cxnSpMkLst>
            <pc:docMk/>
            <pc:sldMk cId="2122494157" sldId="3927"/>
            <ac:cxnSpMk id="172" creationId="{B9CE9294-91A4-42BA-88BE-3894408D2130}"/>
          </ac:cxnSpMkLst>
        </pc:cxnChg>
        <pc:cxnChg chg="del">
          <ac:chgData name="Paul Heynen" userId="ca67d4eb-dae5-4ee3-85df-375cd24c91ea" providerId="ADAL" clId="{186D5C13-729C-4291-A238-06C6917B823D}" dt="2021-10-23T16:45:17.152" v="70" actId="478"/>
          <ac:cxnSpMkLst>
            <pc:docMk/>
            <pc:sldMk cId="2122494157" sldId="3927"/>
            <ac:cxnSpMk id="173" creationId="{44AEAEF0-AFFF-4CF8-9328-1940DCC2E19A}"/>
          </ac:cxnSpMkLst>
        </pc:cxnChg>
      </pc:sldChg>
      <pc:sldMasterChg chg="delSldLayout modSldLayout">
        <pc:chgData name="Paul Heynen" userId="ca67d4eb-dae5-4ee3-85df-375cd24c91ea" providerId="ADAL" clId="{186D5C13-729C-4291-A238-06C6917B823D}" dt="2021-10-23T17:10:30.878" v="75" actId="47"/>
        <pc:sldMasterMkLst>
          <pc:docMk/>
          <pc:sldMasterMk cId="1690031482" sldId="2147483876"/>
        </pc:sldMasterMkLst>
        <pc:sldLayoutChg chg="delSp del mod">
          <pc:chgData name="Paul Heynen" userId="ca67d4eb-dae5-4ee3-85df-375cd24c91ea" providerId="ADAL" clId="{186D5C13-729C-4291-A238-06C6917B823D}" dt="2021-10-23T17:10:30.878" v="75" actId="47"/>
          <pc:sldLayoutMkLst>
            <pc:docMk/>
            <pc:sldMasterMk cId="1690031482" sldId="2147483876"/>
            <pc:sldLayoutMk cId="1456406125" sldId="2147483889"/>
          </pc:sldLayoutMkLst>
          <pc:spChg chg="del">
            <ac:chgData name="Paul Heynen" userId="ca67d4eb-dae5-4ee3-85df-375cd24c91ea" providerId="ADAL" clId="{186D5C13-729C-4291-A238-06C6917B823D}" dt="2021-10-23T16:38:56.283" v="64" actId="478"/>
            <ac:spMkLst>
              <pc:docMk/>
              <pc:sldMasterMk cId="1690031482" sldId="2147483876"/>
              <pc:sldLayoutMk cId="1456406125" sldId="2147483889"/>
              <ac:spMk id="79" creationId="{DE3BC5BB-FE63-4E2F-9583-597C4F5D68A5}"/>
            </ac:spMkLst>
          </pc:spChg>
          <pc:grpChg chg="del">
            <ac:chgData name="Paul Heynen" userId="ca67d4eb-dae5-4ee3-85df-375cd24c91ea" providerId="ADAL" clId="{186D5C13-729C-4291-A238-06C6917B823D}" dt="2021-10-23T16:38:57.716" v="65" actId="478"/>
            <ac:grpSpMkLst>
              <pc:docMk/>
              <pc:sldMasterMk cId="1690031482" sldId="2147483876"/>
              <pc:sldLayoutMk cId="1456406125" sldId="2147483889"/>
              <ac:grpSpMk id="76" creationId="{7D61A5EC-F5F4-4696-91CB-A2079F2BB9A8}"/>
            </ac:grpSpMkLst>
          </pc:grpChg>
          <pc:grpChg chg="del">
            <ac:chgData name="Paul Heynen" userId="ca67d4eb-dae5-4ee3-85df-375cd24c91ea" providerId="ADAL" clId="{186D5C13-729C-4291-A238-06C6917B823D}" dt="2021-10-23T16:38:58.702" v="66" actId="478"/>
            <ac:grpSpMkLst>
              <pc:docMk/>
              <pc:sldMasterMk cId="1690031482" sldId="2147483876"/>
              <pc:sldLayoutMk cId="1456406125" sldId="2147483889"/>
              <ac:grpSpMk id="81" creationId="{E50029CD-31E9-4CE9-8DD0-563CAA89A413}"/>
            </ac:grpSpMkLst>
          </pc:grpChg>
        </pc:sldLayoutChg>
      </pc:sldMasterChg>
    </pc:docChg>
  </pc:docChgLst>
  <pc:docChgLst>
    <pc:chgData name="CLAUDIA ELIZABETH ROESSING ROCHA" userId="98c9b574-0003-4444-8361-b3d2c09fda2f" providerId="ADAL" clId="{A46ACBA0-5AFB-4A5E-A03E-A4B171A49DCA}"/>
    <pc:docChg chg="undo custSel addSld delSld modSld sldOrd">
      <pc:chgData name="CLAUDIA ELIZABETH ROESSING ROCHA" userId="98c9b574-0003-4444-8361-b3d2c09fda2f" providerId="ADAL" clId="{A46ACBA0-5AFB-4A5E-A03E-A4B171A49DCA}" dt="2024-02-26T15:08:59.512" v="5752" actId="478"/>
      <pc:docMkLst>
        <pc:docMk/>
      </pc:docMkLst>
      <pc:sldChg chg="del ord">
        <pc:chgData name="CLAUDIA ELIZABETH ROESSING ROCHA" userId="98c9b574-0003-4444-8361-b3d2c09fda2f" providerId="ADAL" clId="{A46ACBA0-5AFB-4A5E-A03E-A4B171A49DCA}" dt="2024-02-14T19:45:20.372" v="192" actId="2696"/>
        <pc:sldMkLst>
          <pc:docMk/>
          <pc:sldMk cId="2716902829" sldId="256"/>
        </pc:sldMkLst>
      </pc:sldChg>
      <pc:sldChg chg="addSp delSp modSp mod modNotesTx">
        <pc:chgData name="CLAUDIA ELIZABETH ROESSING ROCHA" userId="98c9b574-0003-4444-8361-b3d2c09fda2f" providerId="ADAL" clId="{A46ACBA0-5AFB-4A5E-A03E-A4B171A49DCA}" dt="2024-02-26T15:08:59.512" v="5752" actId="478"/>
        <pc:sldMkLst>
          <pc:docMk/>
          <pc:sldMk cId="2316013928" sldId="257"/>
        </pc:sldMkLst>
        <pc:spChg chg="mod">
          <ac:chgData name="CLAUDIA ELIZABETH ROESSING ROCHA" userId="98c9b574-0003-4444-8361-b3d2c09fda2f" providerId="ADAL" clId="{A46ACBA0-5AFB-4A5E-A03E-A4B171A49DCA}" dt="2024-02-20T21:35:28.419" v="2064" actId="6549"/>
          <ac:spMkLst>
            <pc:docMk/>
            <pc:sldMk cId="2316013928" sldId="257"/>
            <ac:spMk id="2" creationId="{0C343FA9-7A0C-E783-9A3F-53ED8A301F74}"/>
          </ac:spMkLst>
        </pc:spChg>
        <pc:spChg chg="mod">
          <ac:chgData name="CLAUDIA ELIZABETH ROESSING ROCHA" userId="98c9b574-0003-4444-8361-b3d2c09fda2f" providerId="ADAL" clId="{A46ACBA0-5AFB-4A5E-A03E-A4B171A49DCA}" dt="2024-02-22T17:23:27.775" v="4717" actId="20577"/>
          <ac:spMkLst>
            <pc:docMk/>
            <pc:sldMk cId="2316013928" sldId="257"/>
            <ac:spMk id="3" creationId="{CA5C4010-508F-9CAD-D00A-E64153694D24}"/>
          </ac:spMkLst>
        </pc:spChg>
        <pc:spChg chg="add del mod">
          <ac:chgData name="CLAUDIA ELIZABETH ROESSING ROCHA" userId="98c9b574-0003-4444-8361-b3d2c09fda2f" providerId="ADAL" clId="{A46ACBA0-5AFB-4A5E-A03E-A4B171A49DCA}" dt="2024-02-26T15:08:59.512" v="5752" actId="478"/>
          <ac:spMkLst>
            <pc:docMk/>
            <pc:sldMk cId="2316013928" sldId="257"/>
            <ac:spMk id="7" creationId="{8CDF8047-222A-8EF0-C309-CEB1C3334566}"/>
          </ac:spMkLst>
        </pc:spChg>
        <pc:picChg chg="add del mod">
          <ac:chgData name="CLAUDIA ELIZABETH ROESSING ROCHA" userId="98c9b574-0003-4444-8361-b3d2c09fda2f" providerId="ADAL" clId="{A46ACBA0-5AFB-4A5E-A03E-A4B171A49DCA}" dt="2024-02-14T19:48:03.155" v="240" actId="478"/>
          <ac:picMkLst>
            <pc:docMk/>
            <pc:sldMk cId="2316013928" sldId="257"/>
            <ac:picMk id="4" creationId="{F0440BFA-0C06-68E6-00E1-10D26DE461A6}"/>
          </ac:picMkLst>
        </pc:picChg>
        <pc:picChg chg="add del mod">
          <ac:chgData name="CLAUDIA ELIZABETH ROESSING ROCHA" userId="98c9b574-0003-4444-8361-b3d2c09fda2f" providerId="ADAL" clId="{A46ACBA0-5AFB-4A5E-A03E-A4B171A49DCA}" dt="2024-02-14T20:50:10.391" v="299" actId="21"/>
          <ac:picMkLst>
            <pc:docMk/>
            <pc:sldMk cId="2316013928" sldId="257"/>
            <ac:picMk id="6" creationId="{5BF082A1-9484-0FF1-DE66-634F928D8F6B}"/>
          </ac:picMkLst>
        </pc:picChg>
        <pc:picChg chg="add del mod">
          <ac:chgData name="CLAUDIA ELIZABETH ROESSING ROCHA" userId="98c9b574-0003-4444-8361-b3d2c09fda2f" providerId="ADAL" clId="{A46ACBA0-5AFB-4A5E-A03E-A4B171A49DCA}" dt="2024-02-26T15:08:46.021" v="5736" actId="478"/>
          <ac:picMkLst>
            <pc:docMk/>
            <pc:sldMk cId="2316013928" sldId="257"/>
            <ac:picMk id="8" creationId="{5BF082A1-9484-0FF1-DE66-634F928D8F6B}"/>
          </ac:picMkLst>
        </pc:picChg>
      </pc:sldChg>
      <pc:sldChg chg="addSp delSp modSp new mod ord modNotesTx">
        <pc:chgData name="CLAUDIA ELIZABETH ROESSING ROCHA" userId="98c9b574-0003-4444-8361-b3d2c09fda2f" providerId="ADAL" clId="{A46ACBA0-5AFB-4A5E-A03E-A4B171A49DCA}" dt="2024-02-26T09:20:52.266" v="5733" actId="6549"/>
        <pc:sldMkLst>
          <pc:docMk/>
          <pc:sldMk cId="50182516" sldId="258"/>
        </pc:sldMkLst>
        <pc:spChg chg="mod">
          <ac:chgData name="CLAUDIA ELIZABETH ROESSING ROCHA" userId="98c9b574-0003-4444-8361-b3d2c09fda2f" providerId="ADAL" clId="{A46ACBA0-5AFB-4A5E-A03E-A4B171A49DCA}" dt="2024-02-14T21:52:09.408" v="388" actId="20577"/>
          <ac:spMkLst>
            <pc:docMk/>
            <pc:sldMk cId="50182516" sldId="258"/>
            <ac:spMk id="2" creationId="{433E7E1F-33AA-32D1-91B4-8E59514CE493}"/>
          </ac:spMkLst>
        </pc:spChg>
        <pc:spChg chg="add mod">
          <ac:chgData name="CLAUDIA ELIZABETH ROESSING ROCHA" userId="98c9b574-0003-4444-8361-b3d2c09fda2f" providerId="ADAL" clId="{A46ACBA0-5AFB-4A5E-A03E-A4B171A49DCA}" dt="2024-02-23T01:41:46.184" v="5178" actId="2711"/>
          <ac:spMkLst>
            <pc:docMk/>
            <pc:sldMk cId="50182516" sldId="258"/>
            <ac:spMk id="3" creationId="{5A6593D7-B926-E3F5-44CD-712B62115396}"/>
          </ac:spMkLst>
        </pc:spChg>
        <pc:spChg chg="del mod">
          <ac:chgData name="CLAUDIA ELIZABETH ROESSING ROCHA" userId="98c9b574-0003-4444-8361-b3d2c09fda2f" providerId="ADAL" clId="{A46ACBA0-5AFB-4A5E-A03E-A4B171A49DCA}" dt="2024-02-14T21:53:24.468" v="395" actId="478"/>
          <ac:spMkLst>
            <pc:docMk/>
            <pc:sldMk cId="50182516" sldId="258"/>
            <ac:spMk id="3" creationId="{76132BEF-23B2-AA00-29B4-4199C970CC4A}"/>
          </ac:spMkLst>
        </pc:spChg>
        <pc:spChg chg="add mod">
          <ac:chgData name="CLAUDIA ELIZABETH ROESSING ROCHA" userId="98c9b574-0003-4444-8361-b3d2c09fda2f" providerId="ADAL" clId="{A46ACBA0-5AFB-4A5E-A03E-A4B171A49DCA}" dt="2024-02-23T01:22:48.492" v="5154" actId="1076"/>
          <ac:spMkLst>
            <pc:docMk/>
            <pc:sldMk cId="50182516" sldId="258"/>
            <ac:spMk id="9" creationId="{83FC601D-1049-4CAA-02F9-3906EC59AC9E}"/>
          </ac:spMkLst>
        </pc:spChg>
        <pc:spChg chg="add mod">
          <ac:chgData name="CLAUDIA ELIZABETH ROESSING ROCHA" userId="98c9b574-0003-4444-8361-b3d2c09fda2f" providerId="ADAL" clId="{A46ACBA0-5AFB-4A5E-A03E-A4B171A49DCA}" dt="2024-02-23T01:42:11.081" v="5182" actId="14100"/>
          <ac:spMkLst>
            <pc:docMk/>
            <pc:sldMk cId="50182516" sldId="258"/>
            <ac:spMk id="10" creationId="{4FE47C30-0ED3-2C71-6E52-FBDBC25179F1}"/>
          </ac:spMkLst>
        </pc:spChg>
        <pc:spChg chg="add mod">
          <ac:chgData name="CLAUDIA ELIZABETH ROESSING ROCHA" userId="98c9b574-0003-4444-8361-b3d2c09fda2f" providerId="ADAL" clId="{A46ACBA0-5AFB-4A5E-A03E-A4B171A49DCA}" dt="2024-02-23T01:41:59.420" v="5180" actId="2711"/>
          <ac:spMkLst>
            <pc:docMk/>
            <pc:sldMk cId="50182516" sldId="258"/>
            <ac:spMk id="11" creationId="{80D1BB69-97DE-3443-4D9E-CDB42D588E4A}"/>
          </ac:spMkLst>
        </pc:spChg>
        <pc:spChg chg="add mod">
          <ac:chgData name="CLAUDIA ELIZABETH ROESSING ROCHA" userId="98c9b574-0003-4444-8361-b3d2c09fda2f" providerId="ADAL" clId="{A46ACBA0-5AFB-4A5E-A03E-A4B171A49DCA}" dt="2024-02-23T01:42:07.831" v="5181" actId="14100"/>
          <ac:spMkLst>
            <pc:docMk/>
            <pc:sldMk cId="50182516" sldId="258"/>
            <ac:spMk id="12" creationId="{D9CB15FD-F804-C41E-1151-62C8FD274F8E}"/>
          </ac:spMkLst>
        </pc:spChg>
        <pc:spChg chg="add mod">
          <ac:chgData name="CLAUDIA ELIZABETH ROESSING ROCHA" userId="98c9b574-0003-4444-8361-b3d2c09fda2f" providerId="ADAL" clId="{A46ACBA0-5AFB-4A5E-A03E-A4B171A49DCA}" dt="2024-02-23T01:41:36.209" v="5175" actId="2711"/>
          <ac:spMkLst>
            <pc:docMk/>
            <pc:sldMk cId="50182516" sldId="258"/>
            <ac:spMk id="13" creationId="{138EEABD-F658-A340-973C-BE9DC8967F7F}"/>
          </ac:spMkLst>
        </pc:spChg>
        <pc:spChg chg="add mod">
          <ac:chgData name="CLAUDIA ELIZABETH ROESSING ROCHA" userId="98c9b574-0003-4444-8361-b3d2c09fda2f" providerId="ADAL" clId="{A46ACBA0-5AFB-4A5E-A03E-A4B171A49DCA}" dt="2024-02-14T22:11:46.475" v="740" actId="20577"/>
          <ac:spMkLst>
            <pc:docMk/>
            <pc:sldMk cId="50182516" sldId="258"/>
            <ac:spMk id="14" creationId="{CB814F7D-EA10-BF47-056F-D0BF86A06B12}"/>
          </ac:spMkLst>
        </pc:spChg>
        <pc:spChg chg="add mod">
          <ac:chgData name="CLAUDIA ELIZABETH ROESSING ROCHA" userId="98c9b574-0003-4444-8361-b3d2c09fda2f" providerId="ADAL" clId="{A46ACBA0-5AFB-4A5E-A03E-A4B171A49DCA}" dt="2024-02-14T22:11:35.787" v="723" actId="20577"/>
          <ac:spMkLst>
            <pc:docMk/>
            <pc:sldMk cId="50182516" sldId="258"/>
            <ac:spMk id="15" creationId="{8A4DD5DA-8963-A795-493C-F91FC528A949}"/>
          </ac:spMkLst>
        </pc:spChg>
        <pc:picChg chg="add mod">
          <ac:chgData name="CLAUDIA ELIZABETH ROESSING ROCHA" userId="98c9b574-0003-4444-8361-b3d2c09fda2f" providerId="ADAL" clId="{A46ACBA0-5AFB-4A5E-A03E-A4B171A49DCA}" dt="2024-02-14T22:10:54.631" v="703" actId="1076"/>
          <ac:picMkLst>
            <pc:docMk/>
            <pc:sldMk cId="50182516" sldId="258"/>
            <ac:picMk id="5" creationId="{BE72C21A-940B-82A2-9EF8-DEDF51EC28A2}"/>
          </ac:picMkLst>
        </pc:picChg>
        <pc:picChg chg="add del">
          <ac:chgData name="CLAUDIA ELIZABETH ROESSING ROCHA" userId="98c9b574-0003-4444-8361-b3d2c09fda2f" providerId="ADAL" clId="{A46ACBA0-5AFB-4A5E-A03E-A4B171A49DCA}" dt="2024-02-14T19:44:57.036" v="188" actId="22"/>
          <ac:picMkLst>
            <pc:docMk/>
            <pc:sldMk cId="50182516" sldId="258"/>
            <ac:picMk id="7" creationId="{085EE0ED-EB47-E7AB-0661-099A30FF0EAA}"/>
          </ac:picMkLst>
        </pc:picChg>
        <pc:picChg chg="add mod">
          <ac:chgData name="CLAUDIA ELIZABETH ROESSING ROCHA" userId="98c9b574-0003-4444-8361-b3d2c09fda2f" providerId="ADAL" clId="{A46ACBA0-5AFB-4A5E-A03E-A4B171A49DCA}" dt="2024-02-14T21:53:46.297" v="402" actId="14100"/>
          <ac:picMkLst>
            <pc:docMk/>
            <pc:sldMk cId="50182516" sldId="258"/>
            <ac:picMk id="8" creationId="{1134EA18-BB81-0EEE-DADE-D79E7AA6CB0A}"/>
          </ac:picMkLst>
        </pc:picChg>
      </pc:sldChg>
      <pc:sldChg chg="addSp delSp modSp new del mod ord">
        <pc:chgData name="CLAUDIA ELIZABETH ROESSING ROCHA" userId="98c9b574-0003-4444-8361-b3d2c09fda2f" providerId="ADAL" clId="{A46ACBA0-5AFB-4A5E-A03E-A4B171A49DCA}" dt="2024-02-23T09:33:38.295" v="5185" actId="47"/>
        <pc:sldMkLst>
          <pc:docMk/>
          <pc:sldMk cId="2012050726" sldId="259"/>
        </pc:sldMkLst>
        <pc:spChg chg="mod">
          <ac:chgData name="CLAUDIA ELIZABETH ROESSING ROCHA" userId="98c9b574-0003-4444-8361-b3d2c09fda2f" providerId="ADAL" clId="{A46ACBA0-5AFB-4A5E-A03E-A4B171A49DCA}" dt="2024-02-20T15:13:27.745" v="1776" actId="6549"/>
          <ac:spMkLst>
            <pc:docMk/>
            <pc:sldMk cId="2012050726" sldId="259"/>
            <ac:spMk id="2" creationId="{8535E15E-A2C3-D60D-310C-4A912E5971A5}"/>
          </ac:spMkLst>
        </pc:spChg>
        <pc:spChg chg="mod">
          <ac:chgData name="CLAUDIA ELIZABETH ROESSING ROCHA" userId="98c9b574-0003-4444-8361-b3d2c09fda2f" providerId="ADAL" clId="{A46ACBA0-5AFB-4A5E-A03E-A4B171A49DCA}" dt="2024-02-23T01:42:21.288" v="5183" actId="2711"/>
          <ac:spMkLst>
            <pc:docMk/>
            <pc:sldMk cId="2012050726" sldId="259"/>
            <ac:spMk id="3" creationId="{041CF477-87E5-D5E8-3AEE-1D3437EA6AC4}"/>
          </ac:spMkLst>
        </pc:spChg>
        <pc:spChg chg="add mod">
          <ac:chgData name="CLAUDIA ELIZABETH ROESSING ROCHA" userId="98c9b574-0003-4444-8361-b3d2c09fda2f" providerId="ADAL" clId="{A46ACBA0-5AFB-4A5E-A03E-A4B171A49DCA}" dt="2024-02-23T00:51:41.345" v="4867" actId="20577"/>
          <ac:spMkLst>
            <pc:docMk/>
            <pc:sldMk cId="2012050726" sldId="259"/>
            <ac:spMk id="7" creationId="{48CD9C6D-9AF0-E1F1-E47A-61F7FFF58D8D}"/>
          </ac:spMkLst>
        </pc:spChg>
        <pc:graphicFrameChg chg="add mod">
          <ac:chgData name="CLAUDIA ELIZABETH ROESSING ROCHA" userId="98c9b574-0003-4444-8361-b3d2c09fda2f" providerId="ADAL" clId="{A46ACBA0-5AFB-4A5E-A03E-A4B171A49DCA}" dt="2024-02-14T22:24:02.830" v="856"/>
          <ac:graphicFrameMkLst>
            <pc:docMk/>
            <pc:sldMk cId="2012050726" sldId="259"/>
            <ac:graphicFrameMk id="8" creationId="{092CB3FE-B168-1027-F791-AFCC7F91175B}"/>
          </ac:graphicFrameMkLst>
        </pc:graphicFrameChg>
        <pc:graphicFrameChg chg="add mod">
          <ac:chgData name="CLAUDIA ELIZABETH ROESSING ROCHA" userId="98c9b574-0003-4444-8361-b3d2c09fda2f" providerId="ADAL" clId="{A46ACBA0-5AFB-4A5E-A03E-A4B171A49DCA}" dt="2024-02-14T22:24:06.050" v="857"/>
          <ac:graphicFrameMkLst>
            <pc:docMk/>
            <pc:sldMk cId="2012050726" sldId="259"/>
            <ac:graphicFrameMk id="9" creationId="{40ED209F-EE73-AC8A-4359-587CF51DB990}"/>
          </ac:graphicFrameMkLst>
        </pc:graphicFrameChg>
        <pc:picChg chg="add del mod">
          <ac:chgData name="CLAUDIA ELIZABETH ROESSING ROCHA" userId="98c9b574-0003-4444-8361-b3d2c09fda2f" providerId="ADAL" clId="{A46ACBA0-5AFB-4A5E-A03E-A4B171A49DCA}" dt="2024-02-23T00:46:12.558" v="4782" actId="478"/>
          <ac:picMkLst>
            <pc:docMk/>
            <pc:sldMk cId="2012050726" sldId="259"/>
            <ac:picMk id="5" creationId="{6FB3545B-797A-89E0-2860-33F5AA4B73D9}"/>
          </ac:picMkLst>
        </pc:picChg>
        <pc:picChg chg="add mod">
          <ac:chgData name="CLAUDIA ELIZABETH ROESSING ROCHA" userId="98c9b574-0003-4444-8361-b3d2c09fda2f" providerId="ADAL" clId="{A46ACBA0-5AFB-4A5E-A03E-A4B171A49DCA}" dt="2024-02-23T01:20:32.902" v="5123" actId="1076"/>
          <ac:picMkLst>
            <pc:docMk/>
            <pc:sldMk cId="2012050726" sldId="259"/>
            <ac:picMk id="6" creationId="{EB6A817B-B5EB-2160-B5EB-95724E2789BD}"/>
          </ac:picMkLst>
        </pc:picChg>
        <pc:picChg chg="add del mod">
          <ac:chgData name="CLAUDIA ELIZABETH ROESSING ROCHA" userId="98c9b574-0003-4444-8361-b3d2c09fda2f" providerId="ADAL" clId="{A46ACBA0-5AFB-4A5E-A03E-A4B171A49DCA}" dt="2024-02-14T19:55:40.992" v="267" actId="21"/>
          <ac:picMkLst>
            <pc:docMk/>
            <pc:sldMk cId="2012050726" sldId="259"/>
            <ac:picMk id="7" creationId="{1134EA18-BB81-0EEE-DADE-D79E7AA6CB0A}"/>
          </ac:picMkLst>
        </pc:picChg>
      </pc:sldChg>
      <pc:sldChg chg="addSp delSp modSp add del mod">
        <pc:chgData name="CLAUDIA ELIZABETH ROESSING ROCHA" userId="98c9b574-0003-4444-8361-b3d2c09fda2f" providerId="ADAL" clId="{A46ACBA0-5AFB-4A5E-A03E-A4B171A49DCA}" dt="2024-02-15T08:54:05.632" v="1018" actId="2696"/>
        <pc:sldMkLst>
          <pc:docMk/>
          <pc:sldMk cId="1743108285" sldId="260"/>
        </pc:sldMkLst>
        <pc:spChg chg="del">
          <ac:chgData name="CLAUDIA ELIZABETH ROESSING ROCHA" userId="98c9b574-0003-4444-8361-b3d2c09fda2f" providerId="ADAL" clId="{A46ACBA0-5AFB-4A5E-A03E-A4B171A49DCA}" dt="2024-02-14T20:50:13.227" v="300"/>
          <ac:spMkLst>
            <pc:docMk/>
            <pc:sldMk cId="1743108285" sldId="260"/>
            <ac:spMk id="3" creationId="{3ABDF1E9-38A2-2788-E386-14466604293A}"/>
          </ac:spMkLst>
        </pc:spChg>
        <pc:spChg chg="add mod">
          <ac:chgData name="CLAUDIA ELIZABETH ROESSING ROCHA" userId="98c9b574-0003-4444-8361-b3d2c09fda2f" providerId="ADAL" clId="{A46ACBA0-5AFB-4A5E-A03E-A4B171A49DCA}" dt="2024-02-14T21:08:16.203" v="356" actId="21"/>
          <ac:spMkLst>
            <pc:docMk/>
            <pc:sldMk cId="1743108285" sldId="260"/>
            <ac:spMk id="5" creationId="{E66C392D-6299-6D77-E3A9-031B504C3E80}"/>
          </ac:spMkLst>
        </pc:spChg>
        <pc:picChg chg="add del mod">
          <ac:chgData name="CLAUDIA ELIZABETH ROESSING ROCHA" userId="98c9b574-0003-4444-8361-b3d2c09fda2f" providerId="ADAL" clId="{A46ACBA0-5AFB-4A5E-A03E-A4B171A49DCA}" dt="2024-02-14T21:08:16.203" v="356" actId="21"/>
          <ac:picMkLst>
            <pc:docMk/>
            <pc:sldMk cId="1743108285" sldId="260"/>
            <ac:picMk id="6" creationId="{5BF082A1-9484-0FF1-DE66-634F928D8F6B}"/>
          </ac:picMkLst>
        </pc:picChg>
      </pc:sldChg>
      <pc:sldChg chg="modSp new del mod ord">
        <pc:chgData name="CLAUDIA ELIZABETH ROESSING ROCHA" userId="98c9b574-0003-4444-8361-b3d2c09fda2f" providerId="ADAL" clId="{A46ACBA0-5AFB-4A5E-A03E-A4B171A49DCA}" dt="2024-02-21T22:54:59.072" v="3929" actId="2696"/>
        <pc:sldMkLst>
          <pc:docMk/>
          <pc:sldMk cId="3933729833" sldId="260"/>
        </pc:sldMkLst>
        <pc:spChg chg="mod">
          <ac:chgData name="CLAUDIA ELIZABETH ROESSING ROCHA" userId="98c9b574-0003-4444-8361-b3d2c09fda2f" providerId="ADAL" clId="{A46ACBA0-5AFB-4A5E-A03E-A4B171A49DCA}" dt="2024-02-15T09:11:28.985" v="1024" actId="6549"/>
          <ac:spMkLst>
            <pc:docMk/>
            <pc:sldMk cId="3933729833" sldId="260"/>
            <ac:spMk id="2" creationId="{5ACF4512-D37D-564F-A98B-49C8B8BDBB09}"/>
          </ac:spMkLst>
        </pc:spChg>
        <pc:spChg chg="mod">
          <ac:chgData name="CLAUDIA ELIZABETH ROESSING ROCHA" userId="98c9b574-0003-4444-8361-b3d2c09fda2f" providerId="ADAL" clId="{A46ACBA0-5AFB-4A5E-A03E-A4B171A49DCA}" dt="2024-02-20T22:21:05.683" v="2169" actId="20577"/>
          <ac:spMkLst>
            <pc:docMk/>
            <pc:sldMk cId="3933729833" sldId="260"/>
            <ac:spMk id="3" creationId="{9528E80C-233A-9178-A6E1-BFD468EE5D84}"/>
          </ac:spMkLst>
        </pc:spChg>
      </pc:sldChg>
      <pc:sldChg chg="modSp new mod">
        <pc:chgData name="CLAUDIA ELIZABETH ROESSING ROCHA" userId="98c9b574-0003-4444-8361-b3d2c09fda2f" providerId="ADAL" clId="{A46ACBA0-5AFB-4A5E-A03E-A4B171A49DCA}" dt="2024-02-23T01:42:30.472" v="5184" actId="2711"/>
        <pc:sldMkLst>
          <pc:docMk/>
          <pc:sldMk cId="869432526" sldId="261"/>
        </pc:sldMkLst>
        <pc:spChg chg="mod">
          <ac:chgData name="CLAUDIA ELIZABETH ROESSING ROCHA" userId="98c9b574-0003-4444-8361-b3d2c09fda2f" providerId="ADAL" clId="{A46ACBA0-5AFB-4A5E-A03E-A4B171A49DCA}" dt="2024-02-15T20:54:36.715" v="1448" actId="313"/>
          <ac:spMkLst>
            <pc:docMk/>
            <pc:sldMk cId="869432526" sldId="261"/>
            <ac:spMk id="2" creationId="{2474AEF8-3236-36EE-330C-02696DBE0EC5}"/>
          </ac:spMkLst>
        </pc:spChg>
        <pc:spChg chg="mod">
          <ac:chgData name="CLAUDIA ELIZABETH ROESSING ROCHA" userId="98c9b574-0003-4444-8361-b3d2c09fda2f" providerId="ADAL" clId="{A46ACBA0-5AFB-4A5E-A03E-A4B171A49DCA}" dt="2024-02-23T01:42:30.472" v="5184" actId="2711"/>
          <ac:spMkLst>
            <pc:docMk/>
            <pc:sldMk cId="869432526" sldId="261"/>
            <ac:spMk id="3" creationId="{230B9045-53F4-5FB3-A4E0-6459BEBE7C3A}"/>
          </ac:spMkLst>
        </pc:spChg>
      </pc:sldChg>
      <pc:sldChg chg="modSp new del mod">
        <pc:chgData name="CLAUDIA ELIZABETH ROESSING ROCHA" userId="98c9b574-0003-4444-8361-b3d2c09fda2f" providerId="ADAL" clId="{A46ACBA0-5AFB-4A5E-A03E-A4B171A49DCA}" dt="2024-02-15T09:34:14.510" v="1246" actId="2696"/>
        <pc:sldMkLst>
          <pc:docMk/>
          <pc:sldMk cId="2530684201" sldId="261"/>
        </pc:sldMkLst>
        <pc:spChg chg="mod">
          <ac:chgData name="CLAUDIA ELIZABETH ROESSING ROCHA" userId="98c9b574-0003-4444-8361-b3d2c09fda2f" providerId="ADAL" clId="{A46ACBA0-5AFB-4A5E-A03E-A4B171A49DCA}" dt="2024-02-15T09:31:48.061" v="1223" actId="6549"/>
          <ac:spMkLst>
            <pc:docMk/>
            <pc:sldMk cId="2530684201" sldId="261"/>
            <ac:spMk id="3" creationId="{A6BA2979-2E54-1470-0E15-577359B2490A}"/>
          </ac:spMkLst>
        </pc:spChg>
      </pc:sldChg>
      <pc:sldChg chg="addSp modSp mod modNotesTx">
        <pc:chgData name="CLAUDIA ELIZABETH ROESSING ROCHA" userId="98c9b574-0003-4444-8361-b3d2c09fda2f" providerId="ADAL" clId="{A46ACBA0-5AFB-4A5E-A03E-A4B171A49DCA}" dt="2024-02-26T09:19:36.007" v="5715" actId="6549"/>
        <pc:sldMkLst>
          <pc:docMk/>
          <pc:sldMk cId="257230532" sldId="262"/>
        </pc:sldMkLst>
        <pc:spChg chg="add mod">
          <ac:chgData name="CLAUDIA ELIZABETH ROESSING ROCHA" userId="98c9b574-0003-4444-8361-b3d2c09fda2f" providerId="ADAL" clId="{A46ACBA0-5AFB-4A5E-A03E-A4B171A49DCA}" dt="2024-02-20T15:01:03.930" v="1580" actId="1076"/>
          <ac:spMkLst>
            <pc:docMk/>
            <pc:sldMk cId="257230532" sldId="262"/>
            <ac:spMk id="3" creationId="{4B8EC43D-AF2F-6DBD-063B-404B86CCF03C}"/>
          </ac:spMkLst>
        </pc:spChg>
        <pc:spChg chg="mod">
          <ac:chgData name="CLAUDIA ELIZABETH ROESSING ROCHA" userId="98c9b574-0003-4444-8361-b3d2c09fda2f" providerId="ADAL" clId="{A46ACBA0-5AFB-4A5E-A03E-A4B171A49DCA}" dt="2024-02-20T15:00:38.273" v="1570"/>
          <ac:spMkLst>
            <pc:docMk/>
            <pc:sldMk cId="257230532" sldId="262"/>
            <ac:spMk id="4" creationId="{EB991902-441B-E88F-F8F3-2426DCE10B09}"/>
          </ac:spMkLst>
        </pc:spChg>
        <pc:spChg chg="add mod">
          <ac:chgData name="CLAUDIA ELIZABETH ROESSING ROCHA" userId="98c9b574-0003-4444-8361-b3d2c09fda2f" providerId="ADAL" clId="{A46ACBA0-5AFB-4A5E-A03E-A4B171A49DCA}" dt="2024-02-21T20:17:19.022" v="2320" actId="14100"/>
          <ac:spMkLst>
            <pc:docMk/>
            <pc:sldMk cId="257230532" sldId="262"/>
            <ac:spMk id="5" creationId="{BA85275D-5546-B62B-8790-FB3763251B4E}"/>
          </ac:spMkLst>
        </pc:spChg>
      </pc:sldChg>
      <pc:sldChg chg="addSp modSp mod modNotesTx">
        <pc:chgData name="CLAUDIA ELIZABETH ROESSING ROCHA" userId="98c9b574-0003-4444-8361-b3d2c09fda2f" providerId="ADAL" clId="{A46ACBA0-5AFB-4A5E-A03E-A4B171A49DCA}" dt="2024-02-26T09:20:08.265" v="5723" actId="6549"/>
        <pc:sldMkLst>
          <pc:docMk/>
          <pc:sldMk cId="1215672095" sldId="264"/>
        </pc:sldMkLst>
        <pc:spChg chg="add mod">
          <ac:chgData name="CLAUDIA ELIZABETH ROESSING ROCHA" userId="98c9b574-0003-4444-8361-b3d2c09fda2f" providerId="ADAL" clId="{A46ACBA0-5AFB-4A5E-A03E-A4B171A49DCA}" dt="2024-02-21T22:35:28.706" v="3283" actId="207"/>
          <ac:spMkLst>
            <pc:docMk/>
            <pc:sldMk cId="1215672095" sldId="264"/>
            <ac:spMk id="3" creationId="{999E1EA2-9D2E-D5F2-B1AC-F96A722C4433}"/>
          </ac:spMkLst>
        </pc:spChg>
        <pc:spChg chg="add mod">
          <ac:chgData name="CLAUDIA ELIZABETH ROESSING ROCHA" userId="98c9b574-0003-4444-8361-b3d2c09fda2f" providerId="ADAL" clId="{A46ACBA0-5AFB-4A5E-A03E-A4B171A49DCA}" dt="2024-02-21T22:36:25.632" v="3296" actId="1076"/>
          <ac:spMkLst>
            <pc:docMk/>
            <pc:sldMk cId="1215672095" sldId="264"/>
            <ac:spMk id="6" creationId="{23A76748-B509-BEA9-1BAE-6F351B0813F0}"/>
          </ac:spMkLst>
        </pc:spChg>
        <pc:spChg chg="mod">
          <ac:chgData name="CLAUDIA ELIZABETH ROESSING ROCHA" userId="98c9b574-0003-4444-8361-b3d2c09fda2f" providerId="ADAL" clId="{A46ACBA0-5AFB-4A5E-A03E-A4B171A49DCA}" dt="2024-02-21T22:36:31.006" v="3297" actId="1076"/>
          <ac:spMkLst>
            <pc:docMk/>
            <pc:sldMk cId="1215672095" sldId="264"/>
            <ac:spMk id="14" creationId="{CB814F7D-EA10-BF47-056F-D0BF86A06B12}"/>
          </ac:spMkLst>
        </pc:spChg>
        <pc:spChg chg="mod">
          <ac:chgData name="CLAUDIA ELIZABETH ROESSING ROCHA" userId="98c9b574-0003-4444-8361-b3d2c09fda2f" providerId="ADAL" clId="{A46ACBA0-5AFB-4A5E-A03E-A4B171A49DCA}" dt="2024-02-21T22:36:06.477" v="3290" actId="1076"/>
          <ac:spMkLst>
            <pc:docMk/>
            <pc:sldMk cId="1215672095" sldId="264"/>
            <ac:spMk id="15" creationId="{8A4DD5DA-8963-A795-493C-F91FC528A949}"/>
          </ac:spMkLst>
        </pc:spChg>
        <pc:picChg chg="mod">
          <ac:chgData name="CLAUDIA ELIZABETH ROESSING ROCHA" userId="98c9b574-0003-4444-8361-b3d2c09fda2f" providerId="ADAL" clId="{A46ACBA0-5AFB-4A5E-A03E-A4B171A49DCA}" dt="2024-02-21T22:35:08.870" v="3282" actId="1076"/>
          <ac:picMkLst>
            <pc:docMk/>
            <pc:sldMk cId="1215672095" sldId="264"/>
            <ac:picMk id="4" creationId="{0A5ACB75-FD93-6703-3CEC-2048D52B34E2}"/>
          </ac:picMkLst>
        </pc:picChg>
        <pc:picChg chg="mod">
          <ac:chgData name="CLAUDIA ELIZABETH ROESSING ROCHA" userId="98c9b574-0003-4444-8361-b3d2c09fda2f" providerId="ADAL" clId="{A46ACBA0-5AFB-4A5E-A03E-A4B171A49DCA}" dt="2024-02-21T22:36:21.368" v="3294" actId="1076"/>
          <ac:picMkLst>
            <pc:docMk/>
            <pc:sldMk cId="1215672095" sldId="264"/>
            <ac:picMk id="5" creationId="{8F41BD07-D1A7-9F26-7C6A-F89D78DB3E5C}"/>
          </ac:picMkLst>
        </pc:picChg>
      </pc:sldChg>
      <pc:sldChg chg="modSp mod ord modNotesTx">
        <pc:chgData name="CLAUDIA ELIZABETH ROESSING ROCHA" userId="98c9b574-0003-4444-8361-b3d2c09fda2f" providerId="ADAL" clId="{A46ACBA0-5AFB-4A5E-A03E-A4B171A49DCA}" dt="2024-02-26T09:19:58.987" v="5721" actId="6549"/>
        <pc:sldMkLst>
          <pc:docMk/>
          <pc:sldMk cId="3760388519" sldId="265"/>
        </pc:sldMkLst>
        <pc:spChg chg="mod">
          <ac:chgData name="CLAUDIA ELIZABETH ROESSING ROCHA" userId="98c9b574-0003-4444-8361-b3d2c09fda2f" providerId="ADAL" clId="{A46ACBA0-5AFB-4A5E-A03E-A4B171A49DCA}" dt="2024-02-23T01:11:13.351" v="5078" actId="1076"/>
          <ac:spMkLst>
            <pc:docMk/>
            <pc:sldMk cId="3760388519" sldId="265"/>
            <ac:spMk id="3" creationId="{F374E6E4-FEFF-14E9-AA2F-9BC927AE435A}"/>
          </ac:spMkLst>
        </pc:spChg>
      </pc:sldChg>
      <pc:sldChg chg="addSp delSp modSp mod modNotesTx">
        <pc:chgData name="CLAUDIA ELIZABETH ROESSING ROCHA" userId="98c9b574-0003-4444-8361-b3d2c09fda2f" providerId="ADAL" clId="{A46ACBA0-5AFB-4A5E-A03E-A4B171A49DCA}" dt="2024-02-26T09:20:11.541" v="5724" actId="6549"/>
        <pc:sldMkLst>
          <pc:docMk/>
          <pc:sldMk cId="594921248" sldId="266"/>
        </pc:sldMkLst>
        <pc:spChg chg="add mod">
          <ac:chgData name="CLAUDIA ELIZABETH ROESSING ROCHA" userId="98c9b574-0003-4444-8361-b3d2c09fda2f" providerId="ADAL" clId="{A46ACBA0-5AFB-4A5E-A03E-A4B171A49DCA}" dt="2024-02-21T22:34:24.976" v="3276" actId="1076"/>
          <ac:spMkLst>
            <pc:docMk/>
            <pc:sldMk cId="594921248" sldId="266"/>
            <ac:spMk id="5" creationId="{5A977377-E163-C4F5-39C4-9550A6B2B063}"/>
          </ac:spMkLst>
        </pc:spChg>
        <pc:picChg chg="del">
          <ac:chgData name="CLAUDIA ELIZABETH ROESSING ROCHA" userId="98c9b574-0003-4444-8361-b3d2c09fda2f" providerId="ADAL" clId="{A46ACBA0-5AFB-4A5E-A03E-A4B171A49DCA}" dt="2024-02-21T20:51:34.910" v="2321" actId="478"/>
          <ac:picMkLst>
            <pc:docMk/>
            <pc:sldMk cId="594921248" sldId="266"/>
            <ac:picMk id="4" creationId="{A3E7D9D7-279D-CD7E-BBEB-626AC1FA2C6C}"/>
          </ac:picMkLst>
        </pc:picChg>
        <pc:picChg chg="add mod ord">
          <ac:chgData name="CLAUDIA ELIZABETH ROESSING ROCHA" userId="98c9b574-0003-4444-8361-b3d2c09fda2f" providerId="ADAL" clId="{A46ACBA0-5AFB-4A5E-A03E-A4B171A49DCA}" dt="2024-02-21T22:33:15.752" v="3268" actId="167"/>
          <ac:picMkLst>
            <pc:docMk/>
            <pc:sldMk cId="594921248" sldId="266"/>
            <ac:picMk id="7" creationId="{903A2874-9895-EBB3-F829-6E9D818C222F}"/>
          </ac:picMkLst>
        </pc:picChg>
      </pc:sldChg>
      <pc:sldChg chg="addSp delSp modSp mod modNotesTx">
        <pc:chgData name="CLAUDIA ELIZABETH ROESSING ROCHA" userId="98c9b574-0003-4444-8361-b3d2c09fda2f" providerId="ADAL" clId="{A46ACBA0-5AFB-4A5E-A03E-A4B171A49DCA}" dt="2024-02-26T09:20:19.045" v="5726" actId="6549"/>
        <pc:sldMkLst>
          <pc:docMk/>
          <pc:sldMk cId="2813361436" sldId="267"/>
        </pc:sldMkLst>
        <pc:spChg chg="add mod">
          <ac:chgData name="CLAUDIA ELIZABETH ROESSING ROCHA" userId="98c9b574-0003-4444-8361-b3d2c09fda2f" providerId="ADAL" clId="{A46ACBA0-5AFB-4A5E-A03E-A4B171A49DCA}" dt="2024-02-21T23:14:53.581" v="4080" actId="20577"/>
          <ac:spMkLst>
            <pc:docMk/>
            <pc:sldMk cId="2813361436" sldId="267"/>
            <ac:spMk id="5" creationId="{4D35A7EE-B521-0A91-38A0-C0E2CF034E9A}"/>
          </ac:spMkLst>
        </pc:spChg>
        <pc:spChg chg="add mod">
          <ac:chgData name="CLAUDIA ELIZABETH ROESSING ROCHA" userId="98c9b574-0003-4444-8361-b3d2c09fda2f" providerId="ADAL" clId="{A46ACBA0-5AFB-4A5E-A03E-A4B171A49DCA}" dt="2024-02-21T23:16:13.735" v="4088" actId="1076"/>
          <ac:spMkLst>
            <pc:docMk/>
            <pc:sldMk cId="2813361436" sldId="267"/>
            <ac:spMk id="9" creationId="{B28202B8-99B4-DF09-2EB7-9886F07F749C}"/>
          </ac:spMkLst>
        </pc:spChg>
        <pc:spChg chg="add mod">
          <ac:chgData name="CLAUDIA ELIZABETH ROESSING ROCHA" userId="98c9b574-0003-4444-8361-b3d2c09fda2f" providerId="ADAL" clId="{A46ACBA0-5AFB-4A5E-A03E-A4B171A49DCA}" dt="2024-02-21T23:16:41.553" v="4090" actId="1076"/>
          <ac:spMkLst>
            <pc:docMk/>
            <pc:sldMk cId="2813361436" sldId="267"/>
            <ac:spMk id="10" creationId="{0B06F6D8-3573-3589-E1B0-F4C3401CDB5B}"/>
          </ac:spMkLst>
        </pc:spChg>
        <pc:picChg chg="del">
          <ac:chgData name="CLAUDIA ELIZABETH ROESSING ROCHA" userId="98c9b574-0003-4444-8361-b3d2c09fda2f" providerId="ADAL" clId="{A46ACBA0-5AFB-4A5E-A03E-A4B171A49DCA}" dt="2024-02-21T23:12:15.019" v="4060" actId="478"/>
          <ac:picMkLst>
            <pc:docMk/>
            <pc:sldMk cId="2813361436" sldId="267"/>
            <ac:picMk id="4" creationId="{487FCF41-FE20-84C3-B551-3369A445965A}"/>
          </ac:picMkLst>
        </pc:picChg>
        <pc:picChg chg="add mod">
          <ac:chgData name="CLAUDIA ELIZABETH ROESSING ROCHA" userId="98c9b574-0003-4444-8361-b3d2c09fda2f" providerId="ADAL" clId="{A46ACBA0-5AFB-4A5E-A03E-A4B171A49DCA}" dt="2024-02-21T23:15:06.295" v="4081" actId="1076"/>
          <ac:picMkLst>
            <pc:docMk/>
            <pc:sldMk cId="2813361436" sldId="267"/>
            <ac:picMk id="6" creationId="{5AC7C24F-BEEF-9F52-5E60-CDDF5E0DE677}"/>
          </ac:picMkLst>
        </pc:picChg>
        <pc:picChg chg="add mod">
          <ac:chgData name="CLAUDIA ELIZABETH ROESSING ROCHA" userId="98c9b574-0003-4444-8361-b3d2c09fda2f" providerId="ADAL" clId="{A46ACBA0-5AFB-4A5E-A03E-A4B171A49DCA}" dt="2024-02-21T23:15:30.054" v="4083" actId="1076"/>
          <ac:picMkLst>
            <pc:docMk/>
            <pc:sldMk cId="2813361436" sldId="267"/>
            <ac:picMk id="7" creationId="{932878C5-CCA4-7527-D3AC-A4AB954020C9}"/>
          </ac:picMkLst>
        </pc:picChg>
      </pc:sldChg>
      <pc:sldChg chg="modSp mod modNotesTx">
        <pc:chgData name="CLAUDIA ELIZABETH ROESSING ROCHA" userId="98c9b574-0003-4444-8361-b3d2c09fda2f" providerId="ADAL" clId="{A46ACBA0-5AFB-4A5E-A03E-A4B171A49DCA}" dt="2024-02-26T09:19:38.871" v="5716" actId="6549"/>
        <pc:sldMkLst>
          <pc:docMk/>
          <pc:sldMk cId="1872562337" sldId="268"/>
        </pc:sldMkLst>
        <pc:spChg chg="mod">
          <ac:chgData name="CLAUDIA ELIZABETH ROESSING ROCHA" userId="98c9b574-0003-4444-8361-b3d2c09fda2f" providerId="ADAL" clId="{A46ACBA0-5AFB-4A5E-A03E-A4B171A49DCA}" dt="2024-02-23T11:38:06.903" v="5228" actId="33524"/>
          <ac:spMkLst>
            <pc:docMk/>
            <pc:sldMk cId="1872562337" sldId="268"/>
            <ac:spMk id="3" creationId="{CE8B74A4-F9B8-F77F-682A-DABE5D87D47C}"/>
          </ac:spMkLst>
        </pc:spChg>
      </pc:sldChg>
      <pc:sldChg chg="addSp delSp modSp new mod modNotesTx">
        <pc:chgData name="CLAUDIA ELIZABETH ROESSING ROCHA" userId="98c9b574-0003-4444-8361-b3d2c09fda2f" providerId="ADAL" clId="{A46ACBA0-5AFB-4A5E-A03E-A4B171A49DCA}" dt="2024-02-26T09:19:47.564" v="5718" actId="6549"/>
        <pc:sldMkLst>
          <pc:docMk/>
          <pc:sldMk cId="2251601990" sldId="269"/>
        </pc:sldMkLst>
        <pc:spChg chg="mod">
          <ac:chgData name="CLAUDIA ELIZABETH ROESSING ROCHA" userId="98c9b574-0003-4444-8361-b3d2c09fda2f" providerId="ADAL" clId="{A46ACBA0-5AFB-4A5E-A03E-A4B171A49DCA}" dt="2024-02-22T22:07:48" v="4740" actId="20577"/>
          <ac:spMkLst>
            <pc:docMk/>
            <pc:sldMk cId="2251601990" sldId="269"/>
            <ac:spMk id="2" creationId="{7539F05F-C142-98B8-670B-89B688B4236B}"/>
          </ac:spMkLst>
        </pc:spChg>
        <pc:spChg chg="mod">
          <ac:chgData name="CLAUDIA ELIZABETH ROESSING ROCHA" userId="98c9b574-0003-4444-8361-b3d2c09fda2f" providerId="ADAL" clId="{A46ACBA0-5AFB-4A5E-A03E-A4B171A49DCA}" dt="2024-02-23T10:14:58.512" v="5214" actId="207"/>
          <ac:spMkLst>
            <pc:docMk/>
            <pc:sldMk cId="2251601990" sldId="269"/>
            <ac:spMk id="3" creationId="{728B339F-8569-E916-35A7-1DBD0568EBC5}"/>
          </ac:spMkLst>
        </pc:spChg>
        <pc:picChg chg="add del mod">
          <ac:chgData name="CLAUDIA ELIZABETH ROESSING ROCHA" userId="98c9b574-0003-4444-8361-b3d2c09fda2f" providerId="ADAL" clId="{A46ACBA0-5AFB-4A5E-A03E-A4B171A49DCA}" dt="2024-02-21T21:39:18.247" v="2356" actId="21"/>
          <ac:picMkLst>
            <pc:docMk/>
            <pc:sldMk cId="2251601990" sldId="269"/>
            <ac:picMk id="8" creationId="{5BF082A1-9484-0FF1-DE66-634F928D8F6B}"/>
          </ac:picMkLst>
        </pc:picChg>
      </pc:sldChg>
      <pc:sldChg chg="modSp new del mod">
        <pc:chgData name="CLAUDIA ELIZABETH ROESSING ROCHA" userId="98c9b574-0003-4444-8361-b3d2c09fda2f" providerId="ADAL" clId="{A46ACBA0-5AFB-4A5E-A03E-A4B171A49DCA}" dt="2024-02-20T20:49:21.469" v="1939" actId="2696"/>
        <pc:sldMkLst>
          <pc:docMk/>
          <pc:sldMk cId="609565048" sldId="270"/>
        </pc:sldMkLst>
        <pc:spChg chg="mod">
          <ac:chgData name="CLAUDIA ELIZABETH ROESSING ROCHA" userId="98c9b574-0003-4444-8361-b3d2c09fda2f" providerId="ADAL" clId="{A46ACBA0-5AFB-4A5E-A03E-A4B171A49DCA}" dt="2024-02-20T15:02:45.952" v="1617" actId="20577"/>
          <ac:spMkLst>
            <pc:docMk/>
            <pc:sldMk cId="609565048" sldId="270"/>
            <ac:spMk id="2" creationId="{818EC31A-09CD-5FE6-462E-F30ED744A8F2}"/>
          </ac:spMkLst>
        </pc:spChg>
        <pc:spChg chg="mod">
          <ac:chgData name="CLAUDIA ELIZABETH ROESSING ROCHA" userId="98c9b574-0003-4444-8361-b3d2c09fda2f" providerId="ADAL" clId="{A46ACBA0-5AFB-4A5E-A03E-A4B171A49DCA}" dt="2024-02-20T20:33:24.973" v="1807"/>
          <ac:spMkLst>
            <pc:docMk/>
            <pc:sldMk cId="609565048" sldId="270"/>
            <ac:spMk id="3" creationId="{95C64867-B86D-8075-D377-D95B898E0B9C}"/>
          </ac:spMkLst>
        </pc:spChg>
      </pc:sldChg>
      <pc:sldChg chg="addSp modSp new mod modNotesTx">
        <pc:chgData name="CLAUDIA ELIZABETH ROESSING ROCHA" userId="98c9b574-0003-4444-8361-b3d2c09fda2f" providerId="ADAL" clId="{A46ACBA0-5AFB-4A5E-A03E-A4B171A49DCA}" dt="2024-02-26T09:19:55.076" v="5720" actId="6549"/>
        <pc:sldMkLst>
          <pc:docMk/>
          <pc:sldMk cId="1063791618" sldId="271"/>
        </pc:sldMkLst>
        <pc:spChg chg="mod">
          <ac:chgData name="CLAUDIA ELIZABETH ROESSING ROCHA" userId="98c9b574-0003-4444-8361-b3d2c09fda2f" providerId="ADAL" clId="{A46ACBA0-5AFB-4A5E-A03E-A4B171A49DCA}" dt="2024-02-20T15:04:56.001" v="1746" actId="20577"/>
          <ac:spMkLst>
            <pc:docMk/>
            <pc:sldMk cId="1063791618" sldId="271"/>
            <ac:spMk id="2" creationId="{A58A92CC-684A-6B26-FEBF-E814E194DE3B}"/>
          </ac:spMkLst>
        </pc:spChg>
        <pc:spChg chg="mod">
          <ac:chgData name="CLAUDIA ELIZABETH ROESSING ROCHA" userId="98c9b574-0003-4444-8361-b3d2c09fda2f" providerId="ADAL" clId="{A46ACBA0-5AFB-4A5E-A03E-A4B171A49DCA}" dt="2024-02-21T22:27:41.739" v="3253" actId="123"/>
          <ac:spMkLst>
            <pc:docMk/>
            <pc:sldMk cId="1063791618" sldId="271"/>
            <ac:spMk id="3" creationId="{1D3A7BD6-C593-66BF-9005-9D5821F5F42F}"/>
          </ac:spMkLst>
        </pc:spChg>
        <pc:spChg chg="add mod">
          <ac:chgData name="CLAUDIA ELIZABETH ROESSING ROCHA" userId="98c9b574-0003-4444-8361-b3d2c09fda2f" providerId="ADAL" clId="{A46ACBA0-5AFB-4A5E-A03E-A4B171A49DCA}" dt="2024-02-21T21:49:56.410" v="2468" actId="1076"/>
          <ac:spMkLst>
            <pc:docMk/>
            <pc:sldMk cId="1063791618" sldId="271"/>
            <ac:spMk id="4" creationId="{AACCB3BB-FB4B-E41A-01D4-5D46722F1753}"/>
          </ac:spMkLst>
        </pc:spChg>
        <pc:spChg chg="add mod">
          <ac:chgData name="CLAUDIA ELIZABETH ROESSING ROCHA" userId="98c9b574-0003-4444-8361-b3d2c09fda2f" providerId="ADAL" clId="{A46ACBA0-5AFB-4A5E-A03E-A4B171A49DCA}" dt="2024-02-22T22:37:25.993" v="4769" actId="20577"/>
          <ac:spMkLst>
            <pc:docMk/>
            <pc:sldMk cId="1063791618" sldId="271"/>
            <ac:spMk id="5" creationId="{9C138774-96C4-2C16-2050-7C16F7A03B0A}"/>
          </ac:spMkLst>
        </pc:spChg>
        <pc:spChg chg="add mod">
          <ac:chgData name="CLAUDIA ELIZABETH ROESSING ROCHA" userId="98c9b574-0003-4444-8361-b3d2c09fda2f" providerId="ADAL" clId="{A46ACBA0-5AFB-4A5E-A03E-A4B171A49DCA}" dt="2024-02-21T21:49:39.859" v="2465" actId="1076"/>
          <ac:spMkLst>
            <pc:docMk/>
            <pc:sldMk cId="1063791618" sldId="271"/>
            <ac:spMk id="6" creationId="{7B516066-6BA5-92FB-2D58-C45772732AD7}"/>
          </ac:spMkLst>
        </pc:spChg>
        <pc:spChg chg="add mod">
          <ac:chgData name="CLAUDIA ELIZABETH ROESSING ROCHA" userId="98c9b574-0003-4444-8361-b3d2c09fda2f" providerId="ADAL" clId="{A46ACBA0-5AFB-4A5E-A03E-A4B171A49DCA}" dt="2024-02-21T22:02:10.140" v="2616" actId="2711"/>
          <ac:spMkLst>
            <pc:docMk/>
            <pc:sldMk cId="1063791618" sldId="271"/>
            <ac:spMk id="7" creationId="{73C45D7D-9E75-7EBE-1953-B2300D1862A6}"/>
          </ac:spMkLst>
        </pc:spChg>
      </pc:sldChg>
      <pc:sldChg chg="addSp modSp add mod modNotesTx">
        <pc:chgData name="CLAUDIA ELIZABETH ROESSING ROCHA" userId="98c9b574-0003-4444-8361-b3d2c09fda2f" providerId="ADAL" clId="{A46ACBA0-5AFB-4A5E-A03E-A4B171A49DCA}" dt="2024-02-26T09:20:02.447" v="5722" actId="6549"/>
        <pc:sldMkLst>
          <pc:docMk/>
          <pc:sldMk cId="2037890" sldId="272"/>
        </pc:sldMkLst>
        <pc:spChg chg="mod">
          <ac:chgData name="CLAUDIA ELIZABETH ROESSING ROCHA" userId="98c9b574-0003-4444-8361-b3d2c09fda2f" providerId="ADAL" clId="{A46ACBA0-5AFB-4A5E-A03E-A4B171A49DCA}" dt="2024-02-20T15:04:42.399" v="1743" actId="20577"/>
          <ac:spMkLst>
            <pc:docMk/>
            <pc:sldMk cId="2037890" sldId="272"/>
            <ac:spMk id="2" creationId="{A58A92CC-684A-6B26-FEBF-E814E194DE3B}"/>
          </ac:spMkLst>
        </pc:spChg>
        <pc:spChg chg="mod">
          <ac:chgData name="CLAUDIA ELIZABETH ROESSING ROCHA" userId="98c9b574-0003-4444-8361-b3d2c09fda2f" providerId="ADAL" clId="{A46ACBA0-5AFB-4A5E-A03E-A4B171A49DCA}" dt="2024-02-21T21:59:58.647" v="2606" actId="20577"/>
          <ac:spMkLst>
            <pc:docMk/>
            <pc:sldMk cId="2037890" sldId="272"/>
            <ac:spMk id="3" creationId="{1D3A7BD6-C593-66BF-9005-9D5821F5F42F}"/>
          </ac:spMkLst>
        </pc:spChg>
        <pc:spChg chg="add mod">
          <ac:chgData name="CLAUDIA ELIZABETH ROESSING ROCHA" userId="98c9b574-0003-4444-8361-b3d2c09fda2f" providerId="ADAL" clId="{A46ACBA0-5AFB-4A5E-A03E-A4B171A49DCA}" dt="2024-02-21T22:00:31.850" v="2611" actId="1076"/>
          <ac:spMkLst>
            <pc:docMk/>
            <pc:sldMk cId="2037890" sldId="272"/>
            <ac:spMk id="4" creationId="{7B021660-8263-7E92-33E7-6B11E771D8CE}"/>
          </ac:spMkLst>
        </pc:spChg>
        <pc:spChg chg="add mod">
          <ac:chgData name="CLAUDIA ELIZABETH ROESSING ROCHA" userId="98c9b574-0003-4444-8361-b3d2c09fda2f" providerId="ADAL" clId="{A46ACBA0-5AFB-4A5E-A03E-A4B171A49DCA}" dt="2024-02-21T22:02:25.481" v="2618" actId="2711"/>
          <ac:spMkLst>
            <pc:docMk/>
            <pc:sldMk cId="2037890" sldId="272"/>
            <ac:spMk id="5" creationId="{E15C755E-006C-D99E-020B-1877FD2FE3FF}"/>
          </ac:spMkLst>
        </pc:spChg>
        <pc:spChg chg="add mod">
          <ac:chgData name="CLAUDIA ELIZABETH ROESSING ROCHA" userId="98c9b574-0003-4444-8361-b3d2c09fda2f" providerId="ADAL" clId="{A46ACBA0-5AFB-4A5E-A03E-A4B171A49DCA}" dt="2024-02-21T22:00:16.321" v="2608" actId="1076"/>
          <ac:spMkLst>
            <pc:docMk/>
            <pc:sldMk cId="2037890" sldId="272"/>
            <ac:spMk id="6" creationId="{B36C4DCD-FA0D-FE3E-56CF-8443992D8DCC}"/>
          </ac:spMkLst>
        </pc:spChg>
        <pc:spChg chg="add mod">
          <ac:chgData name="CLAUDIA ELIZABETH ROESSING ROCHA" userId="98c9b574-0003-4444-8361-b3d2c09fda2f" providerId="ADAL" clId="{A46ACBA0-5AFB-4A5E-A03E-A4B171A49DCA}" dt="2024-02-21T22:02:21.045" v="2617" actId="2711"/>
          <ac:spMkLst>
            <pc:docMk/>
            <pc:sldMk cId="2037890" sldId="272"/>
            <ac:spMk id="7" creationId="{C71092DD-1F04-34EE-F1D7-DEEE5E51B4FD}"/>
          </ac:spMkLst>
        </pc:spChg>
      </pc:sldChg>
      <pc:sldChg chg="addSp modSp add mod ord modNotesTx">
        <pc:chgData name="CLAUDIA ELIZABETH ROESSING ROCHA" userId="98c9b574-0003-4444-8361-b3d2c09fda2f" providerId="ADAL" clId="{A46ACBA0-5AFB-4A5E-A03E-A4B171A49DCA}" dt="2024-02-26T09:20:15.455" v="5725" actId="6549"/>
        <pc:sldMkLst>
          <pc:docMk/>
          <pc:sldMk cId="870862769" sldId="273"/>
        </pc:sldMkLst>
        <pc:spChg chg="mod">
          <ac:chgData name="CLAUDIA ELIZABETH ROESSING ROCHA" userId="98c9b574-0003-4444-8361-b3d2c09fda2f" providerId="ADAL" clId="{A46ACBA0-5AFB-4A5E-A03E-A4B171A49DCA}" dt="2024-02-20T15:10:56.550" v="1758"/>
          <ac:spMkLst>
            <pc:docMk/>
            <pc:sldMk cId="870862769" sldId="273"/>
            <ac:spMk id="2" creationId="{A58A92CC-684A-6B26-FEBF-E814E194DE3B}"/>
          </ac:spMkLst>
        </pc:spChg>
        <pc:spChg chg="mod">
          <ac:chgData name="CLAUDIA ELIZABETH ROESSING ROCHA" userId="98c9b574-0003-4444-8361-b3d2c09fda2f" providerId="ADAL" clId="{A46ACBA0-5AFB-4A5E-A03E-A4B171A49DCA}" dt="2024-02-21T22:12:38.601" v="2945" actId="123"/>
          <ac:spMkLst>
            <pc:docMk/>
            <pc:sldMk cId="870862769" sldId="273"/>
            <ac:spMk id="3" creationId="{1D3A7BD6-C593-66BF-9005-9D5821F5F42F}"/>
          </ac:spMkLst>
        </pc:spChg>
        <pc:spChg chg="add mod">
          <ac:chgData name="CLAUDIA ELIZABETH ROESSING ROCHA" userId="98c9b574-0003-4444-8361-b3d2c09fda2f" providerId="ADAL" clId="{A46ACBA0-5AFB-4A5E-A03E-A4B171A49DCA}" dt="2024-02-21T22:04:39.118" v="2674" actId="1076"/>
          <ac:spMkLst>
            <pc:docMk/>
            <pc:sldMk cId="870862769" sldId="273"/>
            <ac:spMk id="4" creationId="{685E4FC6-A205-BEF4-BF1E-211AD382C214}"/>
          </ac:spMkLst>
        </pc:spChg>
        <pc:spChg chg="add mod">
          <ac:chgData name="CLAUDIA ELIZABETH ROESSING ROCHA" userId="98c9b574-0003-4444-8361-b3d2c09fda2f" providerId="ADAL" clId="{A46ACBA0-5AFB-4A5E-A03E-A4B171A49DCA}" dt="2024-02-21T22:17:44.723" v="3111" actId="20577"/>
          <ac:spMkLst>
            <pc:docMk/>
            <pc:sldMk cId="870862769" sldId="273"/>
            <ac:spMk id="5" creationId="{AEB387F8-671E-5864-85FA-E474B6772992}"/>
          </ac:spMkLst>
        </pc:spChg>
        <pc:spChg chg="add mod">
          <ac:chgData name="CLAUDIA ELIZABETH ROESSING ROCHA" userId="98c9b574-0003-4444-8361-b3d2c09fda2f" providerId="ADAL" clId="{A46ACBA0-5AFB-4A5E-A03E-A4B171A49DCA}" dt="2024-02-21T22:05:38.004" v="2689" actId="14100"/>
          <ac:spMkLst>
            <pc:docMk/>
            <pc:sldMk cId="870862769" sldId="273"/>
            <ac:spMk id="6" creationId="{008CFEB4-CA1C-AC56-023C-FAFDC38F8572}"/>
          </ac:spMkLst>
        </pc:spChg>
        <pc:spChg chg="add mod">
          <ac:chgData name="CLAUDIA ELIZABETH ROESSING ROCHA" userId="98c9b574-0003-4444-8361-b3d2c09fda2f" providerId="ADAL" clId="{A46ACBA0-5AFB-4A5E-A03E-A4B171A49DCA}" dt="2024-02-21T22:13:02.910" v="2948" actId="20577"/>
          <ac:spMkLst>
            <pc:docMk/>
            <pc:sldMk cId="870862769" sldId="273"/>
            <ac:spMk id="7" creationId="{EE7CE009-E55D-CC51-46A6-69A9710ED111}"/>
          </ac:spMkLst>
        </pc:spChg>
      </pc:sldChg>
      <pc:sldChg chg="addSp delSp modSp add mod ord modNotesTx">
        <pc:chgData name="CLAUDIA ELIZABETH ROESSING ROCHA" userId="98c9b574-0003-4444-8361-b3d2c09fda2f" providerId="ADAL" clId="{A46ACBA0-5AFB-4A5E-A03E-A4B171A49DCA}" dt="2024-02-26T09:20:32.263" v="5728" actId="6549"/>
        <pc:sldMkLst>
          <pc:docMk/>
          <pc:sldMk cId="3514624504" sldId="274"/>
        </pc:sldMkLst>
        <pc:spChg chg="mod">
          <ac:chgData name="CLAUDIA ELIZABETH ROESSING ROCHA" userId="98c9b574-0003-4444-8361-b3d2c09fda2f" providerId="ADAL" clId="{A46ACBA0-5AFB-4A5E-A03E-A4B171A49DCA}" dt="2024-02-20T15:11:40.105" v="1765"/>
          <ac:spMkLst>
            <pc:docMk/>
            <pc:sldMk cId="3514624504" sldId="274"/>
            <ac:spMk id="2" creationId="{A58A92CC-684A-6B26-FEBF-E814E194DE3B}"/>
          </ac:spMkLst>
        </pc:spChg>
        <pc:spChg chg="mod">
          <ac:chgData name="CLAUDIA ELIZABETH ROESSING ROCHA" userId="98c9b574-0003-4444-8361-b3d2c09fda2f" providerId="ADAL" clId="{A46ACBA0-5AFB-4A5E-A03E-A4B171A49DCA}" dt="2024-02-21T22:28:29.143" v="3258" actId="123"/>
          <ac:spMkLst>
            <pc:docMk/>
            <pc:sldMk cId="3514624504" sldId="274"/>
            <ac:spMk id="3" creationId="{1D3A7BD6-C593-66BF-9005-9D5821F5F42F}"/>
          </ac:spMkLst>
        </pc:spChg>
        <pc:spChg chg="add del">
          <ac:chgData name="CLAUDIA ELIZABETH ROESSING ROCHA" userId="98c9b574-0003-4444-8361-b3d2c09fda2f" providerId="ADAL" clId="{A46ACBA0-5AFB-4A5E-A03E-A4B171A49DCA}" dt="2024-02-21T22:15:21.158" v="3078" actId="22"/>
          <ac:spMkLst>
            <pc:docMk/>
            <pc:sldMk cId="3514624504" sldId="274"/>
            <ac:spMk id="5" creationId="{86186FBF-4799-CC2C-7122-F7C3B5E94009}"/>
          </ac:spMkLst>
        </pc:spChg>
        <pc:spChg chg="add mod">
          <ac:chgData name="CLAUDIA ELIZABETH ROESSING ROCHA" userId="98c9b574-0003-4444-8361-b3d2c09fda2f" providerId="ADAL" clId="{A46ACBA0-5AFB-4A5E-A03E-A4B171A49DCA}" dt="2024-02-21T22:24:09.940" v="3231" actId="14100"/>
          <ac:spMkLst>
            <pc:docMk/>
            <pc:sldMk cId="3514624504" sldId="274"/>
            <ac:spMk id="6" creationId="{06D223BB-5C6E-ECFF-7D5D-5C91BAA2BA0D}"/>
          </ac:spMkLst>
        </pc:spChg>
        <pc:spChg chg="add mod">
          <ac:chgData name="CLAUDIA ELIZABETH ROESSING ROCHA" userId="98c9b574-0003-4444-8361-b3d2c09fda2f" providerId="ADAL" clId="{A46ACBA0-5AFB-4A5E-A03E-A4B171A49DCA}" dt="2024-02-21T22:24:04.308" v="3230" actId="120"/>
          <ac:spMkLst>
            <pc:docMk/>
            <pc:sldMk cId="3514624504" sldId="274"/>
            <ac:spMk id="7" creationId="{0351AE71-B412-D105-8AD2-59EE72B5C775}"/>
          </ac:spMkLst>
        </pc:spChg>
        <pc:spChg chg="add mod">
          <ac:chgData name="CLAUDIA ELIZABETH ROESSING ROCHA" userId="98c9b574-0003-4444-8361-b3d2c09fda2f" providerId="ADAL" clId="{A46ACBA0-5AFB-4A5E-A03E-A4B171A49DCA}" dt="2024-02-21T22:25:11.942" v="3243" actId="1076"/>
          <ac:spMkLst>
            <pc:docMk/>
            <pc:sldMk cId="3514624504" sldId="274"/>
            <ac:spMk id="8" creationId="{11E813F8-C90B-8C3D-3DDF-EB5B15EDCDAD}"/>
          </ac:spMkLst>
        </pc:spChg>
        <pc:spChg chg="add mod">
          <ac:chgData name="CLAUDIA ELIZABETH ROESSING ROCHA" userId="98c9b574-0003-4444-8361-b3d2c09fda2f" providerId="ADAL" clId="{A46ACBA0-5AFB-4A5E-A03E-A4B171A49DCA}" dt="2024-02-21T22:25:44.620" v="3252" actId="1076"/>
          <ac:spMkLst>
            <pc:docMk/>
            <pc:sldMk cId="3514624504" sldId="274"/>
            <ac:spMk id="9" creationId="{F7F0741C-096B-F593-22D7-B23B90497299}"/>
          </ac:spMkLst>
        </pc:spChg>
      </pc:sldChg>
      <pc:sldChg chg="addSp modSp add mod modNotesTx">
        <pc:chgData name="CLAUDIA ELIZABETH ROESSING ROCHA" userId="98c9b574-0003-4444-8361-b3d2c09fda2f" providerId="ADAL" clId="{A46ACBA0-5AFB-4A5E-A03E-A4B171A49DCA}" dt="2024-02-26T09:20:36.339" v="5729" actId="6549"/>
        <pc:sldMkLst>
          <pc:docMk/>
          <pc:sldMk cId="1449299530" sldId="275"/>
        </pc:sldMkLst>
        <pc:spChg chg="mod">
          <ac:chgData name="CLAUDIA ELIZABETH ROESSING ROCHA" userId="98c9b574-0003-4444-8361-b3d2c09fda2f" providerId="ADAL" clId="{A46ACBA0-5AFB-4A5E-A03E-A4B171A49DCA}" dt="2024-02-20T15:12:05.911" v="1770"/>
          <ac:spMkLst>
            <pc:docMk/>
            <pc:sldMk cId="1449299530" sldId="275"/>
            <ac:spMk id="2" creationId="{A58A92CC-684A-6B26-FEBF-E814E194DE3B}"/>
          </ac:spMkLst>
        </pc:spChg>
        <pc:spChg chg="mod">
          <ac:chgData name="CLAUDIA ELIZABETH ROESSING ROCHA" userId="98c9b574-0003-4444-8361-b3d2c09fda2f" providerId="ADAL" clId="{A46ACBA0-5AFB-4A5E-A03E-A4B171A49DCA}" dt="2024-02-21T22:19:48.605" v="3144" actId="6549"/>
          <ac:spMkLst>
            <pc:docMk/>
            <pc:sldMk cId="1449299530" sldId="275"/>
            <ac:spMk id="3" creationId="{1D3A7BD6-C593-66BF-9005-9D5821F5F42F}"/>
          </ac:spMkLst>
        </pc:spChg>
        <pc:spChg chg="add mod">
          <ac:chgData name="CLAUDIA ELIZABETH ROESSING ROCHA" userId="98c9b574-0003-4444-8361-b3d2c09fda2f" providerId="ADAL" clId="{A46ACBA0-5AFB-4A5E-A03E-A4B171A49DCA}" dt="2024-02-21T22:20:11.002" v="3147" actId="1076"/>
          <ac:spMkLst>
            <pc:docMk/>
            <pc:sldMk cId="1449299530" sldId="275"/>
            <ac:spMk id="4" creationId="{FEB099A4-3BFA-3AC4-193C-FB728CC9B873}"/>
          </ac:spMkLst>
        </pc:spChg>
        <pc:spChg chg="add mod">
          <ac:chgData name="CLAUDIA ELIZABETH ROESSING ROCHA" userId="98c9b574-0003-4444-8361-b3d2c09fda2f" providerId="ADAL" clId="{A46ACBA0-5AFB-4A5E-A03E-A4B171A49DCA}" dt="2024-02-21T22:20:14.963" v="3148" actId="1076"/>
          <ac:spMkLst>
            <pc:docMk/>
            <pc:sldMk cId="1449299530" sldId="275"/>
            <ac:spMk id="5" creationId="{5FEE8B34-9C1D-A40D-7380-D5BCC217D1D3}"/>
          </ac:spMkLst>
        </pc:spChg>
        <pc:spChg chg="add mod">
          <ac:chgData name="CLAUDIA ELIZABETH ROESSING ROCHA" userId="98c9b574-0003-4444-8361-b3d2c09fda2f" providerId="ADAL" clId="{A46ACBA0-5AFB-4A5E-A03E-A4B171A49DCA}" dt="2024-02-21T22:20:00.735" v="3145" actId="1076"/>
          <ac:spMkLst>
            <pc:docMk/>
            <pc:sldMk cId="1449299530" sldId="275"/>
            <ac:spMk id="6" creationId="{BFE290C7-2D34-E043-BCD8-45923F98AE8F}"/>
          </ac:spMkLst>
        </pc:spChg>
        <pc:spChg chg="add mod">
          <ac:chgData name="CLAUDIA ELIZABETH ROESSING ROCHA" userId="98c9b574-0003-4444-8361-b3d2c09fda2f" providerId="ADAL" clId="{A46ACBA0-5AFB-4A5E-A03E-A4B171A49DCA}" dt="2024-02-21T22:20:04.645" v="3146" actId="1076"/>
          <ac:spMkLst>
            <pc:docMk/>
            <pc:sldMk cId="1449299530" sldId="275"/>
            <ac:spMk id="7" creationId="{F195DBFF-95C8-9BB3-9B2F-AD1B440A73F6}"/>
          </ac:spMkLst>
        </pc:spChg>
      </pc:sldChg>
      <pc:sldChg chg="modSp add mod modNotesTx">
        <pc:chgData name="CLAUDIA ELIZABETH ROESSING ROCHA" userId="98c9b574-0003-4444-8361-b3d2c09fda2f" providerId="ADAL" clId="{A46ACBA0-5AFB-4A5E-A03E-A4B171A49DCA}" dt="2024-02-26T09:20:39.625" v="5730" actId="6549"/>
        <pc:sldMkLst>
          <pc:docMk/>
          <pc:sldMk cId="1699077570" sldId="276"/>
        </pc:sldMkLst>
        <pc:spChg chg="mod">
          <ac:chgData name="CLAUDIA ELIZABETH ROESSING ROCHA" userId="98c9b574-0003-4444-8361-b3d2c09fda2f" providerId="ADAL" clId="{A46ACBA0-5AFB-4A5E-A03E-A4B171A49DCA}" dt="2024-02-20T15:13:02.741" v="1773"/>
          <ac:spMkLst>
            <pc:docMk/>
            <pc:sldMk cId="1699077570" sldId="276"/>
            <ac:spMk id="2" creationId="{A58A92CC-684A-6B26-FEBF-E814E194DE3B}"/>
          </ac:spMkLst>
        </pc:spChg>
        <pc:spChg chg="mod">
          <ac:chgData name="CLAUDIA ELIZABETH ROESSING ROCHA" userId="98c9b574-0003-4444-8361-b3d2c09fda2f" providerId="ADAL" clId="{A46ACBA0-5AFB-4A5E-A03E-A4B171A49DCA}" dt="2024-02-23T00:43:09.888" v="4781" actId="20577"/>
          <ac:spMkLst>
            <pc:docMk/>
            <pc:sldMk cId="1699077570" sldId="276"/>
            <ac:spMk id="3" creationId="{1D3A7BD6-C593-66BF-9005-9D5821F5F42F}"/>
          </ac:spMkLst>
        </pc:spChg>
      </pc:sldChg>
      <pc:sldChg chg="modSp new del mod">
        <pc:chgData name="CLAUDIA ELIZABETH ROESSING ROCHA" userId="98c9b574-0003-4444-8361-b3d2c09fda2f" providerId="ADAL" clId="{A46ACBA0-5AFB-4A5E-A03E-A4B171A49DCA}" dt="2024-02-23T13:42:31.861" v="5581" actId="47"/>
        <pc:sldMkLst>
          <pc:docMk/>
          <pc:sldMk cId="1179757022" sldId="277"/>
        </pc:sldMkLst>
        <pc:spChg chg="mod">
          <ac:chgData name="CLAUDIA ELIZABETH ROESSING ROCHA" userId="98c9b574-0003-4444-8361-b3d2c09fda2f" providerId="ADAL" clId="{A46ACBA0-5AFB-4A5E-A03E-A4B171A49DCA}" dt="2024-02-20T15:15:03.234" v="1800" actId="20577"/>
          <ac:spMkLst>
            <pc:docMk/>
            <pc:sldMk cId="1179757022" sldId="277"/>
            <ac:spMk id="2" creationId="{42000CDC-26D3-4F00-7590-05DED9E80A9F}"/>
          </ac:spMkLst>
        </pc:spChg>
      </pc:sldChg>
      <pc:sldChg chg="addSp delSp modSp new mod ord modNotesTx">
        <pc:chgData name="CLAUDIA ELIZABETH ROESSING ROCHA" userId="98c9b574-0003-4444-8361-b3d2c09fda2f" providerId="ADAL" clId="{A46ACBA0-5AFB-4A5E-A03E-A4B171A49DCA}" dt="2024-02-26T09:20:47.644" v="5732" actId="6549"/>
        <pc:sldMkLst>
          <pc:docMk/>
          <pc:sldMk cId="590987898" sldId="278"/>
        </pc:sldMkLst>
        <pc:spChg chg="mod">
          <ac:chgData name="CLAUDIA ELIZABETH ROESSING ROCHA" userId="98c9b574-0003-4444-8361-b3d2c09fda2f" providerId="ADAL" clId="{A46ACBA0-5AFB-4A5E-A03E-A4B171A49DCA}" dt="2024-02-20T22:20:07.861" v="2130" actId="20577"/>
          <ac:spMkLst>
            <pc:docMk/>
            <pc:sldMk cId="590987898" sldId="278"/>
            <ac:spMk id="2" creationId="{3E8A2D02-FD2B-A7EE-80C1-B7A6FD52CF34}"/>
          </ac:spMkLst>
        </pc:spChg>
        <pc:spChg chg="add mod">
          <ac:chgData name="CLAUDIA ELIZABETH ROESSING ROCHA" userId="98c9b574-0003-4444-8361-b3d2c09fda2f" providerId="ADAL" clId="{A46ACBA0-5AFB-4A5E-A03E-A4B171A49DCA}" dt="2024-02-23T01:41:23.688" v="5174" actId="2711"/>
          <ac:spMkLst>
            <pc:docMk/>
            <pc:sldMk cId="590987898" sldId="278"/>
            <ac:spMk id="3" creationId="{6AA5672F-D435-9B4C-CD6C-75D0B5AD8910}"/>
          </ac:spMkLst>
        </pc:spChg>
        <pc:spChg chg="del">
          <ac:chgData name="CLAUDIA ELIZABETH ROESSING ROCHA" userId="98c9b574-0003-4444-8361-b3d2c09fda2f" providerId="ADAL" clId="{A46ACBA0-5AFB-4A5E-A03E-A4B171A49DCA}" dt="2024-02-20T22:22:00.225" v="2171"/>
          <ac:spMkLst>
            <pc:docMk/>
            <pc:sldMk cId="590987898" sldId="278"/>
            <ac:spMk id="3" creationId="{F17A59EB-AEF8-61AA-ED54-2133BE8FEAAE}"/>
          </ac:spMkLst>
        </pc:spChg>
        <pc:spChg chg="add del mod">
          <ac:chgData name="CLAUDIA ELIZABETH ROESSING ROCHA" userId="98c9b574-0003-4444-8361-b3d2c09fda2f" providerId="ADAL" clId="{A46ACBA0-5AFB-4A5E-A03E-A4B171A49DCA}" dt="2024-02-23T00:57:53.977" v="5035" actId="478"/>
          <ac:spMkLst>
            <pc:docMk/>
            <pc:sldMk cId="590987898" sldId="278"/>
            <ac:spMk id="5" creationId="{3043F527-84DC-1AF7-8CDA-DC33BE7F35E7}"/>
          </ac:spMkLst>
        </pc:spChg>
        <pc:spChg chg="add mod ord">
          <ac:chgData name="CLAUDIA ELIZABETH ROESSING ROCHA" userId="98c9b574-0003-4444-8361-b3d2c09fda2f" providerId="ADAL" clId="{A46ACBA0-5AFB-4A5E-A03E-A4B171A49DCA}" dt="2024-02-23T00:58:30.009" v="5040" actId="167"/>
          <ac:spMkLst>
            <pc:docMk/>
            <pc:sldMk cId="590987898" sldId="278"/>
            <ac:spMk id="6" creationId="{FC1953C4-ED8B-0302-D83B-22406D538D77}"/>
          </ac:spMkLst>
        </pc:spChg>
        <pc:graphicFrameChg chg="add mod modGraphic">
          <ac:chgData name="CLAUDIA ELIZABETH ROESSING ROCHA" userId="98c9b574-0003-4444-8361-b3d2c09fda2f" providerId="ADAL" clId="{A46ACBA0-5AFB-4A5E-A03E-A4B171A49DCA}" dt="2024-02-23T00:58:36.797" v="5041" actId="1076"/>
          <ac:graphicFrameMkLst>
            <pc:docMk/>
            <pc:sldMk cId="590987898" sldId="278"/>
            <ac:graphicFrameMk id="4" creationId="{163A0729-78F6-652B-0C12-DAD7B9EB53CB}"/>
          </ac:graphicFrameMkLst>
        </pc:graphicFrameChg>
      </pc:sldChg>
      <pc:sldChg chg="addSp delSp modSp add mod modNotesTx">
        <pc:chgData name="CLAUDIA ELIZABETH ROESSING ROCHA" userId="98c9b574-0003-4444-8361-b3d2c09fda2f" providerId="ADAL" clId="{A46ACBA0-5AFB-4A5E-A03E-A4B171A49DCA}" dt="2024-02-26T09:19:50.601" v="5719" actId="6549"/>
        <pc:sldMkLst>
          <pc:docMk/>
          <pc:sldMk cId="2883095463" sldId="279"/>
        </pc:sldMkLst>
        <pc:spChg chg="mod">
          <ac:chgData name="CLAUDIA ELIZABETH ROESSING ROCHA" userId="98c9b574-0003-4444-8361-b3d2c09fda2f" providerId="ADAL" clId="{A46ACBA0-5AFB-4A5E-A03E-A4B171A49DCA}" dt="2024-02-22T21:32:32.186" v="4733" actId="6549"/>
          <ac:spMkLst>
            <pc:docMk/>
            <pc:sldMk cId="2883095463" sldId="279"/>
            <ac:spMk id="2" creationId="{818EC31A-09CD-5FE6-462E-F30ED744A8F2}"/>
          </ac:spMkLst>
        </pc:spChg>
        <pc:spChg chg="del mod">
          <ac:chgData name="CLAUDIA ELIZABETH ROESSING ROCHA" userId="98c9b574-0003-4444-8361-b3d2c09fda2f" providerId="ADAL" clId="{A46ACBA0-5AFB-4A5E-A03E-A4B171A49DCA}" dt="2024-02-20T20:40:02.860" v="1812" actId="3680"/>
          <ac:spMkLst>
            <pc:docMk/>
            <pc:sldMk cId="2883095463" sldId="279"/>
            <ac:spMk id="3" creationId="{95C64867-B86D-8075-D377-D95B898E0B9C}"/>
          </ac:spMkLst>
        </pc:spChg>
        <pc:spChg chg="mod">
          <ac:chgData name="CLAUDIA ELIZABETH ROESSING ROCHA" userId="98c9b574-0003-4444-8361-b3d2c09fda2f" providerId="ADAL" clId="{A46ACBA0-5AFB-4A5E-A03E-A4B171A49DCA}" dt="2024-02-23T10:21:17.230" v="5215" actId="1076"/>
          <ac:spMkLst>
            <pc:docMk/>
            <pc:sldMk cId="2883095463" sldId="279"/>
            <ac:spMk id="15" creationId="{1245A756-C8EE-05DF-DB60-D3045EFFDFC4}"/>
          </ac:spMkLst>
        </pc:spChg>
        <pc:spChg chg="mod">
          <ac:chgData name="CLAUDIA ELIZABETH ROESSING ROCHA" userId="98c9b574-0003-4444-8361-b3d2c09fda2f" providerId="ADAL" clId="{A46ACBA0-5AFB-4A5E-A03E-A4B171A49DCA}" dt="2024-02-23T10:21:37.087" v="5216" actId="1076"/>
          <ac:spMkLst>
            <pc:docMk/>
            <pc:sldMk cId="2883095463" sldId="279"/>
            <ac:spMk id="17" creationId="{BC95ACA6-D52E-F12B-5CA6-9A996AF6EFCA}"/>
          </ac:spMkLst>
        </pc:spChg>
        <pc:spChg chg="mod">
          <ac:chgData name="CLAUDIA ELIZABETH ROESSING ROCHA" userId="98c9b574-0003-4444-8361-b3d2c09fda2f" providerId="ADAL" clId="{A46ACBA0-5AFB-4A5E-A03E-A4B171A49DCA}" dt="2024-02-23T10:21:59.537" v="5222" actId="1076"/>
          <ac:spMkLst>
            <pc:docMk/>
            <pc:sldMk cId="2883095463" sldId="279"/>
            <ac:spMk id="19" creationId="{D205A586-FAEF-CDE3-7246-C99B8096605B}"/>
          </ac:spMkLst>
        </pc:spChg>
        <pc:spChg chg="mod">
          <ac:chgData name="CLAUDIA ELIZABETH ROESSING ROCHA" userId="98c9b574-0003-4444-8361-b3d2c09fda2f" providerId="ADAL" clId="{A46ACBA0-5AFB-4A5E-A03E-A4B171A49DCA}" dt="2024-02-23T10:22:58.256" v="5225" actId="20577"/>
          <ac:spMkLst>
            <pc:docMk/>
            <pc:sldMk cId="2883095463" sldId="279"/>
            <ac:spMk id="21" creationId="{CB9F2AF9-E90E-2508-E910-8E1AD64592E3}"/>
          </ac:spMkLst>
        </pc:spChg>
        <pc:graphicFrameChg chg="add mod ord modGraphic">
          <ac:chgData name="CLAUDIA ELIZABETH ROESSING ROCHA" userId="98c9b574-0003-4444-8361-b3d2c09fda2f" providerId="ADAL" clId="{A46ACBA0-5AFB-4A5E-A03E-A4B171A49DCA}" dt="2024-02-20T22:24:40.561" v="2223" actId="20577"/>
          <ac:graphicFrameMkLst>
            <pc:docMk/>
            <pc:sldMk cId="2883095463" sldId="279"/>
            <ac:graphicFrameMk id="4" creationId="{4D6C345B-B7F4-C170-1A4F-1C2D2D5ABE39}"/>
          </ac:graphicFrameMkLst>
        </pc:graphicFrameChg>
      </pc:sldChg>
      <pc:sldChg chg="addSp delSp modSp add del mod ord">
        <pc:chgData name="CLAUDIA ELIZABETH ROESSING ROCHA" userId="98c9b574-0003-4444-8361-b3d2c09fda2f" providerId="ADAL" clId="{A46ACBA0-5AFB-4A5E-A03E-A4B171A49DCA}" dt="2024-02-21T23:15:35.753" v="4084" actId="47"/>
        <pc:sldMkLst>
          <pc:docMk/>
          <pc:sldMk cId="1538654841" sldId="280"/>
        </pc:sldMkLst>
        <pc:spChg chg="add mod">
          <ac:chgData name="CLAUDIA ELIZABETH ROESSING ROCHA" userId="98c9b574-0003-4444-8361-b3d2c09fda2f" providerId="ADAL" clId="{A46ACBA0-5AFB-4A5E-A03E-A4B171A49DCA}" dt="2024-02-21T22:11:50.861" v="2938" actId="21"/>
          <ac:spMkLst>
            <pc:docMk/>
            <pc:sldMk cId="1538654841" sldId="280"/>
            <ac:spMk id="5" creationId="{63DD3A2B-DE33-A348-7DFA-41184881C3FC}"/>
          </ac:spMkLst>
        </pc:spChg>
        <pc:picChg chg="add mod">
          <ac:chgData name="CLAUDIA ELIZABETH ROESSING ROCHA" userId="98c9b574-0003-4444-8361-b3d2c09fda2f" providerId="ADAL" clId="{A46ACBA0-5AFB-4A5E-A03E-A4B171A49DCA}" dt="2024-02-21T23:12:02.794" v="4059" actId="1076"/>
          <ac:picMkLst>
            <pc:docMk/>
            <pc:sldMk cId="1538654841" sldId="280"/>
            <ac:picMk id="3" creationId="{CBEA5B45-E926-491C-FA53-24C8BE93E6CE}"/>
          </ac:picMkLst>
        </pc:picChg>
        <pc:picChg chg="del">
          <ac:chgData name="CLAUDIA ELIZABETH ROESSING ROCHA" userId="98c9b574-0003-4444-8361-b3d2c09fda2f" providerId="ADAL" clId="{A46ACBA0-5AFB-4A5E-A03E-A4B171A49DCA}" dt="2024-02-20T22:18:55.140" v="2110" actId="478"/>
          <ac:picMkLst>
            <pc:docMk/>
            <pc:sldMk cId="1538654841" sldId="280"/>
            <ac:picMk id="4" creationId="{487FCF41-FE20-84C3-B551-3369A445965A}"/>
          </ac:picMkLst>
        </pc:picChg>
      </pc:sldChg>
      <pc:sldChg chg="addSp delSp modSp add mod modNotesTx">
        <pc:chgData name="CLAUDIA ELIZABETH ROESSING ROCHA" userId="98c9b574-0003-4444-8361-b3d2c09fda2f" providerId="ADAL" clId="{A46ACBA0-5AFB-4A5E-A03E-A4B171A49DCA}" dt="2024-02-26T09:20:44.129" v="5731" actId="6549"/>
        <pc:sldMkLst>
          <pc:docMk/>
          <pc:sldMk cId="1999478384" sldId="281"/>
        </pc:sldMkLst>
        <pc:spChg chg="mod">
          <ac:chgData name="CLAUDIA ELIZABETH ROESSING ROCHA" userId="98c9b574-0003-4444-8361-b3d2c09fda2f" providerId="ADAL" clId="{A46ACBA0-5AFB-4A5E-A03E-A4B171A49DCA}" dt="2024-02-22T11:14:30.460" v="4137" actId="20577"/>
          <ac:spMkLst>
            <pc:docMk/>
            <pc:sldMk cId="1999478384" sldId="281"/>
            <ac:spMk id="2" creationId="{5ACF4512-D37D-564F-A98B-49C8B8BDBB09}"/>
          </ac:spMkLst>
        </pc:spChg>
        <pc:spChg chg="del mod">
          <ac:chgData name="CLAUDIA ELIZABETH ROESSING ROCHA" userId="98c9b574-0003-4444-8361-b3d2c09fda2f" providerId="ADAL" clId="{A46ACBA0-5AFB-4A5E-A03E-A4B171A49DCA}" dt="2024-02-21T22:40:34.092" v="3586" actId="478"/>
          <ac:spMkLst>
            <pc:docMk/>
            <pc:sldMk cId="1999478384" sldId="281"/>
            <ac:spMk id="3" creationId="{9528E80C-233A-9178-A6E1-BFD468EE5D84}"/>
          </ac:spMkLst>
        </pc:spChg>
        <pc:spChg chg="add mod">
          <ac:chgData name="CLAUDIA ELIZABETH ROESSING ROCHA" userId="98c9b574-0003-4444-8361-b3d2c09fda2f" providerId="ADAL" clId="{A46ACBA0-5AFB-4A5E-A03E-A4B171A49DCA}" dt="2024-02-21T22:51:36.748" v="3911" actId="1076"/>
          <ac:spMkLst>
            <pc:docMk/>
            <pc:sldMk cId="1999478384" sldId="281"/>
            <ac:spMk id="10" creationId="{670B5BF7-770A-5C20-56B9-037046962446}"/>
          </ac:spMkLst>
        </pc:spChg>
        <pc:spChg chg="add mod">
          <ac:chgData name="CLAUDIA ELIZABETH ROESSING ROCHA" userId="98c9b574-0003-4444-8361-b3d2c09fda2f" providerId="ADAL" clId="{A46ACBA0-5AFB-4A5E-A03E-A4B171A49DCA}" dt="2024-02-21T22:45:46.608" v="3755" actId="403"/>
          <ac:spMkLst>
            <pc:docMk/>
            <pc:sldMk cId="1999478384" sldId="281"/>
            <ac:spMk id="11" creationId="{53B3CA63-E99F-D60A-5E01-40C55874B650}"/>
          </ac:spMkLst>
        </pc:spChg>
        <pc:spChg chg="add mod">
          <ac:chgData name="CLAUDIA ELIZABETH ROESSING ROCHA" userId="98c9b574-0003-4444-8361-b3d2c09fda2f" providerId="ADAL" clId="{A46ACBA0-5AFB-4A5E-A03E-A4B171A49DCA}" dt="2024-02-22T11:16:07.849" v="4149" actId="1076"/>
          <ac:spMkLst>
            <pc:docMk/>
            <pc:sldMk cId="1999478384" sldId="281"/>
            <ac:spMk id="12" creationId="{43A62AF3-FFDF-0F12-9955-13F65698A244}"/>
          </ac:spMkLst>
        </pc:spChg>
        <pc:spChg chg="add mod">
          <ac:chgData name="CLAUDIA ELIZABETH ROESSING ROCHA" userId="98c9b574-0003-4444-8361-b3d2c09fda2f" providerId="ADAL" clId="{A46ACBA0-5AFB-4A5E-A03E-A4B171A49DCA}" dt="2024-02-22T11:16:11.271" v="4150" actId="1076"/>
          <ac:spMkLst>
            <pc:docMk/>
            <pc:sldMk cId="1999478384" sldId="281"/>
            <ac:spMk id="13" creationId="{6766DFE8-B7E1-0C24-5DCC-DE51C0C543BE}"/>
          </ac:spMkLst>
        </pc:spChg>
        <pc:spChg chg="add mod">
          <ac:chgData name="CLAUDIA ELIZABETH ROESSING ROCHA" userId="98c9b574-0003-4444-8361-b3d2c09fda2f" providerId="ADAL" clId="{A46ACBA0-5AFB-4A5E-A03E-A4B171A49DCA}" dt="2024-02-23T00:11:59.429" v="4778" actId="20577"/>
          <ac:spMkLst>
            <pc:docMk/>
            <pc:sldMk cId="1999478384" sldId="281"/>
            <ac:spMk id="14" creationId="{9237EA0A-2BFA-851A-59AA-ADD8DD4FE082}"/>
          </ac:spMkLst>
        </pc:spChg>
        <pc:spChg chg="add mod">
          <ac:chgData name="CLAUDIA ELIZABETH ROESSING ROCHA" userId="98c9b574-0003-4444-8361-b3d2c09fda2f" providerId="ADAL" clId="{A46ACBA0-5AFB-4A5E-A03E-A4B171A49DCA}" dt="2024-02-22T11:16:16.669" v="4151" actId="1076"/>
          <ac:spMkLst>
            <pc:docMk/>
            <pc:sldMk cId="1999478384" sldId="281"/>
            <ac:spMk id="15" creationId="{73C02937-32D6-3045-2C41-C893187ECFCF}"/>
          </ac:spMkLst>
        </pc:spChg>
        <pc:picChg chg="add mod">
          <ac:chgData name="CLAUDIA ELIZABETH ROESSING ROCHA" userId="98c9b574-0003-4444-8361-b3d2c09fda2f" providerId="ADAL" clId="{A46ACBA0-5AFB-4A5E-A03E-A4B171A49DCA}" dt="2024-02-22T11:13:43.859" v="4115" actId="1076"/>
          <ac:picMkLst>
            <pc:docMk/>
            <pc:sldMk cId="1999478384" sldId="281"/>
            <ac:picMk id="4" creationId="{B59101AB-5001-1A56-E3A4-45BACD637C3E}"/>
          </ac:picMkLst>
        </pc:picChg>
        <pc:picChg chg="add mod">
          <ac:chgData name="CLAUDIA ELIZABETH ROESSING ROCHA" userId="98c9b574-0003-4444-8361-b3d2c09fda2f" providerId="ADAL" clId="{A46ACBA0-5AFB-4A5E-A03E-A4B171A49DCA}" dt="2024-02-21T22:51:33.345" v="3910" actId="1076"/>
          <ac:picMkLst>
            <pc:docMk/>
            <pc:sldMk cId="1999478384" sldId="281"/>
            <ac:picMk id="5" creationId="{091D6B0E-82B4-17EB-7470-4B409E029B9B}"/>
          </ac:picMkLst>
        </pc:picChg>
        <pc:picChg chg="add mod">
          <ac:chgData name="CLAUDIA ELIZABETH ROESSING ROCHA" userId="98c9b574-0003-4444-8361-b3d2c09fda2f" providerId="ADAL" clId="{A46ACBA0-5AFB-4A5E-A03E-A4B171A49DCA}" dt="2024-02-22T11:15:52.069" v="4146" actId="14100"/>
          <ac:picMkLst>
            <pc:docMk/>
            <pc:sldMk cId="1999478384" sldId="281"/>
            <ac:picMk id="7" creationId="{27988F6B-D016-9FBB-23F0-F874FD9EAD14}"/>
          </ac:picMkLst>
        </pc:picChg>
        <pc:picChg chg="add mod">
          <ac:chgData name="CLAUDIA ELIZABETH ROESSING ROCHA" userId="98c9b574-0003-4444-8361-b3d2c09fda2f" providerId="ADAL" clId="{A46ACBA0-5AFB-4A5E-A03E-A4B171A49DCA}" dt="2024-02-22T11:16:00.449" v="4148" actId="1076"/>
          <ac:picMkLst>
            <pc:docMk/>
            <pc:sldMk cId="1999478384" sldId="281"/>
            <ac:picMk id="9" creationId="{63859ADB-03E9-8E85-3887-4D18A0FD703E}"/>
          </ac:picMkLst>
        </pc:picChg>
        <pc:picChg chg="add mod">
          <ac:chgData name="CLAUDIA ELIZABETH ROESSING ROCHA" userId="98c9b574-0003-4444-8361-b3d2c09fda2f" providerId="ADAL" clId="{A46ACBA0-5AFB-4A5E-A03E-A4B171A49DCA}" dt="2024-02-22T11:15:42.319" v="4144" actId="1076"/>
          <ac:picMkLst>
            <pc:docMk/>
            <pc:sldMk cId="1999478384" sldId="281"/>
            <ac:picMk id="1026" creationId="{FBF52E98-476C-A036-F464-60DD35073533}"/>
          </ac:picMkLst>
        </pc:picChg>
      </pc:sldChg>
      <pc:sldChg chg="addSp delSp modSp add mod">
        <pc:chgData name="CLAUDIA ELIZABETH ROESSING ROCHA" userId="98c9b574-0003-4444-8361-b3d2c09fda2f" providerId="ADAL" clId="{A46ACBA0-5AFB-4A5E-A03E-A4B171A49DCA}" dt="2024-02-22T14:25:07.210" v="4369" actId="113"/>
        <pc:sldMkLst>
          <pc:docMk/>
          <pc:sldMk cId="2612890302" sldId="282"/>
        </pc:sldMkLst>
        <pc:spChg chg="mod">
          <ac:chgData name="CLAUDIA ELIZABETH ROESSING ROCHA" userId="98c9b574-0003-4444-8361-b3d2c09fda2f" providerId="ADAL" clId="{A46ACBA0-5AFB-4A5E-A03E-A4B171A49DCA}" dt="2024-02-21T23:24:15.555" v="4107" actId="14100"/>
          <ac:spMkLst>
            <pc:docMk/>
            <pc:sldMk cId="2612890302" sldId="282"/>
            <ac:spMk id="2" creationId="{9B35963D-A000-CD00-143E-BBC321DEDDDB}"/>
          </ac:spMkLst>
        </pc:spChg>
        <pc:spChg chg="mod">
          <ac:chgData name="CLAUDIA ELIZABETH ROESSING ROCHA" userId="98c9b574-0003-4444-8361-b3d2c09fda2f" providerId="ADAL" clId="{A46ACBA0-5AFB-4A5E-A03E-A4B171A49DCA}" dt="2024-02-22T14:23:56.479" v="4353" actId="5793"/>
          <ac:spMkLst>
            <pc:docMk/>
            <pc:sldMk cId="2612890302" sldId="282"/>
            <ac:spMk id="5" creationId="{63DD3A2B-DE33-A348-7DFA-41184881C3FC}"/>
          </ac:spMkLst>
        </pc:spChg>
        <pc:spChg chg="add del">
          <ac:chgData name="CLAUDIA ELIZABETH ROESSING ROCHA" userId="98c9b574-0003-4444-8361-b3d2c09fda2f" providerId="ADAL" clId="{A46ACBA0-5AFB-4A5E-A03E-A4B171A49DCA}" dt="2024-02-22T14:13:55.538" v="4257" actId="478"/>
          <ac:spMkLst>
            <pc:docMk/>
            <pc:sldMk cId="2612890302" sldId="282"/>
            <ac:spMk id="6" creationId="{BBEFF31D-72AD-5095-14D1-D31BE72F2465}"/>
          </ac:spMkLst>
        </pc:spChg>
        <pc:spChg chg="add mod">
          <ac:chgData name="CLAUDIA ELIZABETH ROESSING ROCHA" userId="98c9b574-0003-4444-8361-b3d2c09fda2f" providerId="ADAL" clId="{A46ACBA0-5AFB-4A5E-A03E-A4B171A49DCA}" dt="2024-02-22T14:25:07.210" v="4369" actId="113"/>
          <ac:spMkLst>
            <pc:docMk/>
            <pc:sldMk cId="2612890302" sldId="282"/>
            <ac:spMk id="8" creationId="{A9F9C316-7252-5AC8-3E9B-B02B813B6926}"/>
          </ac:spMkLst>
        </pc:spChg>
        <pc:picChg chg="add mod">
          <ac:chgData name="CLAUDIA ELIZABETH ROESSING ROCHA" userId="98c9b574-0003-4444-8361-b3d2c09fda2f" providerId="ADAL" clId="{A46ACBA0-5AFB-4A5E-A03E-A4B171A49DCA}" dt="2024-02-22T14:24:04.824" v="4354" actId="1076"/>
          <ac:picMkLst>
            <pc:docMk/>
            <pc:sldMk cId="2612890302" sldId="282"/>
            <ac:picMk id="3" creationId="{C01441B1-A6C3-6DE3-BE76-798372BCC25D}"/>
          </ac:picMkLst>
        </pc:picChg>
        <pc:picChg chg="add mod">
          <ac:chgData name="CLAUDIA ELIZABETH ROESSING ROCHA" userId="98c9b574-0003-4444-8361-b3d2c09fda2f" providerId="ADAL" clId="{A46ACBA0-5AFB-4A5E-A03E-A4B171A49DCA}" dt="2024-02-21T23:24:15.555" v="4107" actId="14100"/>
          <ac:picMkLst>
            <pc:docMk/>
            <pc:sldMk cId="2612890302" sldId="282"/>
            <ac:picMk id="2050" creationId="{3120EFB0-7377-C34F-4AFF-DBE7BF8EC9E9}"/>
          </ac:picMkLst>
        </pc:picChg>
      </pc:sldChg>
      <pc:sldChg chg="addSp delSp modSp add mod">
        <pc:chgData name="CLAUDIA ELIZABETH ROESSING ROCHA" userId="98c9b574-0003-4444-8361-b3d2c09fda2f" providerId="ADAL" clId="{A46ACBA0-5AFB-4A5E-A03E-A4B171A49DCA}" dt="2024-02-23T12:53:31.926" v="5244" actId="20577"/>
        <pc:sldMkLst>
          <pc:docMk/>
          <pc:sldMk cId="154732435" sldId="283"/>
        </pc:sldMkLst>
        <pc:spChg chg="mod">
          <ac:chgData name="CLAUDIA ELIZABETH ROESSING ROCHA" userId="98c9b574-0003-4444-8361-b3d2c09fda2f" providerId="ADAL" clId="{A46ACBA0-5AFB-4A5E-A03E-A4B171A49DCA}" dt="2024-02-23T12:53:31.926" v="5244" actId="20577"/>
          <ac:spMkLst>
            <pc:docMk/>
            <pc:sldMk cId="154732435" sldId="283"/>
            <ac:spMk id="2" creationId="{9B35963D-A000-CD00-143E-BBC321DEDDDB}"/>
          </ac:spMkLst>
        </pc:spChg>
        <pc:spChg chg="del">
          <ac:chgData name="CLAUDIA ELIZABETH ROESSING ROCHA" userId="98c9b574-0003-4444-8361-b3d2c09fda2f" providerId="ADAL" clId="{A46ACBA0-5AFB-4A5E-A03E-A4B171A49DCA}" dt="2024-02-21T23:22:32.105" v="4103"/>
          <ac:spMkLst>
            <pc:docMk/>
            <pc:sldMk cId="154732435" sldId="283"/>
            <ac:spMk id="5" creationId="{63DD3A2B-DE33-A348-7DFA-41184881C3FC}"/>
          </ac:spMkLst>
        </pc:spChg>
        <pc:spChg chg="add mod">
          <ac:chgData name="CLAUDIA ELIZABETH ROESSING ROCHA" userId="98c9b574-0003-4444-8361-b3d2c09fda2f" providerId="ADAL" clId="{A46ACBA0-5AFB-4A5E-A03E-A4B171A49DCA}" dt="2024-02-22T14:37:11.615" v="4623" actId="5793"/>
          <ac:spMkLst>
            <pc:docMk/>
            <pc:sldMk cId="154732435" sldId="283"/>
            <ac:spMk id="5" creationId="{C66A2945-2DD7-6AA1-EE3C-97D6A3A8B089}"/>
          </ac:spMkLst>
        </pc:spChg>
        <pc:spChg chg="add mod">
          <ac:chgData name="CLAUDIA ELIZABETH ROESSING ROCHA" userId="98c9b574-0003-4444-8361-b3d2c09fda2f" providerId="ADAL" clId="{A46ACBA0-5AFB-4A5E-A03E-A4B171A49DCA}" dt="2024-02-22T14:29:08.775" v="4480" actId="1076"/>
          <ac:spMkLst>
            <pc:docMk/>
            <pc:sldMk cId="154732435" sldId="283"/>
            <ac:spMk id="7" creationId="{B7934660-55AA-3C29-12C0-8A2CB3A38D0F}"/>
          </ac:spMkLst>
        </pc:spChg>
        <pc:picChg chg="add mod">
          <ac:chgData name="CLAUDIA ELIZABETH ROESSING ROCHA" userId="98c9b574-0003-4444-8361-b3d2c09fda2f" providerId="ADAL" clId="{A46ACBA0-5AFB-4A5E-A03E-A4B171A49DCA}" dt="2024-02-22T14:29:04.477" v="4479" actId="1076"/>
          <ac:picMkLst>
            <pc:docMk/>
            <pc:sldMk cId="154732435" sldId="283"/>
            <ac:picMk id="3" creationId="{2C63E846-069A-1026-29D0-7634E89913D6}"/>
          </ac:picMkLst>
        </pc:picChg>
      </pc:sldChg>
      <pc:sldChg chg="addSp delSp modSp add del mod">
        <pc:chgData name="CLAUDIA ELIZABETH ROESSING ROCHA" userId="98c9b574-0003-4444-8361-b3d2c09fda2f" providerId="ADAL" clId="{A46ACBA0-5AFB-4A5E-A03E-A4B171A49DCA}" dt="2024-02-21T22:37:11.789" v="3300" actId="2696"/>
        <pc:sldMkLst>
          <pc:docMk/>
          <pc:sldMk cId="1166876996" sldId="284"/>
        </pc:sldMkLst>
        <pc:picChg chg="add mod">
          <ac:chgData name="CLAUDIA ELIZABETH ROESSING ROCHA" userId="98c9b574-0003-4444-8361-b3d2c09fda2f" providerId="ADAL" clId="{A46ACBA0-5AFB-4A5E-A03E-A4B171A49DCA}" dt="2024-02-21T20:53:55.745" v="2335" actId="1076"/>
          <ac:picMkLst>
            <pc:docMk/>
            <pc:sldMk cId="1166876996" sldId="284"/>
            <ac:picMk id="4" creationId="{6E1B340D-FBF9-7007-121D-0F2E5E8CC5D0}"/>
          </ac:picMkLst>
        </pc:picChg>
        <pc:picChg chg="del">
          <ac:chgData name="CLAUDIA ELIZABETH ROESSING ROCHA" userId="98c9b574-0003-4444-8361-b3d2c09fda2f" providerId="ADAL" clId="{A46ACBA0-5AFB-4A5E-A03E-A4B171A49DCA}" dt="2024-02-21T20:53:40.542" v="2330" actId="478"/>
          <ac:picMkLst>
            <pc:docMk/>
            <pc:sldMk cId="1166876996" sldId="284"/>
            <ac:picMk id="7" creationId="{903A2874-9895-EBB3-F829-6E9D818C222F}"/>
          </ac:picMkLst>
        </pc:picChg>
      </pc:sldChg>
      <pc:sldChg chg="addSp delSp modSp mod">
        <pc:chgData name="CLAUDIA ELIZABETH ROESSING ROCHA" userId="98c9b574-0003-4444-8361-b3d2c09fda2f" providerId="ADAL" clId="{A46ACBA0-5AFB-4A5E-A03E-A4B171A49DCA}" dt="2024-02-23T13:30:02.110" v="5580" actId="1076"/>
        <pc:sldMkLst>
          <pc:docMk/>
          <pc:sldMk cId="3123340584" sldId="284"/>
        </pc:sldMkLst>
        <pc:spChg chg="del mod">
          <ac:chgData name="CLAUDIA ELIZABETH ROESSING ROCHA" userId="98c9b574-0003-4444-8361-b3d2c09fda2f" providerId="ADAL" clId="{A46ACBA0-5AFB-4A5E-A03E-A4B171A49DCA}" dt="2024-02-23T13:24:15.350" v="5539" actId="478"/>
          <ac:spMkLst>
            <pc:docMk/>
            <pc:sldMk cId="3123340584" sldId="284"/>
            <ac:spMk id="2" creationId="{7416F17F-D9A4-DCF9-3D93-0A0046FEEC74}"/>
          </ac:spMkLst>
        </pc:spChg>
        <pc:spChg chg="del">
          <ac:chgData name="CLAUDIA ELIZABETH ROESSING ROCHA" userId="98c9b574-0003-4444-8361-b3d2c09fda2f" providerId="ADAL" clId="{A46ACBA0-5AFB-4A5E-A03E-A4B171A49DCA}" dt="2024-02-23T13:24:13.452" v="5538" actId="478"/>
          <ac:spMkLst>
            <pc:docMk/>
            <pc:sldMk cId="3123340584" sldId="284"/>
            <ac:spMk id="3" creationId="{6A41FA87-29E1-2DFC-9000-1D18149D866C}"/>
          </ac:spMkLst>
        </pc:spChg>
        <pc:spChg chg="add mod">
          <ac:chgData name="CLAUDIA ELIZABETH ROESSING ROCHA" userId="98c9b574-0003-4444-8361-b3d2c09fda2f" providerId="ADAL" clId="{A46ACBA0-5AFB-4A5E-A03E-A4B171A49DCA}" dt="2024-02-23T13:29:40.386" v="5578" actId="1076"/>
          <ac:spMkLst>
            <pc:docMk/>
            <pc:sldMk cId="3123340584" sldId="284"/>
            <ac:spMk id="6" creationId="{35B2069E-AE31-62E1-D7E6-B4D122CAAA75}"/>
          </ac:spMkLst>
        </pc:spChg>
        <pc:spChg chg="add mod">
          <ac:chgData name="CLAUDIA ELIZABETH ROESSING ROCHA" userId="98c9b574-0003-4444-8361-b3d2c09fda2f" providerId="ADAL" clId="{A46ACBA0-5AFB-4A5E-A03E-A4B171A49DCA}" dt="2024-02-23T13:29:51.711" v="5579" actId="1076"/>
          <ac:spMkLst>
            <pc:docMk/>
            <pc:sldMk cId="3123340584" sldId="284"/>
            <ac:spMk id="12" creationId="{2EEC2B83-0A00-5D7C-C44C-0BD89F4D52A6}"/>
          </ac:spMkLst>
        </pc:spChg>
        <pc:picChg chg="add mod">
          <ac:chgData name="CLAUDIA ELIZABETH ROESSING ROCHA" userId="98c9b574-0003-4444-8361-b3d2c09fda2f" providerId="ADAL" clId="{A46ACBA0-5AFB-4A5E-A03E-A4B171A49DCA}" dt="2024-02-23T13:30:02.110" v="5580" actId="1076"/>
          <ac:picMkLst>
            <pc:docMk/>
            <pc:sldMk cId="3123340584" sldId="284"/>
            <ac:picMk id="5" creationId="{CE7B8E09-D9C7-0C09-4916-245B67AFCC7B}"/>
          </ac:picMkLst>
        </pc:picChg>
        <pc:picChg chg="add del">
          <ac:chgData name="CLAUDIA ELIZABETH ROESSING ROCHA" userId="98c9b574-0003-4444-8361-b3d2c09fda2f" providerId="ADAL" clId="{A46ACBA0-5AFB-4A5E-A03E-A4B171A49DCA}" dt="2024-02-23T13:27:17.144" v="5562" actId="22"/>
          <ac:picMkLst>
            <pc:docMk/>
            <pc:sldMk cId="3123340584" sldId="284"/>
            <ac:picMk id="8" creationId="{5DCDEECE-44F0-857A-AD44-DC8034069636}"/>
          </ac:picMkLst>
        </pc:picChg>
        <pc:picChg chg="add mod">
          <ac:chgData name="CLAUDIA ELIZABETH ROESSING ROCHA" userId="98c9b574-0003-4444-8361-b3d2c09fda2f" providerId="ADAL" clId="{A46ACBA0-5AFB-4A5E-A03E-A4B171A49DCA}" dt="2024-02-23T13:27:43.494" v="5567" actId="1076"/>
          <ac:picMkLst>
            <pc:docMk/>
            <pc:sldMk cId="3123340584" sldId="284"/>
            <ac:picMk id="10" creationId="{4845B328-1AD4-B3DD-5713-B32CD6A85D19}"/>
          </ac:picMkLst>
        </pc:picChg>
      </pc:sldChg>
      <pc:sldChg chg="add del">
        <pc:chgData name="CLAUDIA ELIZABETH ROESSING ROCHA" userId="98c9b574-0003-4444-8361-b3d2c09fda2f" providerId="ADAL" clId="{A46ACBA0-5AFB-4A5E-A03E-A4B171A49DCA}" dt="2024-02-21T23:25:14.400" v="4109" actId="2696"/>
        <pc:sldMkLst>
          <pc:docMk/>
          <pc:sldMk cId="1304849706" sldId="285"/>
        </pc:sldMkLst>
      </pc:sldChg>
      <pc:sldChg chg="modSp mod modNotesTx">
        <pc:chgData name="CLAUDIA ELIZABETH ROESSING ROCHA" userId="98c9b574-0003-4444-8361-b3d2c09fda2f" providerId="ADAL" clId="{A46ACBA0-5AFB-4A5E-A03E-A4B171A49DCA}" dt="2024-02-26T09:20:25.170" v="5727" actId="6549"/>
        <pc:sldMkLst>
          <pc:docMk/>
          <pc:sldMk cId="3753655892" sldId="285"/>
        </pc:sldMkLst>
        <pc:spChg chg="mod">
          <ac:chgData name="CLAUDIA ELIZABETH ROESSING ROCHA" userId="98c9b574-0003-4444-8361-b3d2c09fda2f" providerId="ADAL" clId="{A46ACBA0-5AFB-4A5E-A03E-A4B171A49DCA}" dt="2024-02-23T12:53:23.925" v="5236" actId="20577"/>
          <ac:spMkLst>
            <pc:docMk/>
            <pc:sldMk cId="3753655892" sldId="285"/>
            <ac:spMk id="2" creationId="{9B35963D-A000-CD00-143E-BBC321DEDDDB}"/>
          </ac:spMkLst>
        </pc:spChg>
        <pc:spChg chg="mod">
          <ac:chgData name="CLAUDIA ELIZABETH ROESSING ROCHA" userId="98c9b574-0003-4444-8361-b3d2c09fda2f" providerId="ADAL" clId="{A46ACBA0-5AFB-4A5E-A03E-A4B171A49DCA}" dt="2024-02-23T13:18:23.161" v="5528" actId="6549"/>
          <ac:spMkLst>
            <pc:docMk/>
            <pc:sldMk cId="3753655892" sldId="285"/>
            <ac:spMk id="5" creationId="{4D35A7EE-B521-0A91-38A0-C0E2CF034E9A}"/>
          </ac:spMkLst>
        </pc:spChg>
        <pc:spChg chg="mod">
          <ac:chgData name="CLAUDIA ELIZABETH ROESSING ROCHA" userId="98c9b574-0003-4444-8361-b3d2c09fda2f" providerId="ADAL" clId="{A46ACBA0-5AFB-4A5E-A03E-A4B171A49DCA}" dt="2024-02-23T13:18:43.394" v="5533" actId="1076"/>
          <ac:spMkLst>
            <pc:docMk/>
            <pc:sldMk cId="3753655892" sldId="285"/>
            <ac:spMk id="9" creationId="{B28202B8-99B4-DF09-2EB7-9886F07F749C}"/>
          </ac:spMkLst>
        </pc:spChg>
        <pc:spChg chg="mod">
          <ac:chgData name="CLAUDIA ELIZABETH ROESSING ROCHA" userId="98c9b574-0003-4444-8361-b3d2c09fda2f" providerId="ADAL" clId="{A46ACBA0-5AFB-4A5E-A03E-A4B171A49DCA}" dt="2024-02-23T13:18:30.068" v="5530" actId="1076"/>
          <ac:spMkLst>
            <pc:docMk/>
            <pc:sldMk cId="3753655892" sldId="285"/>
            <ac:spMk id="10" creationId="{0B06F6D8-3573-3589-E1B0-F4C3401CDB5B}"/>
          </ac:spMkLst>
        </pc:spChg>
        <pc:picChg chg="mod">
          <ac:chgData name="CLAUDIA ELIZABETH ROESSING ROCHA" userId="98c9b574-0003-4444-8361-b3d2c09fda2f" providerId="ADAL" clId="{A46ACBA0-5AFB-4A5E-A03E-A4B171A49DCA}" dt="2024-02-23T13:18:39.323" v="5532" actId="1076"/>
          <ac:picMkLst>
            <pc:docMk/>
            <pc:sldMk cId="3753655892" sldId="285"/>
            <ac:picMk id="6" creationId="{5AC7C24F-BEEF-9F52-5E60-CDDF5E0DE677}"/>
          </ac:picMkLst>
        </pc:picChg>
        <pc:picChg chg="mod">
          <ac:chgData name="CLAUDIA ELIZABETH ROESSING ROCHA" userId="98c9b574-0003-4444-8361-b3d2c09fda2f" providerId="ADAL" clId="{A46ACBA0-5AFB-4A5E-A03E-A4B171A49DCA}" dt="2024-02-23T13:18:26.695" v="5529" actId="1076"/>
          <ac:picMkLst>
            <pc:docMk/>
            <pc:sldMk cId="3753655892" sldId="285"/>
            <ac:picMk id="7" creationId="{932878C5-CCA4-7527-D3AC-A4AB954020C9}"/>
          </ac:picMkLst>
        </pc:picChg>
      </pc:sldChg>
      <pc:sldChg chg="add del">
        <pc:chgData name="CLAUDIA ELIZABETH ROESSING ROCHA" userId="98c9b574-0003-4444-8361-b3d2c09fda2f" providerId="ADAL" clId="{A46ACBA0-5AFB-4A5E-A03E-A4B171A49DCA}" dt="2024-02-21T22:37:09.493" v="3299" actId="2696"/>
        <pc:sldMkLst>
          <pc:docMk/>
          <pc:sldMk cId="3939345205" sldId="286"/>
        </pc:sldMkLst>
      </pc:sldChg>
      <pc:sldChg chg="modSp mod ord">
        <pc:chgData name="CLAUDIA ELIZABETH ROESSING ROCHA" userId="98c9b574-0003-4444-8361-b3d2c09fda2f" providerId="ADAL" clId="{A46ACBA0-5AFB-4A5E-A03E-A4B171A49DCA}" dt="2024-02-23T13:42:58.736" v="5593" actId="20577"/>
        <pc:sldMkLst>
          <pc:docMk/>
          <pc:sldMk cId="1264438242" sldId="287"/>
        </pc:sldMkLst>
        <pc:spChg chg="mod">
          <ac:chgData name="CLAUDIA ELIZABETH ROESSING ROCHA" userId="98c9b574-0003-4444-8361-b3d2c09fda2f" providerId="ADAL" clId="{A46ACBA0-5AFB-4A5E-A03E-A4B171A49DCA}" dt="2024-02-23T13:42:58.736" v="5593" actId="20577"/>
          <ac:spMkLst>
            <pc:docMk/>
            <pc:sldMk cId="1264438242" sldId="287"/>
            <ac:spMk id="2" creationId="{8CA5F849-C931-C8CD-A4D6-27C0ADE07903}"/>
          </ac:spMkLst>
        </pc:spChg>
      </pc:sldChg>
      <pc:sldChg chg="addSp delSp modSp new mod">
        <pc:chgData name="CLAUDIA ELIZABETH ROESSING ROCHA" userId="98c9b574-0003-4444-8361-b3d2c09fda2f" providerId="ADAL" clId="{A46ACBA0-5AFB-4A5E-A03E-A4B171A49DCA}" dt="2024-02-26T15:08:53.728" v="5751" actId="20577"/>
        <pc:sldMkLst>
          <pc:docMk/>
          <pc:sldMk cId="2197748877" sldId="288"/>
        </pc:sldMkLst>
        <pc:spChg chg="mod">
          <ac:chgData name="CLAUDIA ELIZABETH ROESSING ROCHA" userId="98c9b574-0003-4444-8361-b3d2c09fda2f" providerId="ADAL" clId="{A46ACBA0-5AFB-4A5E-A03E-A4B171A49DCA}" dt="2024-02-26T15:08:53.728" v="5751" actId="20577"/>
          <ac:spMkLst>
            <pc:docMk/>
            <pc:sldMk cId="2197748877" sldId="288"/>
            <ac:spMk id="2" creationId="{C9D8A13F-C929-9F8F-01C9-632052869971}"/>
          </ac:spMkLst>
        </pc:spChg>
        <pc:spChg chg="del">
          <ac:chgData name="CLAUDIA ELIZABETH ROESSING ROCHA" userId="98c9b574-0003-4444-8361-b3d2c09fda2f" providerId="ADAL" clId="{A46ACBA0-5AFB-4A5E-A03E-A4B171A49DCA}" dt="2024-02-26T15:08:42.588" v="5735"/>
          <ac:spMkLst>
            <pc:docMk/>
            <pc:sldMk cId="2197748877" sldId="288"/>
            <ac:spMk id="3" creationId="{44208E7E-3377-847B-5BFA-8D6BDEDF166E}"/>
          </ac:spMkLst>
        </pc:spChg>
        <pc:picChg chg="add mod">
          <ac:chgData name="CLAUDIA ELIZABETH ROESSING ROCHA" userId="98c9b574-0003-4444-8361-b3d2c09fda2f" providerId="ADAL" clId="{A46ACBA0-5AFB-4A5E-A03E-A4B171A49DCA}" dt="2024-02-26T15:08:42.588" v="5735"/>
          <ac:picMkLst>
            <pc:docMk/>
            <pc:sldMk cId="2197748877" sldId="288"/>
            <ac:picMk id="4" creationId="{22E4EF95-675D-E632-BD65-CC8F8D3A3244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algn="l" defTabSz="912813">
              <a:spcBef>
                <a:spcPct val="0"/>
              </a:spcBef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98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810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algn="r" defTabSz="912813">
              <a:spcBef>
                <a:spcPct val="0"/>
              </a:spcBef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98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2925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l" defTabSz="912813">
              <a:spcBef>
                <a:spcPct val="0"/>
              </a:spcBef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8100" y="9432925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 defTabSz="912813">
              <a:spcBef>
                <a:spcPct val="0"/>
              </a:spcBef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5110A6C-2D6F-4025-9037-C59E651EC92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68411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algn="l" defTabSz="912813">
              <a:spcBef>
                <a:spcPct val="0"/>
              </a:spcBef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10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algn="r" defTabSz="912813">
              <a:spcBef>
                <a:spcPct val="0"/>
              </a:spcBef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7313" y="744538"/>
            <a:ext cx="6619875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8050"/>
            <a:ext cx="5435600" cy="446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E" noProof="0"/>
              <a:t>Click to edit Master text styles</a:t>
            </a:r>
          </a:p>
          <a:p>
            <a:pPr lvl="1"/>
            <a:r>
              <a:rPr lang="en-IE" noProof="0"/>
              <a:t>Second level</a:t>
            </a:r>
          </a:p>
          <a:p>
            <a:pPr lvl="2"/>
            <a:r>
              <a:rPr lang="en-IE" noProof="0"/>
              <a:t>Third level</a:t>
            </a:r>
          </a:p>
          <a:p>
            <a:pPr lvl="3"/>
            <a:r>
              <a:rPr lang="en-IE" noProof="0"/>
              <a:t>Fourth level</a:t>
            </a:r>
          </a:p>
          <a:p>
            <a:pPr lvl="4"/>
            <a:r>
              <a:rPr lang="en-IE" noProof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2925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l" defTabSz="912813">
              <a:spcBef>
                <a:spcPct val="0"/>
              </a:spcBef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100" y="9432925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 defTabSz="912813">
              <a:spcBef>
                <a:spcPct val="0"/>
              </a:spcBef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C56D843-5A02-4CE8-BC33-F49091BE807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59989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58D67C-0DBC-47EA-A7FD-8290817B5251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155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C56D843-5A02-4CE8-BC33-F49091BE8070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19194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C56D843-5A02-4CE8-BC33-F49091BE8070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70408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C56D843-5A02-4CE8-BC33-F49091BE8070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79193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C56D843-5A02-4CE8-BC33-F49091BE8070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57533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C56D843-5A02-4CE8-BC33-F49091BE807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1537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7740DAB-6B09-4404-BF41-0BBDF7432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5633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7740DAB-6B09-4404-BF41-0BBDF7432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>
            <a:extLst>
              <a:ext uri="{FF2B5EF4-FFF2-40B4-BE49-F238E27FC236}">
                <a16:creationId xmlns:a16="http://schemas.microsoft.com/office/drawing/2014/main" id="{08A41A81-0E75-4B19-A8C9-520A81E3C721}"/>
              </a:ext>
            </a:extLst>
          </p:cNvPr>
          <p:cNvSpPr/>
          <p:nvPr userDrawn="1"/>
        </p:nvSpPr>
        <p:spPr>
          <a:xfrm>
            <a:off x="0" y="0"/>
            <a:ext cx="12193193" cy="562499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6">
            <a:extLst>
              <a:ext uri="{FF2B5EF4-FFF2-40B4-BE49-F238E27FC236}">
                <a16:creationId xmlns:a16="http://schemas.microsoft.com/office/drawing/2014/main" id="{20D427B2-926A-4BBB-8933-DC638EB2B966}"/>
              </a:ext>
            </a:extLst>
          </p:cNvPr>
          <p:cNvSpPr/>
          <p:nvPr userDrawn="1"/>
        </p:nvSpPr>
        <p:spPr>
          <a:xfrm>
            <a:off x="2896570" y="5824797"/>
            <a:ext cx="0" cy="683895"/>
          </a:xfrm>
          <a:custGeom>
            <a:avLst/>
            <a:gdLst/>
            <a:ahLst/>
            <a:cxnLst/>
            <a:rect l="l" t="t" r="r" b="b"/>
            <a:pathLst>
              <a:path h="683895">
                <a:moveTo>
                  <a:pt x="0" y="0"/>
                </a:moveTo>
                <a:lnTo>
                  <a:pt x="0" y="683310"/>
                </a:lnTo>
              </a:path>
            </a:pathLst>
          </a:custGeom>
          <a:ln w="12700">
            <a:solidFill>
              <a:srgbClr val="003D4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11D879FA-C912-411D-8592-1B6C1A378C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1627" y="5861186"/>
            <a:ext cx="1357315" cy="609573"/>
          </a:xfrm>
          <a:prstGeom prst="rect">
            <a:avLst/>
          </a:prstGeom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2060" y="4283875"/>
            <a:ext cx="9855200" cy="1470025"/>
          </a:xfrm>
        </p:spPr>
        <p:txBody>
          <a:bodyPr vert="horz" anchor="t"/>
          <a:lstStyle>
            <a:lvl1pPr>
              <a:lnSpc>
                <a:spcPct val="80000"/>
              </a:lnSpc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4B0E4D62-C29C-48FF-9488-34D9AD60D8FD}"/>
              </a:ext>
            </a:extLst>
          </p:cNvPr>
          <p:cNvSpPr>
            <a:spLocks/>
          </p:cNvSpPr>
          <p:nvPr userDrawn="1"/>
        </p:nvSpPr>
        <p:spPr bwMode="auto">
          <a:xfrm>
            <a:off x="239184" y="6597652"/>
            <a:ext cx="126637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defRPr/>
            </a:pPr>
            <a:r>
              <a:rPr lang="en-US" altLang="en-US" sz="800" dirty="0">
                <a:solidFill>
                  <a:prstClr val="white"/>
                </a:solidFill>
                <a:cs typeface="Arial"/>
                <a:sym typeface="Arial" pitchFamily="34" charset="0"/>
              </a:rPr>
              <a:t>© Innovation Value Institute</a:t>
            </a:r>
          </a:p>
        </p:txBody>
      </p:sp>
      <p:pic>
        <p:nvPicPr>
          <p:cNvPr id="15" name="Picture 17" descr="IVI logo lrg 600x139 white bg">
            <a:extLst>
              <a:ext uri="{FF2B5EF4-FFF2-40B4-BE49-F238E27FC236}">
                <a16:creationId xmlns:a16="http://schemas.microsoft.com/office/drawing/2014/main" id="{EFC3A459-2EBA-4EF9-A1A6-62C1495C75F5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69385" y="5940191"/>
            <a:ext cx="1955389" cy="451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999608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90899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35048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7299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74278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75108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E1F4041B-47EF-4111-8834-E95C31D4AA28}"/>
              </a:ext>
            </a:extLst>
          </p:cNvPr>
          <p:cNvSpPr/>
          <p:nvPr userDrawn="1"/>
        </p:nvSpPr>
        <p:spPr>
          <a:xfrm>
            <a:off x="1" y="0"/>
            <a:ext cx="12192001" cy="6858000"/>
          </a:xfrm>
          <a:custGeom>
            <a:avLst/>
            <a:gdLst>
              <a:gd name="connsiteX0" fmla="*/ 12240039 w 12240039"/>
              <a:gd name="connsiteY0" fmla="*/ 5335596 h 6858000"/>
              <a:gd name="connsiteX1" fmla="*/ 12240039 w 12240039"/>
              <a:gd name="connsiteY1" fmla="*/ 6858000 h 6858000"/>
              <a:gd name="connsiteX2" fmla="*/ 11571468 w 12240039"/>
              <a:gd name="connsiteY2" fmla="*/ 6858000 h 6858000"/>
              <a:gd name="connsiteX3" fmla="*/ 11571468 w 12240039"/>
              <a:gd name="connsiteY3" fmla="*/ 1 h 6858000"/>
              <a:gd name="connsiteX4" fmla="*/ 12240039 w 12240039"/>
              <a:gd name="connsiteY4" fmla="*/ 1 h 6858000"/>
              <a:gd name="connsiteX5" fmla="*/ 12240039 w 12240039"/>
              <a:gd name="connsiteY5" fmla="*/ 1522405 h 6858000"/>
              <a:gd name="connsiteX6" fmla="*/ 9257174 w 12240039"/>
              <a:gd name="connsiteY6" fmla="*/ 1 h 6858000"/>
              <a:gd name="connsiteX7" fmla="*/ 10763036 w 12240039"/>
              <a:gd name="connsiteY7" fmla="*/ 1 h 6858000"/>
              <a:gd name="connsiteX8" fmla="*/ 12240039 w 12240039"/>
              <a:gd name="connsiteY8" fmla="*/ 3363290 h 6858000"/>
              <a:gd name="connsiteX9" fmla="*/ 12240039 w 12240039"/>
              <a:gd name="connsiteY9" fmla="*/ 3494711 h 6858000"/>
              <a:gd name="connsiteX10" fmla="*/ 10763036 w 12240039"/>
              <a:gd name="connsiteY10" fmla="*/ 6858000 h 6858000"/>
              <a:gd name="connsiteX11" fmla="*/ 9257174 w 12240039"/>
              <a:gd name="connsiteY11" fmla="*/ 6858000 h 6858000"/>
              <a:gd name="connsiteX12" fmla="*/ 10763036 w 12240039"/>
              <a:gd name="connsiteY12" fmla="*/ 3429000 h 6858000"/>
              <a:gd name="connsiteX13" fmla="*/ 6942881 w 12240039"/>
              <a:gd name="connsiteY13" fmla="*/ 0 h 6858000"/>
              <a:gd name="connsiteX14" fmla="*/ 8448742 w 12240039"/>
              <a:gd name="connsiteY14" fmla="*/ 0 h 6858000"/>
              <a:gd name="connsiteX15" fmla="*/ 9954603 w 12240039"/>
              <a:gd name="connsiteY15" fmla="*/ 3429000 h 6858000"/>
              <a:gd name="connsiteX16" fmla="*/ 8448742 w 12240039"/>
              <a:gd name="connsiteY16" fmla="*/ 6858000 h 6858000"/>
              <a:gd name="connsiteX17" fmla="*/ 6942881 w 12240039"/>
              <a:gd name="connsiteY17" fmla="*/ 6858000 h 6858000"/>
              <a:gd name="connsiteX18" fmla="*/ 8448742 w 12240039"/>
              <a:gd name="connsiteY18" fmla="*/ 3429000 h 6858000"/>
              <a:gd name="connsiteX19" fmla="*/ 4628587 w 12240039"/>
              <a:gd name="connsiteY19" fmla="*/ 0 h 6858000"/>
              <a:gd name="connsiteX20" fmla="*/ 6134449 w 12240039"/>
              <a:gd name="connsiteY20" fmla="*/ 0 h 6858000"/>
              <a:gd name="connsiteX21" fmla="*/ 7640310 w 12240039"/>
              <a:gd name="connsiteY21" fmla="*/ 3429000 h 6858000"/>
              <a:gd name="connsiteX22" fmla="*/ 6134449 w 12240039"/>
              <a:gd name="connsiteY22" fmla="*/ 6858000 h 6858000"/>
              <a:gd name="connsiteX23" fmla="*/ 4628587 w 12240039"/>
              <a:gd name="connsiteY23" fmla="*/ 6858000 h 6858000"/>
              <a:gd name="connsiteX24" fmla="*/ 6134449 w 12240039"/>
              <a:gd name="connsiteY24" fmla="*/ 3429000 h 6858000"/>
              <a:gd name="connsiteX25" fmla="*/ 2314294 w 12240039"/>
              <a:gd name="connsiteY25" fmla="*/ 0 h 6858000"/>
              <a:gd name="connsiteX26" fmla="*/ 3820156 w 12240039"/>
              <a:gd name="connsiteY26" fmla="*/ 0 h 6858000"/>
              <a:gd name="connsiteX27" fmla="*/ 5326016 w 12240039"/>
              <a:gd name="connsiteY27" fmla="*/ 3429000 h 6858000"/>
              <a:gd name="connsiteX28" fmla="*/ 3820156 w 12240039"/>
              <a:gd name="connsiteY28" fmla="*/ 6858000 h 6858000"/>
              <a:gd name="connsiteX29" fmla="*/ 2314294 w 12240039"/>
              <a:gd name="connsiteY29" fmla="*/ 6858000 h 6858000"/>
              <a:gd name="connsiteX30" fmla="*/ 3820156 w 12240039"/>
              <a:gd name="connsiteY30" fmla="*/ 3429000 h 6858000"/>
              <a:gd name="connsiteX31" fmla="*/ 0 w 12240039"/>
              <a:gd name="connsiteY31" fmla="*/ 0 h 6858000"/>
              <a:gd name="connsiteX32" fmla="*/ 1505862 w 12240039"/>
              <a:gd name="connsiteY32" fmla="*/ 0 h 6858000"/>
              <a:gd name="connsiteX33" fmla="*/ 3011723 w 12240039"/>
              <a:gd name="connsiteY33" fmla="*/ 3429000 h 6858000"/>
              <a:gd name="connsiteX34" fmla="*/ 1505862 w 12240039"/>
              <a:gd name="connsiteY34" fmla="*/ 6858000 h 6858000"/>
              <a:gd name="connsiteX35" fmla="*/ 0 w 12240039"/>
              <a:gd name="connsiteY35" fmla="*/ 6858000 h 6858000"/>
              <a:gd name="connsiteX36" fmla="*/ 1505862 w 12240039"/>
              <a:gd name="connsiteY36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2240039" h="6858000">
                <a:moveTo>
                  <a:pt x="12240039" y="5335596"/>
                </a:moveTo>
                <a:lnTo>
                  <a:pt x="12240039" y="6858000"/>
                </a:lnTo>
                <a:lnTo>
                  <a:pt x="11571468" y="6858000"/>
                </a:lnTo>
                <a:close/>
                <a:moveTo>
                  <a:pt x="11571468" y="1"/>
                </a:moveTo>
                <a:lnTo>
                  <a:pt x="12240039" y="1"/>
                </a:lnTo>
                <a:lnTo>
                  <a:pt x="12240039" y="1522405"/>
                </a:lnTo>
                <a:close/>
                <a:moveTo>
                  <a:pt x="9257174" y="1"/>
                </a:moveTo>
                <a:lnTo>
                  <a:pt x="10763036" y="1"/>
                </a:lnTo>
                <a:lnTo>
                  <a:pt x="12240039" y="3363290"/>
                </a:lnTo>
                <a:lnTo>
                  <a:pt x="12240039" y="3494711"/>
                </a:lnTo>
                <a:lnTo>
                  <a:pt x="10763036" y="6858000"/>
                </a:lnTo>
                <a:lnTo>
                  <a:pt x="9257174" y="6858000"/>
                </a:lnTo>
                <a:lnTo>
                  <a:pt x="10763036" y="3429000"/>
                </a:lnTo>
                <a:close/>
                <a:moveTo>
                  <a:pt x="6942881" y="0"/>
                </a:moveTo>
                <a:lnTo>
                  <a:pt x="8448742" y="0"/>
                </a:lnTo>
                <a:lnTo>
                  <a:pt x="9954603" y="3429000"/>
                </a:lnTo>
                <a:lnTo>
                  <a:pt x="8448742" y="6858000"/>
                </a:lnTo>
                <a:lnTo>
                  <a:pt x="6942881" y="6858000"/>
                </a:lnTo>
                <a:lnTo>
                  <a:pt x="8448742" y="3429000"/>
                </a:lnTo>
                <a:close/>
                <a:moveTo>
                  <a:pt x="4628587" y="0"/>
                </a:moveTo>
                <a:lnTo>
                  <a:pt x="6134449" y="0"/>
                </a:lnTo>
                <a:lnTo>
                  <a:pt x="7640310" y="3429000"/>
                </a:lnTo>
                <a:lnTo>
                  <a:pt x="6134449" y="6858000"/>
                </a:lnTo>
                <a:lnTo>
                  <a:pt x="4628587" y="6858000"/>
                </a:lnTo>
                <a:lnTo>
                  <a:pt x="6134449" y="3429000"/>
                </a:lnTo>
                <a:close/>
                <a:moveTo>
                  <a:pt x="2314294" y="0"/>
                </a:moveTo>
                <a:lnTo>
                  <a:pt x="3820156" y="0"/>
                </a:lnTo>
                <a:lnTo>
                  <a:pt x="5326016" y="3429000"/>
                </a:lnTo>
                <a:lnTo>
                  <a:pt x="3820156" y="6858000"/>
                </a:lnTo>
                <a:lnTo>
                  <a:pt x="2314294" y="6858000"/>
                </a:lnTo>
                <a:lnTo>
                  <a:pt x="3820156" y="3429000"/>
                </a:lnTo>
                <a:close/>
                <a:moveTo>
                  <a:pt x="0" y="0"/>
                </a:moveTo>
                <a:lnTo>
                  <a:pt x="1505862" y="0"/>
                </a:lnTo>
                <a:lnTo>
                  <a:pt x="3011723" y="3429000"/>
                </a:lnTo>
                <a:lnTo>
                  <a:pt x="1505862" y="6858000"/>
                </a:lnTo>
                <a:lnTo>
                  <a:pt x="0" y="6858000"/>
                </a:lnTo>
                <a:lnTo>
                  <a:pt x="1505862" y="3429000"/>
                </a:lnTo>
                <a:close/>
              </a:path>
            </a:pathLst>
          </a:custGeom>
          <a:solidFill>
            <a:schemeClr val="accent2"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9297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72443" y="287257"/>
            <a:ext cx="11219559" cy="72424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A710374-A0D0-4639-B013-35A506CD37E6}"/>
              </a:ext>
            </a:extLst>
          </p:cNvPr>
          <p:cNvSpPr>
            <a:spLocks/>
          </p:cNvSpPr>
          <p:nvPr userDrawn="1"/>
        </p:nvSpPr>
        <p:spPr bwMode="auto">
          <a:xfrm>
            <a:off x="9125381" y="6274755"/>
            <a:ext cx="3066619" cy="488403"/>
          </a:xfrm>
          <a:custGeom>
            <a:avLst/>
            <a:gdLst>
              <a:gd name="connsiteX0" fmla="*/ 5307865 w 12192148"/>
              <a:gd name="connsiteY0" fmla="*/ 0 h 1941773"/>
              <a:gd name="connsiteX1" fmla="*/ 5817217 w 12192148"/>
              <a:gd name="connsiteY1" fmla="*/ 0 h 1941773"/>
              <a:gd name="connsiteX2" fmla="*/ 5817217 w 12192148"/>
              <a:gd name="connsiteY2" fmla="*/ 697113 h 1941773"/>
              <a:gd name="connsiteX3" fmla="*/ 6190042 w 12192148"/>
              <a:gd name="connsiteY3" fmla="*/ 697113 h 1941773"/>
              <a:gd name="connsiteX4" fmla="*/ 6190042 w 12192148"/>
              <a:gd name="connsiteY4" fmla="*/ 1325570 h 1941773"/>
              <a:gd name="connsiteX5" fmla="*/ 6489353 w 12192148"/>
              <a:gd name="connsiteY5" fmla="*/ 1325570 h 1941773"/>
              <a:gd name="connsiteX6" fmla="*/ 6489353 w 12192148"/>
              <a:gd name="connsiteY6" fmla="*/ 1114324 h 1941773"/>
              <a:gd name="connsiteX7" fmla="*/ 6898935 w 12192148"/>
              <a:gd name="connsiteY7" fmla="*/ 1114324 h 1941773"/>
              <a:gd name="connsiteX8" fmla="*/ 6898935 w 12192148"/>
              <a:gd name="connsiteY8" fmla="*/ 348556 h 1941773"/>
              <a:gd name="connsiteX9" fmla="*/ 7219249 w 12192148"/>
              <a:gd name="connsiteY9" fmla="*/ 348556 h 1941773"/>
              <a:gd name="connsiteX10" fmla="*/ 7219249 w 12192148"/>
              <a:gd name="connsiteY10" fmla="*/ 1093199 h 1941773"/>
              <a:gd name="connsiteX11" fmla="*/ 7413539 w 12192148"/>
              <a:gd name="connsiteY11" fmla="*/ 1093199 h 1941773"/>
              <a:gd name="connsiteX12" fmla="*/ 7413539 w 12192148"/>
              <a:gd name="connsiteY12" fmla="*/ 517553 h 1941773"/>
              <a:gd name="connsiteX13" fmla="*/ 7875631 w 12192148"/>
              <a:gd name="connsiteY13" fmla="*/ 517553 h 1941773"/>
              <a:gd name="connsiteX14" fmla="*/ 7875631 w 12192148"/>
              <a:gd name="connsiteY14" fmla="*/ 1103761 h 1941773"/>
              <a:gd name="connsiteX15" fmla="*/ 8342975 w 12192148"/>
              <a:gd name="connsiteY15" fmla="*/ 1103761 h 1941773"/>
              <a:gd name="connsiteX16" fmla="*/ 8342975 w 12192148"/>
              <a:gd name="connsiteY16" fmla="*/ 739362 h 1941773"/>
              <a:gd name="connsiteX17" fmla="*/ 8852328 w 12192148"/>
              <a:gd name="connsiteY17" fmla="*/ 739362 h 1941773"/>
              <a:gd name="connsiteX18" fmla="*/ 8852328 w 12192148"/>
              <a:gd name="connsiteY18" fmla="*/ 1093199 h 1941773"/>
              <a:gd name="connsiteX19" fmla="*/ 9240906 w 12192148"/>
              <a:gd name="connsiteY19" fmla="*/ 1093199 h 1941773"/>
              <a:gd name="connsiteX20" fmla="*/ 9240906 w 12192148"/>
              <a:gd name="connsiteY20" fmla="*/ 924202 h 1941773"/>
              <a:gd name="connsiteX21" fmla="*/ 9503459 w 12192148"/>
              <a:gd name="connsiteY21" fmla="*/ 929483 h 1941773"/>
              <a:gd name="connsiteX22" fmla="*/ 9503459 w 12192148"/>
              <a:gd name="connsiteY22" fmla="*/ 781611 h 1941773"/>
              <a:gd name="connsiteX23" fmla="*/ 9771263 w 12192148"/>
              <a:gd name="connsiteY23" fmla="*/ 781611 h 1941773"/>
              <a:gd name="connsiteX24" fmla="*/ 9771263 w 12192148"/>
              <a:gd name="connsiteY24" fmla="*/ 918921 h 1941773"/>
              <a:gd name="connsiteX25" fmla="*/ 10028565 w 12192148"/>
              <a:gd name="connsiteY25" fmla="*/ 918921 h 1941773"/>
              <a:gd name="connsiteX26" fmla="*/ 10028565 w 12192148"/>
              <a:gd name="connsiteY26" fmla="*/ 765768 h 1941773"/>
              <a:gd name="connsiteX27" fmla="*/ 10280615 w 12192148"/>
              <a:gd name="connsiteY27" fmla="*/ 771049 h 1941773"/>
              <a:gd name="connsiteX28" fmla="*/ 10280615 w 12192148"/>
              <a:gd name="connsiteY28" fmla="*/ 190122 h 1941773"/>
              <a:gd name="connsiteX29" fmla="*/ 10789968 w 12192148"/>
              <a:gd name="connsiteY29" fmla="*/ 190122 h 1941773"/>
              <a:gd name="connsiteX30" fmla="*/ 10789968 w 12192148"/>
              <a:gd name="connsiteY30" fmla="*/ 697113 h 1941773"/>
              <a:gd name="connsiteX31" fmla="*/ 11168044 w 12192148"/>
              <a:gd name="connsiteY31" fmla="*/ 697113 h 1941773"/>
              <a:gd name="connsiteX32" fmla="*/ 11168044 w 12192148"/>
              <a:gd name="connsiteY32" fmla="*/ 1621315 h 1941773"/>
              <a:gd name="connsiteX33" fmla="*/ 11467354 w 12192148"/>
              <a:gd name="connsiteY33" fmla="*/ 1621315 h 1941773"/>
              <a:gd name="connsiteX34" fmla="*/ 11467354 w 12192148"/>
              <a:gd name="connsiteY34" fmla="*/ 1114324 h 1941773"/>
              <a:gd name="connsiteX35" fmla="*/ 11871686 w 12192148"/>
              <a:gd name="connsiteY35" fmla="*/ 1114324 h 1941773"/>
              <a:gd name="connsiteX36" fmla="*/ 11871686 w 12192148"/>
              <a:gd name="connsiteY36" fmla="*/ 348556 h 1941773"/>
              <a:gd name="connsiteX37" fmla="*/ 12192000 w 12192148"/>
              <a:gd name="connsiteY37" fmla="*/ 348556 h 1941773"/>
              <a:gd name="connsiteX38" fmla="*/ 12192000 w 12192148"/>
              <a:gd name="connsiteY38" fmla="*/ 1754103 h 1941773"/>
              <a:gd name="connsiteX39" fmla="*/ 12192000 w 12192148"/>
              <a:gd name="connsiteY39" fmla="*/ 1896676 h 1941773"/>
              <a:gd name="connsiteX40" fmla="*/ 12192148 w 12192148"/>
              <a:gd name="connsiteY40" fmla="*/ 1896676 h 1941773"/>
              <a:gd name="connsiteX41" fmla="*/ 12192148 w 12192148"/>
              <a:gd name="connsiteY41" fmla="*/ 1941773 h 1941773"/>
              <a:gd name="connsiteX42" fmla="*/ 0 w 12192148"/>
              <a:gd name="connsiteY42" fmla="*/ 1941773 h 1941773"/>
              <a:gd name="connsiteX43" fmla="*/ 0 w 12192148"/>
              <a:gd name="connsiteY43" fmla="*/ 1896676 h 1941773"/>
              <a:gd name="connsiteX44" fmla="*/ 0 w 12192148"/>
              <a:gd name="connsiteY44" fmla="*/ 1573784 h 1941773"/>
              <a:gd name="connsiteX45" fmla="*/ 112847 w 12192148"/>
              <a:gd name="connsiteY45" fmla="*/ 1573784 h 1941773"/>
              <a:gd name="connsiteX46" fmla="*/ 293106 w 12192148"/>
              <a:gd name="connsiteY46" fmla="*/ 1573784 h 1941773"/>
              <a:gd name="connsiteX47" fmla="*/ 293106 w 12192148"/>
              <a:gd name="connsiteY47" fmla="*/ 411930 h 1941773"/>
              <a:gd name="connsiteX48" fmla="*/ 655428 w 12192148"/>
              <a:gd name="connsiteY48" fmla="*/ 411930 h 1941773"/>
              <a:gd name="connsiteX49" fmla="*/ 655428 w 12192148"/>
              <a:gd name="connsiteY49" fmla="*/ 1373100 h 1941773"/>
              <a:gd name="connsiteX50" fmla="*/ 791956 w 12192148"/>
              <a:gd name="connsiteY50" fmla="*/ 1188260 h 1941773"/>
              <a:gd name="connsiteX51" fmla="*/ 954739 w 12192148"/>
              <a:gd name="connsiteY51" fmla="*/ 1399506 h 1941773"/>
              <a:gd name="connsiteX52" fmla="*/ 1101768 w 12192148"/>
              <a:gd name="connsiteY52" fmla="*/ 1188260 h 1941773"/>
              <a:gd name="connsiteX53" fmla="*/ 1264551 w 12192148"/>
              <a:gd name="connsiteY53" fmla="*/ 1399506 h 1941773"/>
              <a:gd name="connsiteX54" fmla="*/ 1411580 w 12192148"/>
              <a:gd name="connsiteY54" fmla="*/ 1188260 h 1941773"/>
              <a:gd name="connsiteX55" fmla="*/ 1574363 w 12192148"/>
              <a:gd name="connsiteY55" fmla="*/ 1399506 h 1941773"/>
              <a:gd name="connsiteX56" fmla="*/ 1574363 w 12192148"/>
              <a:gd name="connsiteY56" fmla="*/ 1447036 h 1941773"/>
              <a:gd name="connsiteX57" fmla="*/ 1721393 w 12192148"/>
              <a:gd name="connsiteY57" fmla="*/ 1447036 h 1941773"/>
              <a:gd name="connsiteX58" fmla="*/ 1721393 w 12192148"/>
              <a:gd name="connsiteY58" fmla="*/ 1299164 h 1941773"/>
              <a:gd name="connsiteX59" fmla="*/ 1537606 w 12192148"/>
              <a:gd name="connsiteY59" fmla="*/ 1072074 h 1941773"/>
              <a:gd name="connsiteX60" fmla="*/ 1721393 w 12192148"/>
              <a:gd name="connsiteY60" fmla="*/ 844985 h 1941773"/>
              <a:gd name="connsiteX61" fmla="*/ 1721393 w 12192148"/>
              <a:gd name="connsiteY61" fmla="*/ 586208 h 1941773"/>
              <a:gd name="connsiteX62" fmla="*/ 1815912 w 12192148"/>
              <a:gd name="connsiteY62" fmla="*/ 586208 h 1941773"/>
              <a:gd name="connsiteX63" fmla="*/ 1815912 w 12192148"/>
              <a:gd name="connsiteY63" fmla="*/ 844985 h 1941773"/>
              <a:gd name="connsiteX64" fmla="*/ 1999699 w 12192148"/>
              <a:gd name="connsiteY64" fmla="*/ 1072074 h 1941773"/>
              <a:gd name="connsiteX65" fmla="*/ 1815912 w 12192148"/>
              <a:gd name="connsiteY65" fmla="*/ 1299164 h 1941773"/>
              <a:gd name="connsiteX66" fmla="*/ 1815912 w 12192148"/>
              <a:gd name="connsiteY66" fmla="*/ 1447036 h 1941773"/>
              <a:gd name="connsiteX67" fmla="*/ 1941937 w 12192148"/>
              <a:gd name="connsiteY67" fmla="*/ 1447036 h 1941773"/>
              <a:gd name="connsiteX68" fmla="*/ 1941937 w 12192148"/>
              <a:gd name="connsiteY68" fmla="*/ 1293883 h 1941773"/>
              <a:gd name="connsiteX69" fmla="*/ 2099469 w 12192148"/>
              <a:gd name="connsiteY69" fmla="*/ 1293883 h 1941773"/>
              <a:gd name="connsiteX70" fmla="*/ 2099469 w 12192148"/>
              <a:gd name="connsiteY70" fmla="*/ 1093199 h 1941773"/>
              <a:gd name="connsiteX71" fmla="*/ 2440788 w 12192148"/>
              <a:gd name="connsiteY71" fmla="*/ 1093199 h 1941773"/>
              <a:gd name="connsiteX72" fmla="*/ 2440788 w 12192148"/>
              <a:gd name="connsiteY72" fmla="*/ 517553 h 1941773"/>
              <a:gd name="connsiteX73" fmla="*/ 2897630 w 12192148"/>
              <a:gd name="connsiteY73" fmla="*/ 517553 h 1941773"/>
              <a:gd name="connsiteX74" fmla="*/ 2897630 w 12192148"/>
              <a:gd name="connsiteY74" fmla="*/ 1103761 h 1941773"/>
              <a:gd name="connsiteX75" fmla="*/ 3364974 w 12192148"/>
              <a:gd name="connsiteY75" fmla="*/ 1103761 h 1941773"/>
              <a:gd name="connsiteX76" fmla="*/ 3364974 w 12192148"/>
              <a:gd name="connsiteY76" fmla="*/ 739362 h 1941773"/>
              <a:gd name="connsiteX77" fmla="*/ 3879577 w 12192148"/>
              <a:gd name="connsiteY77" fmla="*/ 739362 h 1941773"/>
              <a:gd name="connsiteX78" fmla="*/ 3879577 w 12192148"/>
              <a:gd name="connsiteY78" fmla="*/ 1093199 h 1941773"/>
              <a:gd name="connsiteX79" fmla="*/ 4268157 w 12192148"/>
              <a:gd name="connsiteY79" fmla="*/ 1093199 h 1941773"/>
              <a:gd name="connsiteX80" fmla="*/ 4268157 w 12192148"/>
              <a:gd name="connsiteY80" fmla="*/ 924202 h 1941773"/>
              <a:gd name="connsiteX81" fmla="*/ 4530710 w 12192148"/>
              <a:gd name="connsiteY81" fmla="*/ 929483 h 1941773"/>
              <a:gd name="connsiteX82" fmla="*/ 4530710 w 12192148"/>
              <a:gd name="connsiteY82" fmla="*/ 781611 h 1941773"/>
              <a:gd name="connsiteX83" fmla="*/ 4798513 w 12192148"/>
              <a:gd name="connsiteY83" fmla="*/ 781611 h 1941773"/>
              <a:gd name="connsiteX84" fmla="*/ 4798513 w 12192148"/>
              <a:gd name="connsiteY84" fmla="*/ 918921 h 1941773"/>
              <a:gd name="connsiteX85" fmla="*/ 5055815 w 12192148"/>
              <a:gd name="connsiteY85" fmla="*/ 918921 h 1941773"/>
              <a:gd name="connsiteX86" fmla="*/ 5055815 w 12192148"/>
              <a:gd name="connsiteY86" fmla="*/ 765768 h 1941773"/>
              <a:gd name="connsiteX87" fmla="*/ 5307865 w 12192148"/>
              <a:gd name="connsiteY87" fmla="*/ 771049 h 1941773"/>
              <a:gd name="connsiteX88" fmla="*/ 5307865 w 12192148"/>
              <a:gd name="connsiteY88" fmla="*/ 0 h 1941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12192148" h="1941773">
                <a:moveTo>
                  <a:pt x="5307865" y="0"/>
                </a:moveTo>
                <a:cubicBezTo>
                  <a:pt x="5307865" y="0"/>
                  <a:pt x="5307865" y="0"/>
                  <a:pt x="5817217" y="0"/>
                </a:cubicBezTo>
                <a:cubicBezTo>
                  <a:pt x="5817217" y="0"/>
                  <a:pt x="5817217" y="0"/>
                  <a:pt x="5817217" y="697113"/>
                </a:cubicBezTo>
                <a:cubicBezTo>
                  <a:pt x="5817217" y="697113"/>
                  <a:pt x="5817217" y="697113"/>
                  <a:pt x="6190042" y="697113"/>
                </a:cubicBezTo>
                <a:cubicBezTo>
                  <a:pt x="6190042" y="697113"/>
                  <a:pt x="6190042" y="697113"/>
                  <a:pt x="6190042" y="1325570"/>
                </a:cubicBezTo>
                <a:cubicBezTo>
                  <a:pt x="6190042" y="1325570"/>
                  <a:pt x="6190042" y="1325570"/>
                  <a:pt x="6489353" y="1325570"/>
                </a:cubicBezTo>
                <a:cubicBezTo>
                  <a:pt x="6489353" y="1325570"/>
                  <a:pt x="6489353" y="1325570"/>
                  <a:pt x="6489353" y="1114324"/>
                </a:cubicBezTo>
                <a:cubicBezTo>
                  <a:pt x="6489353" y="1114324"/>
                  <a:pt x="6489353" y="1114324"/>
                  <a:pt x="6898935" y="1114324"/>
                </a:cubicBezTo>
                <a:cubicBezTo>
                  <a:pt x="6898935" y="1114324"/>
                  <a:pt x="6898935" y="1114324"/>
                  <a:pt x="6898935" y="348556"/>
                </a:cubicBezTo>
                <a:cubicBezTo>
                  <a:pt x="6898935" y="348556"/>
                  <a:pt x="6898935" y="348556"/>
                  <a:pt x="7219249" y="348556"/>
                </a:cubicBezTo>
                <a:cubicBezTo>
                  <a:pt x="7219249" y="348556"/>
                  <a:pt x="7219249" y="348556"/>
                  <a:pt x="7219249" y="1093199"/>
                </a:cubicBezTo>
                <a:cubicBezTo>
                  <a:pt x="7219249" y="1093199"/>
                  <a:pt x="7219249" y="1093199"/>
                  <a:pt x="7413539" y="1093199"/>
                </a:cubicBezTo>
                <a:cubicBezTo>
                  <a:pt x="7413539" y="1093199"/>
                  <a:pt x="7413539" y="1093199"/>
                  <a:pt x="7413539" y="517553"/>
                </a:cubicBezTo>
                <a:cubicBezTo>
                  <a:pt x="7413539" y="517553"/>
                  <a:pt x="7413539" y="517553"/>
                  <a:pt x="7875631" y="517553"/>
                </a:cubicBezTo>
                <a:cubicBezTo>
                  <a:pt x="7875631" y="517553"/>
                  <a:pt x="7875631" y="517553"/>
                  <a:pt x="7875631" y="1103761"/>
                </a:cubicBezTo>
                <a:cubicBezTo>
                  <a:pt x="7875631" y="1103761"/>
                  <a:pt x="7875631" y="1103761"/>
                  <a:pt x="8342975" y="1103761"/>
                </a:cubicBezTo>
                <a:cubicBezTo>
                  <a:pt x="8342975" y="1103761"/>
                  <a:pt x="8342975" y="1103761"/>
                  <a:pt x="8342975" y="739362"/>
                </a:cubicBezTo>
                <a:cubicBezTo>
                  <a:pt x="8342975" y="739362"/>
                  <a:pt x="8342975" y="739362"/>
                  <a:pt x="8852328" y="739362"/>
                </a:cubicBezTo>
                <a:cubicBezTo>
                  <a:pt x="8852328" y="739362"/>
                  <a:pt x="8852328" y="739362"/>
                  <a:pt x="8852328" y="1093199"/>
                </a:cubicBezTo>
                <a:cubicBezTo>
                  <a:pt x="8852328" y="1093199"/>
                  <a:pt x="8852328" y="1093199"/>
                  <a:pt x="9240906" y="1093199"/>
                </a:cubicBezTo>
                <a:cubicBezTo>
                  <a:pt x="9240906" y="1093199"/>
                  <a:pt x="9240906" y="1093199"/>
                  <a:pt x="9240906" y="924202"/>
                </a:cubicBezTo>
                <a:cubicBezTo>
                  <a:pt x="9240906" y="924202"/>
                  <a:pt x="9240906" y="924202"/>
                  <a:pt x="9503459" y="929483"/>
                </a:cubicBezTo>
                <a:cubicBezTo>
                  <a:pt x="9503459" y="929483"/>
                  <a:pt x="9503459" y="929483"/>
                  <a:pt x="9503459" y="781611"/>
                </a:cubicBezTo>
                <a:cubicBezTo>
                  <a:pt x="9503459" y="781611"/>
                  <a:pt x="9503459" y="781611"/>
                  <a:pt x="9771263" y="781611"/>
                </a:cubicBezTo>
                <a:cubicBezTo>
                  <a:pt x="9771263" y="781611"/>
                  <a:pt x="9771263" y="781611"/>
                  <a:pt x="9771263" y="918921"/>
                </a:cubicBezTo>
                <a:cubicBezTo>
                  <a:pt x="9771263" y="918921"/>
                  <a:pt x="9771263" y="918921"/>
                  <a:pt x="10028565" y="918921"/>
                </a:cubicBezTo>
                <a:cubicBezTo>
                  <a:pt x="10028565" y="918921"/>
                  <a:pt x="10028565" y="918921"/>
                  <a:pt x="10028565" y="765768"/>
                </a:cubicBezTo>
                <a:cubicBezTo>
                  <a:pt x="10028565" y="765768"/>
                  <a:pt x="10028565" y="765768"/>
                  <a:pt x="10280615" y="771049"/>
                </a:cubicBezTo>
                <a:cubicBezTo>
                  <a:pt x="10280615" y="771049"/>
                  <a:pt x="10280615" y="771049"/>
                  <a:pt x="10280615" y="190122"/>
                </a:cubicBezTo>
                <a:cubicBezTo>
                  <a:pt x="10280615" y="190122"/>
                  <a:pt x="10280615" y="190122"/>
                  <a:pt x="10789968" y="190122"/>
                </a:cubicBezTo>
                <a:cubicBezTo>
                  <a:pt x="10789968" y="190122"/>
                  <a:pt x="10789968" y="190122"/>
                  <a:pt x="10789968" y="697113"/>
                </a:cubicBezTo>
                <a:cubicBezTo>
                  <a:pt x="10789968" y="697113"/>
                  <a:pt x="10789968" y="697113"/>
                  <a:pt x="11168044" y="697113"/>
                </a:cubicBezTo>
                <a:cubicBezTo>
                  <a:pt x="11168044" y="697113"/>
                  <a:pt x="11168044" y="697113"/>
                  <a:pt x="11168044" y="1621315"/>
                </a:cubicBezTo>
                <a:cubicBezTo>
                  <a:pt x="11168044" y="1621315"/>
                  <a:pt x="11168044" y="1621315"/>
                  <a:pt x="11467354" y="1621315"/>
                </a:cubicBezTo>
                <a:cubicBezTo>
                  <a:pt x="11467354" y="1621315"/>
                  <a:pt x="11467354" y="1621315"/>
                  <a:pt x="11467354" y="1114324"/>
                </a:cubicBezTo>
                <a:cubicBezTo>
                  <a:pt x="11467354" y="1114324"/>
                  <a:pt x="11467354" y="1114324"/>
                  <a:pt x="11871686" y="1114324"/>
                </a:cubicBezTo>
                <a:cubicBezTo>
                  <a:pt x="11871686" y="1114324"/>
                  <a:pt x="11871686" y="1114324"/>
                  <a:pt x="11871686" y="348556"/>
                </a:cubicBezTo>
                <a:cubicBezTo>
                  <a:pt x="11871686" y="348556"/>
                  <a:pt x="11871686" y="348556"/>
                  <a:pt x="12192000" y="348556"/>
                </a:cubicBezTo>
                <a:cubicBezTo>
                  <a:pt x="12192000" y="348556"/>
                  <a:pt x="12192000" y="348556"/>
                  <a:pt x="12192000" y="1754103"/>
                </a:cubicBezTo>
                <a:lnTo>
                  <a:pt x="12192000" y="1896676"/>
                </a:lnTo>
                <a:lnTo>
                  <a:pt x="12192148" y="1896676"/>
                </a:lnTo>
                <a:lnTo>
                  <a:pt x="12192148" y="1941773"/>
                </a:lnTo>
                <a:lnTo>
                  <a:pt x="0" y="1941773"/>
                </a:lnTo>
                <a:lnTo>
                  <a:pt x="0" y="1896676"/>
                </a:lnTo>
                <a:lnTo>
                  <a:pt x="0" y="1573784"/>
                </a:lnTo>
                <a:lnTo>
                  <a:pt x="112847" y="1573784"/>
                </a:lnTo>
                <a:cubicBezTo>
                  <a:pt x="165111" y="1573784"/>
                  <a:pt x="224842" y="1573784"/>
                  <a:pt x="293106" y="1573784"/>
                </a:cubicBezTo>
                <a:cubicBezTo>
                  <a:pt x="293106" y="1573784"/>
                  <a:pt x="293106" y="1573784"/>
                  <a:pt x="293106" y="411930"/>
                </a:cubicBezTo>
                <a:cubicBezTo>
                  <a:pt x="293106" y="411930"/>
                  <a:pt x="293106" y="411930"/>
                  <a:pt x="655428" y="411930"/>
                </a:cubicBezTo>
                <a:cubicBezTo>
                  <a:pt x="655428" y="411930"/>
                  <a:pt x="655428" y="411930"/>
                  <a:pt x="655428" y="1373100"/>
                </a:cubicBezTo>
                <a:cubicBezTo>
                  <a:pt x="676433" y="1315008"/>
                  <a:pt x="734194" y="1188260"/>
                  <a:pt x="791956" y="1188260"/>
                </a:cubicBezTo>
                <a:cubicBezTo>
                  <a:pt x="875973" y="1188260"/>
                  <a:pt x="954739" y="1399506"/>
                  <a:pt x="954739" y="1399506"/>
                </a:cubicBezTo>
                <a:cubicBezTo>
                  <a:pt x="954739" y="1399506"/>
                  <a:pt x="1023002" y="1188260"/>
                  <a:pt x="1101768" y="1188260"/>
                </a:cubicBezTo>
                <a:cubicBezTo>
                  <a:pt x="1180534" y="1188260"/>
                  <a:pt x="1264551" y="1399506"/>
                  <a:pt x="1264551" y="1399506"/>
                </a:cubicBezTo>
                <a:cubicBezTo>
                  <a:pt x="1264551" y="1399506"/>
                  <a:pt x="1332815" y="1188260"/>
                  <a:pt x="1411580" y="1188260"/>
                </a:cubicBezTo>
                <a:cubicBezTo>
                  <a:pt x="1490347" y="1188260"/>
                  <a:pt x="1574363" y="1399506"/>
                  <a:pt x="1574363" y="1399506"/>
                </a:cubicBezTo>
                <a:cubicBezTo>
                  <a:pt x="1574363" y="1399506"/>
                  <a:pt x="1574363" y="1399506"/>
                  <a:pt x="1574363" y="1447036"/>
                </a:cubicBezTo>
                <a:cubicBezTo>
                  <a:pt x="1574363" y="1447036"/>
                  <a:pt x="1574363" y="1447036"/>
                  <a:pt x="1721393" y="1447036"/>
                </a:cubicBezTo>
                <a:cubicBezTo>
                  <a:pt x="1721393" y="1447036"/>
                  <a:pt x="1721393" y="1447036"/>
                  <a:pt x="1721393" y="1299164"/>
                </a:cubicBezTo>
                <a:cubicBezTo>
                  <a:pt x="1616372" y="1278040"/>
                  <a:pt x="1537606" y="1182979"/>
                  <a:pt x="1537606" y="1072074"/>
                </a:cubicBezTo>
                <a:cubicBezTo>
                  <a:pt x="1537606" y="961170"/>
                  <a:pt x="1616372" y="866110"/>
                  <a:pt x="1721393" y="844985"/>
                </a:cubicBezTo>
                <a:cubicBezTo>
                  <a:pt x="1721393" y="844985"/>
                  <a:pt x="1721393" y="844985"/>
                  <a:pt x="1721393" y="586208"/>
                </a:cubicBezTo>
                <a:cubicBezTo>
                  <a:pt x="1721393" y="586208"/>
                  <a:pt x="1721393" y="586208"/>
                  <a:pt x="1815912" y="586208"/>
                </a:cubicBezTo>
                <a:cubicBezTo>
                  <a:pt x="1815912" y="586208"/>
                  <a:pt x="1815912" y="586208"/>
                  <a:pt x="1815912" y="844985"/>
                </a:cubicBezTo>
                <a:cubicBezTo>
                  <a:pt x="1920933" y="866110"/>
                  <a:pt x="1999699" y="961170"/>
                  <a:pt x="1999699" y="1072074"/>
                </a:cubicBezTo>
                <a:cubicBezTo>
                  <a:pt x="1999699" y="1188260"/>
                  <a:pt x="1920933" y="1278040"/>
                  <a:pt x="1815912" y="1299164"/>
                </a:cubicBezTo>
                <a:cubicBezTo>
                  <a:pt x="1815912" y="1299164"/>
                  <a:pt x="1815912" y="1299164"/>
                  <a:pt x="1815912" y="1447036"/>
                </a:cubicBezTo>
                <a:cubicBezTo>
                  <a:pt x="1815912" y="1447036"/>
                  <a:pt x="1815912" y="1447036"/>
                  <a:pt x="1941937" y="1447036"/>
                </a:cubicBezTo>
                <a:cubicBezTo>
                  <a:pt x="1941937" y="1447036"/>
                  <a:pt x="1941937" y="1447036"/>
                  <a:pt x="1941937" y="1293883"/>
                </a:cubicBezTo>
                <a:cubicBezTo>
                  <a:pt x="1941937" y="1293883"/>
                  <a:pt x="1941937" y="1293883"/>
                  <a:pt x="2099469" y="1293883"/>
                </a:cubicBezTo>
                <a:cubicBezTo>
                  <a:pt x="2099469" y="1293883"/>
                  <a:pt x="2099469" y="1293883"/>
                  <a:pt x="2099469" y="1093199"/>
                </a:cubicBezTo>
                <a:cubicBezTo>
                  <a:pt x="2099469" y="1093199"/>
                  <a:pt x="2099469" y="1093199"/>
                  <a:pt x="2440788" y="1093199"/>
                </a:cubicBezTo>
                <a:cubicBezTo>
                  <a:pt x="2440788" y="1093199"/>
                  <a:pt x="2440788" y="1093199"/>
                  <a:pt x="2440788" y="517553"/>
                </a:cubicBezTo>
                <a:cubicBezTo>
                  <a:pt x="2440788" y="517553"/>
                  <a:pt x="2440788" y="517553"/>
                  <a:pt x="2897630" y="517553"/>
                </a:cubicBezTo>
                <a:cubicBezTo>
                  <a:pt x="2897630" y="517553"/>
                  <a:pt x="2897630" y="517553"/>
                  <a:pt x="2897630" y="1103761"/>
                </a:cubicBezTo>
                <a:cubicBezTo>
                  <a:pt x="2897630" y="1103761"/>
                  <a:pt x="2897630" y="1103761"/>
                  <a:pt x="3364974" y="1103761"/>
                </a:cubicBezTo>
                <a:cubicBezTo>
                  <a:pt x="3364974" y="1103761"/>
                  <a:pt x="3364974" y="1103761"/>
                  <a:pt x="3364974" y="739362"/>
                </a:cubicBezTo>
                <a:cubicBezTo>
                  <a:pt x="3364974" y="739362"/>
                  <a:pt x="3364974" y="739362"/>
                  <a:pt x="3879577" y="739362"/>
                </a:cubicBezTo>
                <a:cubicBezTo>
                  <a:pt x="3879577" y="739362"/>
                  <a:pt x="3879577" y="739362"/>
                  <a:pt x="3879577" y="1093199"/>
                </a:cubicBezTo>
                <a:cubicBezTo>
                  <a:pt x="3879577" y="1093199"/>
                  <a:pt x="3879577" y="1093199"/>
                  <a:pt x="4268157" y="1093199"/>
                </a:cubicBezTo>
                <a:cubicBezTo>
                  <a:pt x="4268157" y="1093199"/>
                  <a:pt x="4268157" y="1093199"/>
                  <a:pt x="4268157" y="924202"/>
                </a:cubicBezTo>
                <a:cubicBezTo>
                  <a:pt x="4268157" y="924202"/>
                  <a:pt x="4268157" y="924202"/>
                  <a:pt x="4530710" y="929483"/>
                </a:cubicBezTo>
                <a:cubicBezTo>
                  <a:pt x="4530710" y="929483"/>
                  <a:pt x="4530710" y="929483"/>
                  <a:pt x="4530710" y="781611"/>
                </a:cubicBezTo>
                <a:cubicBezTo>
                  <a:pt x="4530710" y="781611"/>
                  <a:pt x="4530710" y="781611"/>
                  <a:pt x="4798513" y="781611"/>
                </a:cubicBezTo>
                <a:cubicBezTo>
                  <a:pt x="4798513" y="781611"/>
                  <a:pt x="4798513" y="781611"/>
                  <a:pt x="4798513" y="918921"/>
                </a:cubicBezTo>
                <a:cubicBezTo>
                  <a:pt x="4798513" y="918921"/>
                  <a:pt x="4798513" y="918921"/>
                  <a:pt x="5055815" y="918921"/>
                </a:cubicBezTo>
                <a:cubicBezTo>
                  <a:pt x="5055815" y="918921"/>
                  <a:pt x="5055815" y="918921"/>
                  <a:pt x="5055815" y="765768"/>
                </a:cubicBezTo>
                <a:cubicBezTo>
                  <a:pt x="5055815" y="765768"/>
                  <a:pt x="5055815" y="765768"/>
                  <a:pt x="5307865" y="771049"/>
                </a:cubicBezTo>
                <a:cubicBezTo>
                  <a:pt x="5307865" y="771049"/>
                  <a:pt x="5307865" y="771049"/>
                  <a:pt x="530786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8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7DB0ECD-F65B-48DE-891A-862D5ACE45DD}"/>
              </a:ext>
            </a:extLst>
          </p:cNvPr>
          <p:cNvSpPr/>
          <p:nvPr userDrawn="1"/>
        </p:nvSpPr>
        <p:spPr>
          <a:xfrm>
            <a:off x="0" y="6730111"/>
            <a:ext cx="12192000" cy="1371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4E7187E-67A8-49EF-8933-FEE04FEAF50C}"/>
              </a:ext>
            </a:extLst>
          </p:cNvPr>
          <p:cNvGrpSpPr/>
          <p:nvPr userDrawn="1"/>
        </p:nvGrpSpPr>
        <p:grpSpPr>
          <a:xfrm flipH="1">
            <a:off x="11178612" y="5759426"/>
            <a:ext cx="817771" cy="809183"/>
            <a:chOff x="3175" y="1588"/>
            <a:chExt cx="4686300" cy="4637087"/>
          </a:xfrm>
          <a:solidFill>
            <a:schemeClr val="accent1"/>
          </a:solidFill>
        </p:grpSpPr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1E0D8746-24E0-4548-8C4D-DD75A2E893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6488" y="3094038"/>
              <a:ext cx="98425" cy="133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Rectangle 6">
              <a:extLst>
                <a:ext uri="{FF2B5EF4-FFF2-40B4-BE49-F238E27FC236}">
                  <a16:creationId xmlns:a16="http://schemas.microsoft.com/office/drawing/2014/main" id="{36672466-A780-459C-AE15-37398D2D60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0975" y="3094038"/>
              <a:ext cx="85725" cy="133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Rectangle 7">
              <a:extLst>
                <a:ext uri="{FF2B5EF4-FFF2-40B4-BE49-F238E27FC236}">
                  <a16:creationId xmlns:a16="http://schemas.microsoft.com/office/drawing/2014/main" id="{29B98435-DD78-4523-A912-E2FFE0743C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7763" y="3148013"/>
              <a:ext cx="357188" cy="635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FBBADD09-E087-4218-94AA-9A732C065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3176588"/>
              <a:ext cx="306388" cy="306387"/>
            </a:xfrm>
            <a:custGeom>
              <a:avLst/>
              <a:gdLst>
                <a:gd name="T0" fmla="*/ 175 w 193"/>
                <a:gd name="T1" fmla="*/ 193 h 193"/>
                <a:gd name="T2" fmla="*/ 0 w 193"/>
                <a:gd name="T3" fmla="*/ 18 h 193"/>
                <a:gd name="T4" fmla="*/ 18 w 193"/>
                <a:gd name="T5" fmla="*/ 0 h 193"/>
                <a:gd name="T6" fmla="*/ 193 w 193"/>
                <a:gd name="T7" fmla="*/ 175 h 193"/>
                <a:gd name="T8" fmla="*/ 175 w 193"/>
                <a:gd name="T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3">
                  <a:moveTo>
                    <a:pt x="175" y="193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193" y="175"/>
                  </a:lnTo>
                  <a:lnTo>
                    <a:pt x="175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AD29BA87-8A6B-454A-870A-0930CAD32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3176588"/>
              <a:ext cx="306388" cy="306387"/>
            </a:xfrm>
            <a:custGeom>
              <a:avLst/>
              <a:gdLst>
                <a:gd name="T0" fmla="*/ 0 w 193"/>
                <a:gd name="T1" fmla="*/ 175 h 193"/>
                <a:gd name="T2" fmla="*/ 175 w 193"/>
                <a:gd name="T3" fmla="*/ 0 h 193"/>
                <a:gd name="T4" fmla="*/ 193 w 193"/>
                <a:gd name="T5" fmla="*/ 18 h 193"/>
                <a:gd name="T6" fmla="*/ 18 w 193"/>
                <a:gd name="T7" fmla="*/ 193 h 193"/>
                <a:gd name="T8" fmla="*/ 0 w 193"/>
                <a:gd name="T9" fmla="*/ 17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3">
                  <a:moveTo>
                    <a:pt x="0" y="175"/>
                  </a:moveTo>
                  <a:lnTo>
                    <a:pt x="175" y="0"/>
                  </a:lnTo>
                  <a:lnTo>
                    <a:pt x="193" y="18"/>
                  </a:lnTo>
                  <a:lnTo>
                    <a:pt x="18" y="193"/>
                  </a:lnTo>
                  <a:lnTo>
                    <a:pt x="0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123A592A-5A52-4664-A9ED-ACB1258380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7763" y="3441700"/>
              <a:ext cx="357188" cy="635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C81F600D-2C20-46EA-8051-63C37B9BE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3470275"/>
              <a:ext cx="306388" cy="304800"/>
            </a:xfrm>
            <a:custGeom>
              <a:avLst/>
              <a:gdLst>
                <a:gd name="T0" fmla="*/ 175 w 193"/>
                <a:gd name="T1" fmla="*/ 192 h 192"/>
                <a:gd name="T2" fmla="*/ 0 w 193"/>
                <a:gd name="T3" fmla="*/ 18 h 192"/>
                <a:gd name="T4" fmla="*/ 18 w 193"/>
                <a:gd name="T5" fmla="*/ 0 h 192"/>
                <a:gd name="T6" fmla="*/ 193 w 193"/>
                <a:gd name="T7" fmla="*/ 174 h 192"/>
                <a:gd name="T8" fmla="*/ 175 w 193"/>
                <a:gd name="T9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2">
                  <a:moveTo>
                    <a:pt x="175" y="192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193" y="174"/>
                  </a:lnTo>
                  <a:lnTo>
                    <a:pt x="175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899F243A-F661-4476-B974-A468A2C72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3470275"/>
              <a:ext cx="306388" cy="304800"/>
            </a:xfrm>
            <a:custGeom>
              <a:avLst/>
              <a:gdLst>
                <a:gd name="T0" fmla="*/ 0 w 193"/>
                <a:gd name="T1" fmla="*/ 174 h 192"/>
                <a:gd name="T2" fmla="*/ 175 w 193"/>
                <a:gd name="T3" fmla="*/ 0 h 192"/>
                <a:gd name="T4" fmla="*/ 193 w 193"/>
                <a:gd name="T5" fmla="*/ 18 h 192"/>
                <a:gd name="T6" fmla="*/ 18 w 193"/>
                <a:gd name="T7" fmla="*/ 192 h 192"/>
                <a:gd name="T8" fmla="*/ 0 w 193"/>
                <a:gd name="T9" fmla="*/ 17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2">
                  <a:moveTo>
                    <a:pt x="0" y="174"/>
                  </a:moveTo>
                  <a:lnTo>
                    <a:pt x="175" y="0"/>
                  </a:lnTo>
                  <a:lnTo>
                    <a:pt x="193" y="18"/>
                  </a:lnTo>
                  <a:lnTo>
                    <a:pt x="18" y="192"/>
                  </a:lnTo>
                  <a:lnTo>
                    <a:pt x="0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551C0F5B-D850-4F14-92ED-08B31C994B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7763" y="3733800"/>
              <a:ext cx="357188" cy="635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DDB35BF1-FC37-43C1-B5CB-9E8BD46BA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3762375"/>
              <a:ext cx="306388" cy="306387"/>
            </a:xfrm>
            <a:custGeom>
              <a:avLst/>
              <a:gdLst>
                <a:gd name="T0" fmla="*/ 175 w 193"/>
                <a:gd name="T1" fmla="*/ 193 h 193"/>
                <a:gd name="T2" fmla="*/ 0 w 193"/>
                <a:gd name="T3" fmla="*/ 18 h 193"/>
                <a:gd name="T4" fmla="*/ 18 w 193"/>
                <a:gd name="T5" fmla="*/ 0 h 193"/>
                <a:gd name="T6" fmla="*/ 193 w 193"/>
                <a:gd name="T7" fmla="*/ 175 h 193"/>
                <a:gd name="T8" fmla="*/ 175 w 193"/>
                <a:gd name="T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3">
                  <a:moveTo>
                    <a:pt x="175" y="193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193" y="175"/>
                  </a:lnTo>
                  <a:lnTo>
                    <a:pt x="175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24FA2821-2268-4EEC-BB62-C826BAA13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3762375"/>
              <a:ext cx="306388" cy="306387"/>
            </a:xfrm>
            <a:custGeom>
              <a:avLst/>
              <a:gdLst>
                <a:gd name="T0" fmla="*/ 0 w 193"/>
                <a:gd name="T1" fmla="*/ 175 h 193"/>
                <a:gd name="T2" fmla="*/ 175 w 193"/>
                <a:gd name="T3" fmla="*/ 0 h 193"/>
                <a:gd name="T4" fmla="*/ 193 w 193"/>
                <a:gd name="T5" fmla="*/ 18 h 193"/>
                <a:gd name="T6" fmla="*/ 18 w 193"/>
                <a:gd name="T7" fmla="*/ 193 h 193"/>
                <a:gd name="T8" fmla="*/ 0 w 193"/>
                <a:gd name="T9" fmla="*/ 17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3">
                  <a:moveTo>
                    <a:pt x="0" y="175"/>
                  </a:moveTo>
                  <a:lnTo>
                    <a:pt x="175" y="0"/>
                  </a:lnTo>
                  <a:lnTo>
                    <a:pt x="193" y="18"/>
                  </a:lnTo>
                  <a:lnTo>
                    <a:pt x="18" y="193"/>
                  </a:lnTo>
                  <a:lnTo>
                    <a:pt x="0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Rectangle 16">
              <a:extLst>
                <a:ext uri="{FF2B5EF4-FFF2-40B4-BE49-F238E27FC236}">
                  <a16:creationId xmlns:a16="http://schemas.microsoft.com/office/drawing/2014/main" id="{CD9D3E4B-0D89-4DC9-9BF3-1825125DE4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7763" y="4027488"/>
              <a:ext cx="357188" cy="635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D396BA03-71DB-4A9E-A491-CC50B3E01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4056063"/>
              <a:ext cx="306388" cy="304800"/>
            </a:xfrm>
            <a:custGeom>
              <a:avLst/>
              <a:gdLst>
                <a:gd name="T0" fmla="*/ 175 w 193"/>
                <a:gd name="T1" fmla="*/ 192 h 192"/>
                <a:gd name="T2" fmla="*/ 0 w 193"/>
                <a:gd name="T3" fmla="*/ 18 h 192"/>
                <a:gd name="T4" fmla="*/ 18 w 193"/>
                <a:gd name="T5" fmla="*/ 0 h 192"/>
                <a:gd name="T6" fmla="*/ 193 w 193"/>
                <a:gd name="T7" fmla="*/ 174 h 192"/>
                <a:gd name="T8" fmla="*/ 175 w 193"/>
                <a:gd name="T9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2">
                  <a:moveTo>
                    <a:pt x="175" y="192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193" y="174"/>
                  </a:lnTo>
                  <a:lnTo>
                    <a:pt x="175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89B117B3-FDE2-48F4-8E18-99B713916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4056063"/>
              <a:ext cx="306388" cy="304800"/>
            </a:xfrm>
            <a:custGeom>
              <a:avLst/>
              <a:gdLst>
                <a:gd name="T0" fmla="*/ 0 w 193"/>
                <a:gd name="T1" fmla="*/ 174 h 192"/>
                <a:gd name="T2" fmla="*/ 175 w 193"/>
                <a:gd name="T3" fmla="*/ 0 h 192"/>
                <a:gd name="T4" fmla="*/ 193 w 193"/>
                <a:gd name="T5" fmla="*/ 18 h 192"/>
                <a:gd name="T6" fmla="*/ 18 w 193"/>
                <a:gd name="T7" fmla="*/ 192 h 192"/>
                <a:gd name="T8" fmla="*/ 0 w 193"/>
                <a:gd name="T9" fmla="*/ 17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2">
                  <a:moveTo>
                    <a:pt x="0" y="174"/>
                  </a:moveTo>
                  <a:lnTo>
                    <a:pt x="175" y="0"/>
                  </a:lnTo>
                  <a:lnTo>
                    <a:pt x="193" y="18"/>
                  </a:lnTo>
                  <a:lnTo>
                    <a:pt x="18" y="192"/>
                  </a:lnTo>
                  <a:lnTo>
                    <a:pt x="0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Rectangle 19">
              <a:extLst>
                <a:ext uri="{FF2B5EF4-FFF2-40B4-BE49-F238E27FC236}">
                  <a16:creationId xmlns:a16="http://schemas.microsoft.com/office/drawing/2014/main" id="{4D15AB71-4C87-4F96-A6F1-334D55AADD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6488" y="1897063"/>
              <a:ext cx="98425" cy="128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Rectangle 20">
              <a:extLst>
                <a:ext uri="{FF2B5EF4-FFF2-40B4-BE49-F238E27FC236}">
                  <a16:creationId xmlns:a16="http://schemas.microsoft.com/office/drawing/2014/main" id="{248F0BE9-E11B-4028-814F-E2A724D173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0975" y="1897063"/>
              <a:ext cx="85725" cy="128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Rectangle 21">
              <a:extLst>
                <a:ext uri="{FF2B5EF4-FFF2-40B4-BE49-F238E27FC236}">
                  <a16:creationId xmlns:a16="http://schemas.microsoft.com/office/drawing/2014/main" id="{DEB11266-49E8-4D24-8542-C4A048AF0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7763" y="1897063"/>
              <a:ext cx="357188" cy="635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D411A65D-2AF3-496C-83AD-506A50975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1925638"/>
              <a:ext cx="306388" cy="304800"/>
            </a:xfrm>
            <a:custGeom>
              <a:avLst/>
              <a:gdLst>
                <a:gd name="T0" fmla="*/ 175 w 193"/>
                <a:gd name="T1" fmla="*/ 192 h 192"/>
                <a:gd name="T2" fmla="*/ 0 w 193"/>
                <a:gd name="T3" fmla="*/ 18 h 192"/>
                <a:gd name="T4" fmla="*/ 18 w 193"/>
                <a:gd name="T5" fmla="*/ 0 h 192"/>
                <a:gd name="T6" fmla="*/ 193 w 193"/>
                <a:gd name="T7" fmla="*/ 174 h 192"/>
                <a:gd name="T8" fmla="*/ 175 w 193"/>
                <a:gd name="T9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2">
                  <a:moveTo>
                    <a:pt x="175" y="192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193" y="174"/>
                  </a:lnTo>
                  <a:lnTo>
                    <a:pt x="175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340303F8-CA51-4013-9A24-EEBF9EBC0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1925638"/>
              <a:ext cx="306388" cy="304800"/>
            </a:xfrm>
            <a:custGeom>
              <a:avLst/>
              <a:gdLst>
                <a:gd name="T0" fmla="*/ 0 w 193"/>
                <a:gd name="T1" fmla="*/ 174 h 192"/>
                <a:gd name="T2" fmla="*/ 175 w 193"/>
                <a:gd name="T3" fmla="*/ 0 h 192"/>
                <a:gd name="T4" fmla="*/ 193 w 193"/>
                <a:gd name="T5" fmla="*/ 18 h 192"/>
                <a:gd name="T6" fmla="*/ 18 w 193"/>
                <a:gd name="T7" fmla="*/ 192 h 192"/>
                <a:gd name="T8" fmla="*/ 0 w 193"/>
                <a:gd name="T9" fmla="*/ 17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2">
                  <a:moveTo>
                    <a:pt x="0" y="174"/>
                  </a:moveTo>
                  <a:lnTo>
                    <a:pt x="175" y="0"/>
                  </a:lnTo>
                  <a:lnTo>
                    <a:pt x="193" y="18"/>
                  </a:lnTo>
                  <a:lnTo>
                    <a:pt x="18" y="192"/>
                  </a:lnTo>
                  <a:lnTo>
                    <a:pt x="0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Rectangle 24">
              <a:extLst>
                <a:ext uri="{FF2B5EF4-FFF2-40B4-BE49-F238E27FC236}">
                  <a16:creationId xmlns:a16="http://schemas.microsoft.com/office/drawing/2014/main" id="{34F8A7A6-DC0C-48BD-AB47-EA5A934ABE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7763" y="2189163"/>
              <a:ext cx="357188" cy="635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96DEEB0A-E270-4DD9-9017-7926F8547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2217738"/>
              <a:ext cx="306388" cy="306387"/>
            </a:xfrm>
            <a:custGeom>
              <a:avLst/>
              <a:gdLst>
                <a:gd name="T0" fmla="*/ 175 w 193"/>
                <a:gd name="T1" fmla="*/ 193 h 193"/>
                <a:gd name="T2" fmla="*/ 0 w 193"/>
                <a:gd name="T3" fmla="*/ 18 h 193"/>
                <a:gd name="T4" fmla="*/ 18 w 193"/>
                <a:gd name="T5" fmla="*/ 0 h 193"/>
                <a:gd name="T6" fmla="*/ 193 w 193"/>
                <a:gd name="T7" fmla="*/ 175 h 193"/>
                <a:gd name="T8" fmla="*/ 175 w 193"/>
                <a:gd name="T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3">
                  <a:moveTo>
                    <a:pt x="175" y="193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193" y="175"/>
                  </a:lnTo>
                  <a:lnTo>
                    <a:pt x="175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B5AAD273-90EB-45E1-9BBE-8741FDB77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2217738"/>
              <a:ext cx="306388" cy="306387"/>
            </a:xfrm>
            <a:custGeom>
              <a:avLst/>
              <a:gdLst>
                <a:gd name="T0" fmla="*/ 0 w 193"/>
                <a:gd name="T1" fmla="*/ 175 h 193"/>
                <a:gd name="T2" fmla="*/ 175 w 193"/>
                <a:gd name="T3" fmla="*/ 0 h 193"/>
                <a:gd name="T4" fmla="*/ 193 w 193"/>
                <a:gd name="T5" fmla="*/ 18 h 193"/>
                <a:gd name="T6" fmla="*/ 18 w 193"/>
                <a:gd name="T7" fmla="*/ 193 h 193"/>
                <a:gd name="T8" fmla="*/ 0 w 193"/>
                <a:gd name="T9" fmla="*/ 17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3">
                  <a:moveTo>
                    <a:pt x="0" y="175"/>
                  </a:moveTo>
                  <a:lnTo>
                    <a:pt x="175" y="0"/>
                  </a:lnTo>
                  <a:lnTo>
                    <a:pt x="193" y="18"/>
                  </a:lnTo>
                  <a:lnTo>
                    <a:pt x="18" y="193"/>
                  </a:lnTo>
                  <a:lnTo>
                    <a:pt x="0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4" name="Rectangle 27">
              <a:extLst>
                <a:ext uri="{FF2B5EF4-FFF2-40B4-BE49-F238E27FC236}">
                  <a16:creationId xmlns:a16="http://schemas.microsoft.com/office/drawing/2014/main" id="{8DF0AAEB-1341-4548-A29D-7A9DC2A17F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7763" y="2482850"/>
              <a:ext cx="357188" cy="635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2CC3CCCD-AA24-440F-A0BE-897C9281D3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2511425"/>
              <a:ext cx="306388" cy="304800"/>
            </a:xfrm>
            <a:custGeom>
              <a:avLst/>
              <a:gdLst>
                <a:gd name="T0" fmla="*/ 175 w 193"/>
                <a:gd name="T1" fmla="*/ 192 h 192"/>
                <a:gd name="T2" fmla="*/ 0 w 193"/>
                <a:gd name="T3" fmla="*/ 18 h 192"/>
                <a:gd name="T4" fmla="*/ 18 w 193"/>
                <a:gd name="T5" fmla="*/ 0 h 192"/>
                <a:gd name="T6" fmla="*/ 193 w 193"/>
                <a:gd name="T7" fmla="*/ 174 h 192"/>
                <a:gd name="T8" fmla="*/ 175 w 193"/>
                <a:gd name="T9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2">
                  <a:moveTo>
                    <a:pt x="175" y="192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193" y="174"/>
                  </a:lnTo>
                  <a:lnTo>
                    <a:pt x="175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034501E6-BB13-484D-861F-D4CFA91A5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2511425"/>
              <a:ext cx="306388" cy="304800"/>
            </a:xfrm>
            <a:custGeom>
              <a:avLst/>
              <a:gdLst>
                <a:gd name="T0" fmla="*/ 0 w 193"/>
                <a:gd name="T1" fmla="*/ 174 h 192"/>
                <a:gd name="T2" fmla="*/ 175 w 193"/>
                <a:gd name="T3" fmla="*/ 0 h 192"/>
                <a:gd name="T4" fmla="*/ 193 w 193"/>
                <a:gd name="T5" fmla="*/ 18 h 192"/>
                <a:gd name="T6" fmla="*/ 18 w 193"/>
                <a:gd name="T7" fmla="*/ 192 h 192"/>
                <a:gd name="T8" fmla="*/ 0 w 193"/>
                <a:gd name="T9" fmla="*/ 17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2">
                  <a:moveTo>
                    <a:pt x="0" y="174"/>
                  </a:moveTo>
                  <a:lnTo>
                    <a:pt x="175" y="0"/>
                  </a:lnTo>
                  <a:lnTo>
                    <a:pt x="193" y="18"/>
                  </a:lnTo>
                  <a:lnTo>
                    <a:pt x="18" y="192"/>
                  </a:lnTo>
                  <a:lnTo>
                    <a:pt x="0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Rectangle 30">
              <a:extLst>
                <a:ext uri="{FF2B5EF4-FFF2-40B4-BE49-F238E27FC236}">
                  <a16:creationId xmlns:a16="http://schemas.microsoft.com/office/drawing/2014/main" id="{0D67A953-9F89-4360-9C0B-AD7C57905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7763" y="2774950"/>
              <a:ext cx="357188" cy="635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959C6397-6B14-4BF1-939F-1CEBB2C92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2803525"/>
              <a:ext cx="306388" cy="306387"/>
            </a:xfrm>
            <a:custGeom>
              <a:avLst/>
              <a:gdLst>
                <a:gd name="T0" fmla="*/ 175 w 193"/>
                <a:gd name="T1" fmla="*/ 193 h 193"/>
                <a:gd name="T2" fmla="*/ 0 w 193"/>
                <a:gd name="T3" fmla="*/ 18 h 193"/>
                <a:gd name="T4" fmla="*/ 18 w 193"/>
                <a:gd name="T5" fmla="*/ 0 h 193"/>
                <a:gd name="T6" fmla="*/ 193 w 193"/>
                <a:gd name="T7" fmla="*/ 175 h 193"/>
                <a:gd name="T8" fmla="*/ 175 w 193"/>
                <a:gd name="T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3">
                  <a:moveTo>
                    <a:pt x="175" y="193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193" y="175"/>
                  </a:lnTo>
                  <a:lnTo>
                    <a:pt x="175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086DEA11-5A0F-41A0-9E58-93A548D40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2803525"/>
              <a:ext cx="306388" cy="306387"/>
            </a:xfrm>
            <a:custGeom>
              <a:avLst/>
              <a:gdLst>
                <a:gd name="T0" fmla="*/ 0 w 193"/>
                <a:gd name="T1" fmla="*/ 175 h 193"/>
                <a:gd name="T2" fmla="*/ 175 w 193"/>
                <a:gd name="T3" fmla="*/ 0 h 193"/>
                <a:gd name="T4" fmla="*/ 193 w 193"/>
                <a:gd name="T5" fmla="*/ 18 h 193"/>
                <a:gd name="T6" fmla="*/ 18 w 193"/>
                <a:gd name="T7" fmla="*/ 193 h 193"/>
                <a:gd name="T8" fmla="*/ 0 w 193"/>
                <a:gd name="T9" fmla="*/ 17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93">
                  <a:moveTo>
                    <a:pt x="0" y="175"/>
                  </a:moveTo>
                  <a:lnTo>
                    <a:pt x="175" y="0"/>
                  </a:lnTo>
                  <a:lnTo>
                    <a:pt x="193" y="18"/>
                  </a:lnTo>
                  <a:lnTo>
                    <a:pt x="18" y="193"/>
                  </a:lnTo>
                  <a:lnTo>
                    <a:pt x="0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0" name="Rectangle 33">
              <a:extLst>
                <a:ext uri="{FF2B5EF4-FFF2-40B4-BE49-F238E27FC236}">
                  <a16:creationId xmlns:a16="http://schemas.microsoft.com/office/drawing/2014/main" id="{95EF28D8-427E-4E48-8227-A39E83E637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513" y="919163"/>
              <a:ext cx="44450" cy="981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Rectangle 34">
              <a:extLst>
                <a:ext uri="{FF2B5EF4-FFF2-40B4-BE49-F238E27FC236}">
                  <a16:creationId xmlns:a16="http://schemas.microsoft.com/office/drawing/2014/main" id="{8AB2938F-B634-4E8A-B393-1E4DB0460B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2875" y="919163"/>
              <a:ext cx="53975" cy="981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2" name="Rectangle 35">
              <a:extLst>
                <a:ext uri="{FF2B5EF4-FFF2-40B4-BE49-F238E27FC236}">
                  <a16:creationId xmlns:a16="http://schemas.microsoft.com/office/drawing/2014/main" id="{7AC677A7-BB8A-491C-A45F-A59C133CF5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513" y="915988"/>
              <a:ext cx="274638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0BF19144-EB5A-46F2-A7B5-9BFF79F92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938213"/>
              <a:ext cx="236538" cy="234950"/>
            </a:xfrm>
            <a:custGeom>
              <a:avLst/>
              <a:gdLst>
                <a:gd name="T0" fmla="*/ 135 w 149"/>
                <a:gd name="T1" fmla="*/ 148 h 148"/>
                <a:gd name="T2" fmla="*/ 0 w 149"/>
                <a:gd name="T3" fmla="*/ 14 h 148"/>
                <a:gd name="T4" fmla="*/ 14 w 149"/>
                <a:gd name="T5" fmla="*/ 0 h 148"/>
                <a:gd name="T6" fmla="*/ 149 w 149"/>
                <a:gd name="T7" fmla="*/ 134 h 148"/>
                <a:gd name="T8" fmla="*/ 135 w 149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8">
                  <a:moveTo>
                    <a:pt x="135" y="148"/>
                  </a:moveTo>
                  <a:lnTo>
                    <a:pt x="0" y="14"/>
                  </a:lnTo>
                  <a:lnTo>
                    <a:pt x="14" y="0"/>
                  </a:lnTo>
                  <a:lnTo>
                    <a:pt x="149" y="134"/>
                  </a:lnTo>
                  <a:lnTo>
                    <a:pt x="135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3DE460ED-F9F1-4390-B1B1-E1F0AAB4F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938213"/>
              <a:ext cx="236538" cy="234950"/>
            </a:xfrm>
            <a:custGeom>
              <a:avLst/>
              <a:gdLst>
                <a:gd name="T0" fmla="*/ 0 w 149"/>
                <a:gd name="T1" fmla="*/ 134 h 148"/>
                <a:gd name="T2" fmla="*/ 135 w 149"/>
                <a:gd name="T3" fmla="*/ 0 h 148"/>
                <a:gd name="T4" fmla="*/ 149 w 149"/>
                <a:gd name="T5" fmla="*/ 14 h 148"/>
                <a:gd name="T6" fmla="*/ 14 w 149"/>
                <a:gd name="T7" fmla="*/ 148 h 148"/>
                <a:gd name="T8" fmla="*/ 0 w 149"/>
                <a:gd name="T9" fmla="*/ 13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8">
                  <a:moveTo>
                    <a:pt x="0" y="134"/>
                  </a:moveTo>
                  <a:lnTo>
                    <a:pt x="135" y="0"/>
                  </a:lnTo>
                  <a:lnTo>
                    <a:pt x="149" y="14"/>
                  </a:lnTo>
                  <a:lnTo>
                    <a:pt x="14" y="148"/>
                  </a:lnTo>
                  <a:lnTo>
                    <a:pt x="0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5" name="Rectangle 38">
              <a:extLst>
                <a:ext uri="{FF2B5EF4-FFF2-40B4-BE49-F238E27FC236}">
                  <a16:creationId xmlns:a16="http://schemas.microsoft.com/office/drawing/2014/main" id="{A0875147-4462-4486-A8D9-B5FBD6147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513" y="1141413"/>
              <a:ext cx="274638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F9D2850E-CADF-4A4F-9B9D-93A82DE33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1160463"/>
              <a:ext cx="236538" cy="236537"/>
            </a:xfrm>
            <a:custGeom>
              <a:avLst/>
              <a:gdLst>
                <a:gd name="T0" fmla="*/ 135 w 149"/>
                <a:gd name="T1" fmla="*/ 149 h 149"/>
                <a:gd name="T2" fmla="*/ 0 w 149"/>
                <a:gd name="T3" fmla="*/ 14 h 149"/>
                <a:gd name="T4" fmla="*/ 14 w 149"/>
                <a:gd name="T5" fmla="*/ 0 h 149"/>
                <a:gd name="T6" fmla="*/ 149 w 149"/>
                <a:gd name="T7" fmla="*/ 135 h 149"/>
                <a:gd name="T8" fmla="*/ 135 w 149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9">
                  <a:moveTo>
                    <a:pt x="135" y="149"/>
                  </a:moveTo>
                  <a:lnTo>
                    <a:pt x="0" y="14"/>
                  </a:lnTo>
                  <a:lnTo>
                    <a:pt x="14" y="0"/>
                  </a:lnTo>
                  <a:lnTo>
                    <a:pt x="149" y="135"/>
                  </a:lnTo>
                  <a:lnTo>
                    <a:pt x="135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FEEF3CDA-2F3C-4EF7-A0D3-8A4AA9FD7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1160463"/>
              <a:ext cx="236538" cy="236537"/>
            </a:xfrm>
            <a:custGeom>
              <a:avLst/>
              <a:gdLst>
                <a:gd name="T0" fmla="*/ 0 w 149"/>
                <a:gd name="T1" fmla="*/ 135 h 149"/>
                <a:gd name="T2" fmla="*/ 135 w 149"/>
                <a:gd name="T3" fmla="*/ 0 h 149"/>
                <a:gd name="T4" fmla="*/ 149 w 149"/>
                <a:gd name="T5" fmla="*/ 14 h 149"/>
                <a:gd name="T6" fmla="*/ 14 w 149"/>
                <a:gd name="T7" fmla="*/ 149 h 149"/>
                <a:gd name="T8" fmla="*/ 0 w 149"/>
                <a:gd name="T9" fmla="*/ 13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9">
                  <a:moveTo>
                    <a:pt x="0" y="135"/>
                  </a:moveTo>
                  <a:lnTo>
                    <a:pt x="135" y="0"/>
                  </a:lnTo>
                  <a:lnTo>
                    <a:pt x="149" y="14"/>
                  </a:lnTo>
                  <a:lnTo>
                    <a:pt x="14" y="149"/>
                  </a:lnTo>
                  <a:lnTo>
                    <a:pt x="0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8" name="Rectangle 41">
              <a:extLst>
                <a:ext uri="{FF2B5EF4-FFF2-40B4-BE49-F238E27FC236}">
                  <a16:creationId xmlns:a16="http://schemas.microsoft.com/office/drawing/2014/main" id="{3342AED6-93BC-4255-97D4-E231A10A4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513" y="1365250"/>
              <a:ext cx="274638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5D5E12A5-7039-45EB-8E89-848972235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1387475"/>
              <a:ext cx="236538" cy="231775"/>
            </a:xfrm>
            <a:custGeom>
              <a:avLst/>
              <a:gdLst>
                <a:gd name="T0" fmla="*/ 135 w 149"/>
                <a:gd name="T1" fmla="*/ 146 h 146"/>
                <a:gd name="T2" fmla="*/ 0 w 149"/>
                <a:gd name="T3" fmla="*/ 12 h 146"/>
                <a:gd name="T4" fmla="*/ 14 w 149"/>
                <a:gd name="T5" fmla="*/ 0 h 146"/>
                <a:gd name="T6" fmla="*/ 149 w 149"/>
                <a:gd name="T7" fmla="*/ 134 h 146"/>
                <a:gd name="T8" fmla="*/ 135 w 149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6">
                  <a:moveTo>
                    <a:pt x="135" y="146"/>
                  </a:moveTo>
                  <a:lnTo>
                    <a:pt x="0" y="12"/>
                  </a:lnTo>
                  <a:lnTo>
                    <a:pt x="14" y="0"/>
                  </a:lnTo>
                  <a:lnTo>
                    <a:pt x="149" y="134"/>
                  </a:lnTo>
                  <a:lnTo>
                    <a:pt x="135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4E825686-FC6B-43A0-9C18-8B370A8DE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1387475"/>
              <a:ext cx="236538" cy="231775"/>
            </a:xfrm>
            <a:custGeom>
              <a:avLst/>
              <a:gdLst>
                <a:gd name="T0" fmla="*/ 0 w 149"/>
                <a:gd name="T1" fmla="*/ 134 h 146"/>
                <a:gd name="T2" fmla="*/ 135 w 149"/>
                <a:gd name="T3" fmla="*/ 0 h 146"/>
                <a:gd name="T4" fmla="*/ 149 w 149"/>
                <a:gd name="T5" fmla="*/ 12 h 146"/>
                <a:gd name="T6" fmla="*/ 14 w 149"/>
                <a:gd name="T7" fmla="*/ 146 h 146"/>
                <a:gd name="T8" fmla="*/ 0 w 149"/>
                <a:gd name="T9" fmla="*/ 13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6">
                  <a:moveTo>
                    <a:pt x="0" y="134"/>
                  </a:moveTo>
                  <a:lnTo>
                    <a:pt x="135" y="0"/>
                  </a:lnTo>
                  <a:lnTo>
                    <a:pt x="149" y="12"/>
                  </a:lnTo>
                  <a:lnTo>
                    <a:pt x="14" y="146"/>
                  </a:lnTo>
                  <a:lnTo>
                    <a:pt x="0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Rectangle 44">
              <a:extLst>
                <a:ext uri="{FF2B5EF4-FFF2-40B4-BE49-F238E27FC236}">
                  <a16:creationId xmlns:a16="http://schemas.microsoft.com/office/drawing/2014/main" id="{571F6FA0-0ACD-47F0-A6EA-23366BFFB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513" y="1590675"/>
              <a:ext cx="274638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3782179F-EDD5-45A3-AEBF-F5BC4E4E6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1609725"/>
              <a:ext cx="236538" cy="236537"/>
            </a:xfrm>
            <a:custGeom>
              <a:avLst/>
              <a:gdLst>
                <a:gd name="T0" fmla="*/ 135 w 149"/>
                <a:gd name="T1" fmla="*/ 149 h 149"/>
                <a:gd name="T2" fmla="*/ 0 w 149"/>
                <a:gd name="T3" fmla="*/ 14 h 149"/>
                <a:gd name="T4" fmla="*/ 14 w 149"/>
                <a:gd name="T5" fmla="*/ 0 h 149"/>
                <a:gd name="T6" fmla="*/ 149 w 149"/>
                <a:gd name="T7" fmla="*/ 135 h 149"/>
                <a:gd name="T8" fmla="*/ 135 w 149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9">
                  <a:moveTo>
                    <a:pt x="135" y="149"/>
                  </a:moveTo>
                  <a:lnTo>
                    <a:pt x="0" y="14"/>
                  </a:lnTo>
                  <a:lnTo>
                    <a:pt x="14" y="0"/>
                  </a:lnTo>
                  <a:lnTo>
                    <a:pt x="149" y="135"/>
                  </a:lnTo>
                  <a:lnTo>
                    <a:pt x="135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36C073D7-7EAF-488F-9E76-4B3037D0B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563" y="1609725"/>
              <a:ext cx="236538" cy="236537"/>
            </a:xfrm>
            <a:custGeom>
              <a:avLst/>
              <a:gdLst>
                <a:gd name="T0" fmla="*/ 0 w 149"/>
                <a:gd name="T1" fmla="*/ 135 h 149"/>
                <a:gd name="T2" fmla="*/ 135 w 149"/>
                <a:gd name="T3" fmla="*/ 0 h 149"/>
                <a:gd name="T4" fmla="*/ 149 w 149"/>
                <a:gd name="T5" fmla="*/ 14 h 149"/>
                <a:gd name="T6" fmla="*/ 14 w 149"/>
                <a:gd name="T7" fmla="*/ 149 h 149"/>
                <a:gd name="T8" fmla="*/ 0 w 149"/>
                <a:gd name="T9" fmla="*/ 13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9">
                  <a:moveTo>
                    <a:pt x="0" y="135"/>
                  </a:moveTo>
                  <a:lnTo>
                    <a:pt x="135" y="0"/>
                  </a:lnTo>
                  <a:lnTo>
                    <a:pt x="149" y="14"/>
                  </a:lnTo>
                  <a:lnTo>
                    <a:pt x="14" y="149"/>
                  </a:lnTo>
                  <a:lnTo>
                    <a:pt x="0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4" name="Rectangle 47">
              <a:extLst>
                <a:ext uri="{FF2B5EF4-FFF2-40B4-BE49-F238E27FC236}">
                  <a16:creationId xmlns:a16="http://schemas.microsoft.com/office/drawing/2014/main" id="{CEC5BC9B-46ED-4261-A6E9-E4203D254E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2688" y="217488"/>
              <a:ext cx="44450" cy="7461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5" name="Rectangle 48">
              <a:extLst>
                <a:ext uri="{FF2B5EF4-FFF2-40B4-BE49-F238E27FC236}">
                  <a16:creationId xmlns:a16="http://schemas.microsoft.com/office/drawing/2014/main" id="{3475CBE3-E77C-485B-8A25-FF8E3B7D95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6050" y="217488"/>
              <a:ext cx="53975" cy="7461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8C3A17A5-6EF4-473C-863E-6500240DC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688" y="65088"/>
              <a:ext cx="287338" cy="188912"/>
            </a:xfrm>
            <a:custGeom>
              <a:avLst/>
              <a:gdLst>
                <a:gd name="T0" fmla="*/ 181 w 181"/>
                <a:gd name="T1" fmla="*/ 119 h 119"/>
                <a:gd name="T2" fmla="*/ 0 w 181"/>
                <a:gd name="T3" fmla="*/ 119 h 119"/>
                <a:gd name="T4" fmla="*/ 0 w 181"/>
                <a:gd name="T5" fmla="*/ 80 h 119"/>
                <a:gd name="T6" fmla="*/ 86 w 181"/>
                <a:gd name="T7" fmla="*/ 0 h 119"/>
                <a:gd name="T8" fmla="*/ 181 w 181"/>
                <a:gd name="T9" fmla="*/ 26 h 119"/>
                <a:gd name="T10" fmla="*/ 181 w 181"/>
                <a:gd name="T11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1" h="119">
                  <a:moveTo>
                    <a:pt x="181" y="119"/>
                  </a:moveTo>
                  <a:lnTo>
                    <a:pt x="0" y="119"/>
                  </a:lnTo>
                  <a:lnTo>
                    <a:pt x="0" y="80"/>
                  </a:lnTo>
                  <a:lnTo>
                    <a:pt x="86" y="0"/>
                  </a:lnTo>
                  <a:lnTo>
                    <a:pt x="181" y="26"/>
                  </a:lnTo>
                  <a:lnTo>
                    <a:pt x="181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0063378E-9B99-4EA3-ACB8-B2242D59D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738" y="227013"/>
              <a:ext cx="236538" cy="236537"/>
            </a:xfrm>
            <a:custGeom>
              <a:avLst/>
              <a:gdLst>
                <a:gd name="T0" fmla="*/ 135 w 149"/>
                <a:gd name="T1" fmla="*/ 149 h 149"/>
                <a:gd name="T2" fmla="*/ 0 w 149"/>
                <a:gd name="T3" fmla="*/ 15 h 149"/>
                <a:gd name="T4" fmla="*/ 14 w 149"/>
                <a:gd name="T5" fmla="*/ 0 h 149"/>
                <a:gd name="T6" fmla="*/ 149 w 149"/>
                <a:gd name="T7" fmla="*/ 135 h 149"/>
                <a:gd name="T8" fmla="*/ 135 w 149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9">
                  <a:moveTo>
                    <a:pt x="135" y="149"/>
                  </a:moveTo>
                  <a:lnTo>
                    <a:pt x="0" y="15"/>
                  </a:lnTo>
                  <a:lnTo>
                    <a:pt x="14" y="0"/>
                  </a:lnTo>
                  <a:lnTo>
                    <a:pt x="149" y="135"/>
                  </a:lnTo>
                  <a:lnTo>
                    <a:pt x="135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264A3ADE-6E13-4D56-BB2D-CA6A43E4E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738" y="227013"/>
              <a:ext cx="236538" cy="236537"/>
            </a:xfrm>
            <a:custGeom>
              <a:avLst/>
              <a:gdLst>
                <a:gd name="T0" fmla="*/ 0 w 149"/>
                <a:gd name="T1" fmla="*/ 135 h 149"/>
                <a:gd name="T2" fmla="*/ 135 w 149"/>
                <a:gd name="T3" fmla="*/ 0 h 149"/>
                <a:gd name="T4" fmla="*/ 149 w 149"/>
                <a:gd name="T5" fmla="*/ 15 h 149"/>
                <a:gd name="T6" fmla="*/ 14 w 149"/>
                <a:gd name="T7" fmla="*/ 149 h 149"/>
                <a:gd name="T8" fmla="*/ 0 w 149"/>
                <a:gd name="T9" fmla="*/ 13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9">
                  <a:moveTo>
                    <a:pt x="0" y="135"/>
                  </a:moveTo>
                  <a:lnTo>
                    <a:pt x="135" y="0"/>
                  </a:lnTo>
                  <a:lnTo>
                    <a:pt x="149" y="15"/>
                  </a:lnTo>
                  <a:lnTo>
                    <a:pt x="14" y="149"/>
                  </a:lnTo>
                  <a:lnTo>
                    <a:pt x="0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9" name="Rectangle 52">
              <a:extLst>
                <a:ext uri="{FF2B5EF4-FFF2-40B4-BE49-F238E27FC236}">
                  <a16:creationId xmlns:a16="http://schemas.microsoft.com/office/drawing/2014/main" id="{DF6F7D2C-77EC-4870-9A63-A758BD09FF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2688" y="431800"/>
              <a:ext cx="274638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20DB3045-3E2E-4C75-ACDE-E0F938FF3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738" y="450850"/>
              <a:ext cx="236538" cy="234950"/>
            </a:xfrm>
            <a:custGeom>
              <a:avLst/>
              <a:gdLst>
                <a:gd name="T0" fmla="*/ 135 w 149"/>
                <a:gd name="T1" fmla="*/ 148 h 148"/>
                <a:gd name="T2" fmla="*/ 0 w 149"/>
                <a:gd name="T3" fmla="*/ 14 h 148"/>
                <a:gd name="T4" fmla="*/ 14 w 149"/>
                <a:gd name="T5" fmla="*/ 0 h 148"/>
                <a:gd name="T6" fmla="*/ 149 w 149"/>
                <a:gd name="T7" fmla="*/ 134 h 148"/>
                <a:gd name="T8" fmla="*/ 135 w 149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8">
                  <a:moveTo>
                    <a:pt x="135" y="148"/>
                  </a:moveTo>
                  <a:lnTo>
                    <a:pt x="0" y="14"/>
                  </a:lnTo>
                  <a:lnTo>
                    <a:pt x="14" y="0"/>
                  </a:lnTo>
                  <a:lnTo>
                    <a:pt x="149" y="134"/>
                  </a:lnTo>
                  <a:lnTo>
                    <a:pt x="135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B9EFB335-10CA-4102-8059-BD9F952E0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738" y="450850"/>
              <a:ext cx="236538" cy="234950"/>
            </a:xfrm>
            <a:custGeom>
              <a:avLst/>
              <a:gdLst>
                <a:gd name="T0" fmla="*/ 0 w 149"/>
                <a:gd name="T1" fmla="*/ 134 h 148"/>
                <a:gd name="T2" fmla="*/ 135 w 149"/>
                <a:gd name="T3" fmla="*/ 0 h 148"/>
                <a:gd name="T4" fmla="*/ 149 w 149"/>
                <a:gd name="T5" fmla="*/ 14 h 148"/>
                <a:gd name="T6" fmla="*/ 14 w 149"/>
                <a:gd name="T7" fmla="*/ 148 h 148"/>
                <a:gd name="T8" fmla="*/ 0 w 149"/>
                <a:gd name="T9" fmla="*/ 13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8">
                  <a:moveTo>
                    <a:pt x="0" y="134"/>
                  </a:moveTo>
                  <a:lnTo>
                    <a:pt x="135" y="0"/>
                  </a:lnTo>
                  <a:lnTo>
                    <a:pt x="149" y="14"/>
                  </a:lnTo>
                  <a:lnTo>
                    <a:pt x="14" y="148"/>
                  </a:lnTo>
                  <a:lnTo>
                    <a:pt x="0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2" name="Rectangle 55">
              <a:extLst>
                <a:ext uri="{FF2B5EF4-FFF2-40B4-BE49-F238E27FC236}">
                  <a16:creationId xmlns:a16="http://schemas.microsoft.com/office/drawing/2014/main" id="{0F3D9485-861F-4A13-84FC-B39976B478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2688" y="654050"/>
              <a:ext cx="274638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530011E5-173C-43DE-8839-B1A6E99F9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738" y="676275"/>
              <a:ext cx="236538" cy="233362"/>
            </a:xfrm>
            <a:custGeom>
              <a:avLst/>
              <a:gdLst>
                <a:gd name="T0" fmla="*/ 135 w 149"/>
                <a:gd name="T1" fmla="*/ 147 h 147"/>
                <a:gd name="T2" fmla="*/ 0 w 149"/>
                <a:gd name="T3" fmla="*/ 12 h 147"/>
                <a:gd name="T4" fmla="*/ 14 w 149"/>
                <a:gd name="T5" fmla="*/ 0 h 147"/>
                <a:gd name="T6" fmla="*/ 149 w 149"/>
                <a:gd name="T7" fmla="*/ 135 h 147"/>
                <a:gd name="T8" fmla="*/ 135 w 149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7">
                  <a:moveTo>
                    <a:pt x="135" y="147"/>
                  </a:moveTo>
                  <a:lnTo>
                    <a:pt x="0" y="12"/>
                  </a:lnTo>
                  <a:lnTo>
                    <a:pt x="14" y="0"/>
                  </a:lnTo>
                  <a:lnTo>
                    <a:pt x="149" y="135"/>
                  </a:lnTo>
                  <a:lnTo>
                    <a:pt x="135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38A46E3E-5647-4CC0-AD60-1BB327374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738" y="676275"/>
              <a:ext cx="236538" cy="233362"/>
            </a:xfrm>
            <a:custGeom>
              <a:avLst/>
              <a:gdLst>
                <a:gd name="T0" fmla="*/ 0 w 149"/>
                <a:gd name="T1" fmla="*/ 135 h 147"/>
                <a:gd name="T2" fmla="*/ 135 w 149"/>
                <a:gd name="T3" fmla="*/ 0 h 147"/>
                <a:gd name="T4" fmla="*/ 149 w 149"/>
                <a:gd name="T5" fmla="*/ 12 h 147"/>
                <a:gd name="T6" fmla="*/ 14 w 149"/>
                <a:gd name="T7" fmla="*/ 147 h 147"/>
                <a:gd name="T8" fmla="*/ 0 w 149"/>
                <a:gd name="T9" fmla="*/ 135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147">
                  <a:moveTo>
                    <a:pt x="0" y="135"/>
                  </a:moveTo>
                  <a:lnTo>
                    <a:pt x="135" y="0"/>
                  </a:lnTo>
                  <a:lnTo>
                    <a:pt x="149" y="12"/>
                  </a:lnTo>
                  <a:lnTo>
                    <a:pt x="14" y="147"/>
                  </a:lnTo>
                  <a:lnTo>
                    <a:pt x="0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5" name="Rectangle 58">
              <a:extLst>
                <a:ext uri="{FF2B5EF4-FFF2-40B4-BE49-F238E27FC236}">
                  <a16:creationId xmlns:a16="http://schemas.microsoft.com/office/drawing/2014/main" id="{9528AC6C-7139-48C1-AB49-EC660854FD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463" y="755650"/>
              <a:ext cx="825500" cy="396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6" name="Rectangle 59">
              <a:extLst>
                <a:ext uri="{FF2B5EF4-FFF2-40B4-BE49-F238E27FC236}">
                  <a16:creationId xmlns:a16="http://schemas.microsoft.com/office/drawing/2014/main" id="{A94F4C58-E881-472F-830C-BCC516657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463" y="950913"/>
              <a:ext cx="825500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7" name="Rectangle 60">
              <a:extLst>
                <a:ext uri="{FF2B5EF4-FFF2-40B4-BE49-F238E27FC236}">
                  <a16:creationId xmlns:a16="http://schemas.microsoft.com/office/drawing/2014/main" id="{7DA10DC5-CC43-4070-9024-F49F7E85B6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5863" y="755650"/>
              <a:ext cx="38100" cy="2301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D8CD0BFC-6C12-40AE-B5C7-492CB2A52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650" y="773113"/>
              <a:ext cx="198438" cy="196850"/>
            </a:xfrm>
            <a:custGeom>
              <a:avLst/>
              <a:gdLst>
                <a:gd name="T0" fmla="*/ 0 w 125"/>
                <a:gd name="T1" fmla="*/ 112 h 124"/>
                <a:gd name="T2" fmla="*/ 113 w 125"/>
                <a:gd name="T3" fmla="*/ 0 h 124"/>
                <a:gd name="T4" fmla="*/ 125 w 125"/>
                <a:gd name="T5" fmla="*/ 12 h 124"/>
                <a:gd name="T6" fmla="*/ 11 w 125"/>
                <a:gd name="T7" fmla="*/ 124 h 124"/>
                <a:gd name="T8" fmla="*/ 0 w 125"/>
                <a:gd name="T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24">
                  <a:moveTo>
                    <a:pt x="0" y="112"/>
                  </a:moveTo>
                  <a:lnTo>
                    <a:pt x="113" y="0"/>
                  </a:lnTo>
                  <a:lnTo>
                    <a:pt x="125" y="12"/>
                  </a:lnTo>
                  <a:lnTo>
                    <a:pt x="11" y="124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2CC1BB5F-BB0B-41AB-BB77-D7ECAD374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650" y="773113"/>
              <a:ext cx="198438" cy="196850"/>
            </a:xfrm>
            <a:custGeom>
              <a:avLst/>
              <a:gdLst>
                <a:gd name="T0" fmla="*/ 11 w 125"/>
                <a:gd name="T1" fmla="*/ 0 h 124"/>
                <a:gd name="T2" fmla="*/ 125 w 125"/>
                <a:gd name="T3" fmla="*/ 112 h 124"/>
                <a:gd name="T4" fmla="*/ 113 w 125"/>
                <a:gd name="T5" fmla="*/ 124 h 124"/>
                <a:gd name="T6" fmla="*/ 0 w 125"/>
                <a:gd name="T7" fmla="*/ 12 h 124"/>
                <a:gd name="T8" fmla="*/ 11 w 125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24">
                  <a:moveTo>
                    <a:pt x="11" y="0"/>
                  </a:moveTo>
                  <a:lnTo>
                    <a:pt x="125" y="112"/>
                  </a:lnTo>
                  <a:lnTo>
                    <a:pt x="113" y="124"/>
                  </a:lnTo>
                  <a:lnTo>
                    <a:pt x="0" y="12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0" name="Rectangle 63">
              <a:extLst>
                <a:ext uri="{FF2B5EF4-FFF2-40B4-BE49-F238E27FC236}">
                  <a16:creationId xmlns:a16="http://schemas.microsoft.com/office/drawing/2014/main" id="{8B044195-3D8A-4717-A65B-411CBC1CC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6950" y="755650"/>
              <a:ext cx="39688" cy="2301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99110873-6B02-4A29-B252-A6014B83A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773113"/>
              <a:ext cx="201613" cy="196850"/>
            </a:xfrm>
            <a:custGeom>
              <a:avLst/>
              <a:gdLst>
                <a:gd name="T0" fmla="*/ 0 w 127"/>
                <a:gd name="T1" fmla="*/ 112 h 124"/>
                <a:gd name="T2" fmla="*/ 114 w 127"/>
                <a:gd name="T3" fmla="*/ 0 h 124"/>
                <a:gd name="T4" fmla="*/ 127 w 127"/>
                <a:gd name="T5" fmla="*/ 12 h 124"/>
                <a:gd name="T6" fmla="*/ 12 w 127"/>
                <a:gd name="T7" fmla="*/ 124 h 124"/>
                <a:gd name="T8" fmla="*/ 0 w 127"/>
                <a:gd name="T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4">
                  <a:moveTo>
                    <a:pt x="0" y="112"/>
                  </a:moveTo>
                  <a:lnTo>
                    <a:pt x="114" y="0"/>
                  </a:lnTo>
                  <a:lnTo>
                    <a:pt x="127" y="12"/>
                  </a:lnTo>
                  <a:lnTo>
                    <a:pt x="12" y="124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536F628D-3077-400E-BB6E-77C2B335F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773113"/>
              <a:ext cx="201613" cy="196850"/>
            </a:xfrm>
            <a:custGeom>
              <a:avLst/>
              <a:gdLst>
                <a:gd name="T0" fmla="*/ 12 w 127"/>
                <a:gd name="T1" fmla="*/ 0 h 124"/>
                <a:gd name="T2" fmla="*/ 127 w 127"/>
                <a:gd name="T3" fmla="*/ 112 h 124"/>
                <a:gd name="T4" fmla="*/ 114 w 127"/>
                <a:gd name="T5" fmla="*/ 124 h 124"/>
                <a:gd name="T6" fmla="*/ 0 w 127"/>
                <a:gd name="T7" fmla="*/ 12 h 124"/>
                <a:gd name="T8" fmla="*/ 12 w 127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4">
                  <a:moveTo>
                    <a:pt x="12" y="0"/>
                  </a:moveTo>
                  <a:lnTo>
                    <a:pt x="127" y="112"/>
                  </a:lnTo>
                  <a:lnTo>
                    <a:pt x="114" y="124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3" name="Rectangle 66">
              <a:extLst>
                <a:ext uri="{FF2B5EF4-FFF2-40B4-BE49-F238E27FC236}">
                  <a16:creationId xmlns:a16="http://schemas.microsoft.com/office/drawing/2014/main" id="{19EC0686-2643-4C52-9039-7BEB2A3F0C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6450" y="755650"/>
              <a:ext cx="41275" cy="2301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AF361B49-917E-40EF-A48C-E8A2C129F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25" y="773113"/>
              <a:ext cx="196850" cy="196850"/>
            </a:xfrm>
            <a:custGeom>
              <a:avLst/>
              <a:gdLst>
                <a:gd name="T0" fmla="*/ 0 w 124"/>
                <a:gd name="T1" fmla="*/ 112 h 124"/>
                <a:gd name="T2" fmla="*/ 114 w 124"/>
                <a:gd name="T3" fmla="*/ 0 h 124"/>
                <a:gd name="T4" fmla="*/ 124 w 124"/>
                <a:gd name="T5" fmla="*/ 12 h 124"/>
                <a:gd name="T6" fmla="*/ 12 w 124"/>
                <a:gd name="T7" fmla="*/ 124 h 124"/>
                <a:gd name="T8" fmla="*/ 0 w 124"/>
                <a:gd name="T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24">
                  <a:moveTo>
                    <a:pt x="0" y="112"/>
                  </a:moveTo>
                  <a:lnTo>
                    <a:pt x="114" y="0"/>
                  </a:lnTo>
                  <a:lnTo>
                    <a:pt x="124" y="12"/>
                  </a:lnTo>
                  <a:lnTo>
                    <a:pt x="12" y="124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F2386B9C-2A16-4947-A66F-111CBE3F9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25" y="773113"/>
              <a:ext cx="196850" cy="196850"/>
            </a:xfrm>
            <a:custGeom>
              <a:avLst/>
              <a:gdLst>
                <a:gd name="T0" fmla="*/ 12 w 124"/>
                <a:gd name="T1" fmla="*/ 0 h 124"/>
                <a:gd name="T2" fmla="*/ 124 w 124"/>
                <a:gd name="T3" fmla="*/ 112 h 124"/>
                <a:gd name="T4" fmla="*/ 114 w 124"/>
                <a:gd name="T5" fmla="*/ 124 h 124"/>
                <a:gd name="T6" fmla="*/ 0 w 124"/>
                <a:gd name="T7" fmla="*/ 12 h 124"/>
                <a:gd name="T8" fmla="*/ 12 w 124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24">
                  <a:moveTo>
                    <a:pt x="12" y="0"/>
                  </a:moveTo>
                  <a:lnTo>
                    <a:pt x="124" y="112"/>
                  </a:lnTo>
                  <a:lnTo>
                    <a:pt x="114" y="124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6" name="Rectangle 69">
              <a:extLst>
                <a:ext uri="{FF2B5EF4-FFF2-40B4-BE49-F238E27FC236}">
                  <a16:creationId xmlns:a16="http://schemas.microsoft.com/office/drawing/2014/main" id="{89A66264-8C16-459D-8B6B-2F535825CB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538" y="755650"/>
              <a:ext cx="42863" cy="2301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0F75974E-275A-463A-9F84-A7FE6C3B6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913" y="773113"/>
              <a:ext cx="198438" cy="196850"/>
            </a:xfrm>
            <a:custGeom>
              <a:avLst/>
              <a:gdLst>
                <a:gd name="T0" fmla="*/ 0 w 125"/>
                <a:gd name="T1" fmla="*/ 112 h 124"/>
                <a:gd name="T2" fmla="*/ 112 w 125"/>
                <a:gd name="T3" fmla="*/ 0 h 124"/>
                <a:gd name="T4" fmla="*/ 125 w 125"/>
                <a:gd name="T5" fmla="*/ 12 h 124"/>
                <a:gd name="T6" fmla="*/ 12 w 125"/>
                <a:gd name="T7" fmla="*/ 124 h 124"/>
                <a:gd name="T8" fmla="*/ 0 w 125"/>
                <a:gd name="T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24">
                  <a:moveTo>
                    <a:pt x="0" y="112"/>
                  </a:moveTo>
                  <a:lnTo>
                    <a:pt x="112" y="0"/>
                  </a:lnTo>
                  <a:lnTo>
                    <a:pt x="125" y="12"/>
                  </a:lnTo>
                  <a:lnTo>
                    <a:pt x="12" y="124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FB9D0761-B16F-466E-9440-D35C3836B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913" y="773113"/>
              <a:ext cx="198438" cy="196850"/>
            </a:xfrm>
            <a:custGeom>
              <a:avLst/>
              <a:gdLst>
                <a:gd name="T0" fmla="*/ 12 w 125"/>
                <a:gd name="T1" fmla="*/ 0 h 124"/>
                <a:gd name="T2" fmla="*/ 125 w 125"/>
                <a:gd name="T3" fmla="*/ 112 h 124"/>
                <a:gd name="T4" fmla="*/ 112 w 125"/>
                <a:gd name="T5" fmla="*/ 124 h 124"/>
                <a:gd name="T6" fmla="*/ 0 w 125"/>
                <a:gd name="T7" fmla="*/ 12 h 124"/>
                <a:gd name="T8" fmla="*/ 12 w 125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24">
                  <a:moveTo>
                    <a:pt x="12" y="0"/>
                  </a:moveTo>
                  <a:lnTo>
                    <a:pt x="125" y="112"/>
                  </a:lnTo>
                  <a:lnTo>
                    <a:pt x="112" y="124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9" name="Rectangle 72">
              <a:extLst>
                <a:ext uri="{FF2B5EF4-FFF2-40B4-BE49-F238E27FC236}">
                  <a16:creationId xmlns:a16="http://schemas.microsoft.com/office/drawing/2014/main" id="{2F4DDCAA-8B21-40A7-A4F2-818DB7A59C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4950" y="755650"/>
              <a:ext cx="822325" cy="396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0" name="Rectangle 73">
              <a:extLst>
                <a:ext uri="{FF2B5EF4-FFF2-40B4-BE49-F238E27FC236}">
                  <a16:creationId xmlns:a16="http://schemas.microsoft.com/office/drawing/2014/main" id="{FAE48D6E-6C59-4853-B04B-3EAC1422FD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4950" y="950913"/>
              <a:ext cx="82232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1" name="Rectangle 74">
              <a:extLst>
                <a:ext uri="{FF2B5EF4-FFF2-40B4-BE49-F238E27FC236}">
                  <a16:creationId xmlns:a16="http://schemas.microsoft.com/office/drawing/2014/main" id="{575E3495-B0B2-48FA-B96B-D03ECD9890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2350" y="755650"/>
              <a:ext cx="38100" cy="2301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864E45C2-270E-4612-A8F0-CB5A9F9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6138" y="773113"/>
              <a:ext cx="198438" cy="196850"/>
            </a:xfrm>
            <a:custGeom>
              <a:avLst/>
              <a:gdLst>
                <a:gd name="T0" fmla="*/ 0 w 125"/>
                <a:gd name="T1" fmla="*/ 112 h 124"/>
                <a:gd name="T2" fmla="*/ 113 w 125"/>
                <a:gd name="T3" fmla="*/ 0 h 124"/>
                <a:gd name="T4" fmla="*/ 125 w 125"/>
                <a:gd name="T5" fmla="*/ 12 h 124"/>
                <a:gd name="T6" fmla="*/ 10 w 125"/>
                <a:gd name="T7" fmla="*/ 124 h 124"/>
                <a:gd name="T8" fmla="*/ 0 w 125"/>
                <a:gd name="T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24">
                  <a:moveTo>
                    <a:pt x="0" y="112"/>
                  </a:moveTo>
                  <a:lnTo>
                    <a:pt x="113" y="0"/>
                  </a:lnTo>
                  <a:lnTo>
                    <a:pt x="125" y="12"/>
                  </a:lnTo>
                  <a:lnTo>
                    <a:pt x="10" y="124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058042BC-3CD5-4BC7-82F3-1D172ED8B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6138" y="773113"/>
              <a:ext cx="198438" cy="196850"/>
            </a:xfrm>
            <a:custGeom>
              <a:avLst/>
              <a:gdLst>
                <a:gd name="T0" fmla="*/ 10 w 125"/>
                <a:gd name="T1" fmla="*/ 0 h 124"/>
                <a:gd name="T2" fmla="*/ 125 w 125"/>
                <a:gd name="T3" fmla="*/ 112 h 124"/>
                <a:gd name="T4" fmla="*/ 113 w 125"/>
                <a:gd name="T5" fmla="*/ 124 h 124"/>
                <a:gd name="T6" fmla="*/ 0 w 125"/>
                <a:gd name="T7" fmla="*/ 12 h 124"/>
                <a:gd name="T8" fmla="*/ 10 w 125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24">
                  <a:moveTo>
                    <a:pt x="10" y="0"/>
                  </a:moveTo>
                  <a:lnTo>
                    <a:pt x="125" y="112"/>
                  </a:lnTo>
                  <a:lnTo>
                    <a:pt x="113" y="124"/>
                  </a:lnTo>
                  <a:lnTo>
                    <a:pt x="0" y="12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4" name="Rectangle 77">
              <a:extLst>
                <a:ext uri="{FF2B5EF4-FFF2-40B4-BE49-F238E27FC236}">
                  <a16:creationId xmlns:a16="http://schemas.microsoft.com/office/drawing/2014/main" id="{FAE0007D-318F-478E-8970-751B2005F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0263" y="755650"/>
              <a:ext cx="41275" cy="2301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75E03023-2AD3-4C51-94FE-E01ED6BED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638" y="773113"/>
              <a:ext cx="200025" cy="196850"/>
            </a:xfrm>
            <a:custGeom>
              <a:avLst/>
              <a:gdLst>
                <a:gd name="T0" fmla="*/ 0 w 126"/>
                <a:gd name="T1" fmla="*/ 112 h 124"/>
                <a:gd name="T2" fmla="*/ 114 w 126"/>
                <a:gd name="T3" fmla="*/ 0 h 124"/>
                <a:gd name="T4" fmla="*/ 126 w 126"/>
                <a:gd name="T5" fmla="*/ 12 h 124"/>
                <a:gd name="T6" fmla="*/ 12 w 126"/>
                <a:gd name="T7" fmla="*/ 124 h 124"/>
                <a:gd name="T8" fmla="*/ 0 w 126"/>
                <a:gd name="T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4">
                  <a:moveTo>
                    <a:pt x="0" y="112"/>
                  </a:moveTo>
                  <a:lnTo>
                    <a:pt x="114" y="0"/>
                  </a:lnTo>
                  <a:lnTo>
                    <a:pt x="126" y="12"/>
                  </a:lnTo>
                  <a:lnTo>
                    <a:pt x="12" y="124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Freeform 79">
              <a:extLst>
                <a:ext uri="{FF2B5EF4-FFF2-40B4-BE49-F238E27FC236}">
                  <a16:creationId xmlns:a16="http://schemas.microsoft.com/office/drawing/2014/main" id="{301E4BA0-58B5-4D09-B28C-7562EB339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638" y="773113"/>
              <a:ext cx="200025" cy="196850"/>
            </a:xfrm>
            <a:custGeom>
              <a:avLst/>
              <a:gdLst>
                <a:gd name="T0" fmla="*/ 12 w 126"/>
                <a:gd name="T1" fmla="*/ 0 h 124"/>
                <a:gd name="T2" fmla="*/ 126 w 126"/>
                <a:gd name="T3" fmla="*/ 112 h 124"/>
                <a:gd name="T4" fmla="*/ 114 w 126"/>
                <a:gd name="T5" fmla="*/ 124 h 124"/>
                <a:gd name="T6" fmla="*/ 0 w 126"/>
                <a:gd name="T7" fmla="*/ 12 h 124"/>
                <a:gd name="T8" fmla="*/ 12 w 126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4">
                  <a:moveTo>
                    <a:pt x="12" y="0"/>
                  </a:moveTo>
                  <a:lnTo>
                    <a:pt x="126" y="112"/>
                  </a:lnTo>
                  <a:lnTo>
                    <a:pt x="114" y="124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Rectangle 80">
              <a:extLst>
                <a:ext uri="{FF2B5EF4-FFF2-40B4-BE49-F238E27FC236}">
                  <a16:creationId xmlns:a16="http://schemas.microsoft.com/office/drawing/2014/main" id="{407B9C6A-DEF3-4DED-81FF-EEF028FEB1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2938" y="755650"/>
              <a:ext cx="41275" cy="2301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671FA83C-C481-4D7C-A0F1-DDA57AD8CC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6725" y="773113"/>
              <a:ext cx="198438" cy="196850"/>
            </a:xfrm>
            <a:custGeom>
              <a:avLst/>
              <a:gdLst>
                <a:gd name="T0" fmla="*/ 0 w 125"/>
                <a:gd name="T1" fmla="*/ 112 h 124"/>
                <a:gd name="T2" fmla="*/ 113 w 125"/>
                <a:gd name="T3" fmla="*/ 0 h 124"/>
                <a:gd name="T4" fmla="*/ 125 w 125"/>
                <a:gd name="T5" fmla="*/ 12 h 124"/>
                <a:gd name="T6" fmla="*/ 12 w 125"/>
                <a:gd name="T7" fmla="*/ 124 h 124"/>
                <a:gd name="T8" fmla="*/ 0 w 125"/>
                <a:gd name="T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24">
                  <a:moveTo>
                    <a:pt x="0" y="112"/>
                  </a:moveTo>
                  <a:lnTo>
                    <a:pt x="113" y="0"/>
                  </a:lnTo>
                  <a:lnTo>
                    <a:pt x="125" y="12"/>
                  </a:lnTo>
                  <a:lnTo>
                    <a:pt x="12" y="124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1BA1340D-632A-4776-B404-ECA74918E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6725" y="773113"/>
              <a:ext cx="198438" cy="196850"/>
            </a:xfrm>
            <a:custGeom>
              <a:avLst/>
              <a:gdLst>
                <a:gd name="T0" fmla="*/ 12 w 125"/>
                <a:gd name="T1" fmla="*/ 0 h 124"/>
                <a:gd name="T2" fmla="*/ 125 w 125"/>
                <a:gd name="T3" fmla="*/ 112 h 124"/>
                <a:gd name="T4" fmla="*/ 113 w 125"/>
                <a:gd name="T5" fmla="*/ 124 h 124"/>
                <a:gd name="T6" fmla="*/ 0 w 125"/>
                <a:gd name="T7" fmla="*/ 12 h 124"/>
                <a:gd name="T8" fmla="*/ 12 w 125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24">
                  <a:moveTo>
                    <a:pt x="12" y="0"/>
                  </a:moveTo>
                  <a:lnTo>
                    <a:pt x="125" y="112"/>
                  </a:lnTo>
                  <a:lnTo>
                    <a:pt x="113" y="124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0" name="Rectangle 83">
              <a:extLst>
                <a:ext uri="{FF2B5EF4-FFF2-40B4-BE49-F238E27FC236}">
                  <a16:creationId xmlns:a16="http://schemas.microsoft.com/office/drawing/2014/main" id="{414E7CCF-AFAE-4905-A104-FFE11AA51E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4025" y="755650"/>
              <a:ext cx="38100" cy="2301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1" name="Freeform 84">
              <a:extLst>
                <a:ext uri="{FF2B5EF4-FFF2-40B4-BE49-F238E27FC236}">
                  <a16:creationId xmlns:a16="http://schemas.microsoft.com/office/drawing/2014/main" id="{5DD1C2FB-B8CA-4518-AE75-01A531FDD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400" y="773113"/>
              <a:ext cx="196850" cy="196850"/>
            </a:xfrm>
            <a:custGeom>
              <a:avLst/>
              <a:gdLst>
                <a:gd name="T0" fmla="*/ 0 w 124"/>
                <a:gd name="T1" fmla="*/ 112 h 124"/>
                <a:gd name="T2" fmla="*/ 112 w 124"/>
                <a:gd name="T3" fmla="*/ 0 h 124"/>
                <a:gd name="T4" fmla="*/ 124 w 124"/>
                <a:gd name="T5" fmla="*/ 12 h 124"/>
                <a:gd name="T6" fmla="*/ 12 w 124"/>
                <a:gd name="T7" fmla="*/ 124 h 124"/>
                <a:gd name="T8" fmla="*/ 0 w 124"/>
                <a:gd name="T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24">
                  <a:moveTo>
                    <a:pt x="0" y="112"/>
                  </a:moveTo>
                  <a:lnTo>
                    <a:pt x="112" y="0"/>
                  </a:lnTo>
                  <a:lnTo>
                    <a:pt x="124" y="12"/>
                  </a:lnTo>
                  <a:lnTo>
                    <a:pt x="12" y="124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2" name="Freeform 85">
              <a:extLst>
                <a:ext uri="{FF2B5EF4-FFF2-40B4-BE49-F238E27FC236}">
                  <a16:creationId xmlns:a16="http://schemas.microsoft.com/office/drawing/2014/main" id="{2399D9C8-657F-4B1E-9CA4-F36CC465D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400" y="773113"/>
              <a:ext cx="196850" cy="196850"/>
            </a:xfrm>
            <a:custGeom>
              <a:avLst/>
              <a:gdLst>
                <a:gd name="T0" fmla="*/ 12 w 124"/>
                <a:gd name="T1" fmla="*/ 0 h 124"/>
                <a:gd name="T2" fmla="*/ 124 w 124"/>
                <a:gd name="T3" fmla="*/ 112 h 124"/>
                <a:gd name="T4" fmla="*/ 112 w 124"/>
                <a:gd name="T5" fmla="*/ 124 h 124"/>
                <a:gd name="T6" fmla="*/ 0 w 124"/>
                <a:gd name="T7" fmla="*/ 12 h 124"/>
                <a:gd name="T8" fmla="*/ 12 w 124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24">
                  <a:moveTo>
                    <a:pt x="12" y="0"/>
                  </a:moveTo>
                  <a:lnTo>
                    <a:pt x="124" y="112"/>
                  </a:lnTo>
                  <a:lnTo>
                    <a:pt x="112" y="124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3" name="Rectangle 86">
              <a:extLst>
                <a:ext uri="{FF2B5EF4-FFF2-40B4-BE49-F238E27FC236}">
                  <a16:creationId xmlns:a16="http://schemas.microsoft.com/office/drawing/2014/main" id="{88B31E9C-FA66-48FE-A7E7-3209284026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6950" y="755650"/>
              <a:ext cx="825500" cy="396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4" name="Freeform 87">
              <a:extLst>
                <a:ext uri="{FF2B5EF4-FFF2-40B4-BE49-F238E27FC236}">
                  <a16:creationId xmlns:a16="http://schemas.microsoft.com/office/drawing/2014/main" id="{9E3C5DE0-3191-448B-B860-24FF051FB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6950" y="950913"/>
              <a:ext cx="1379538" cy="44450"/>
            </a:xfrm>
            <a:custGeom>
              <a:avLst/>
              <a:gdLst>
                <a:gd name="T0" fmla="*/ 869 w 869"/>
                <a:gd name="T1" fmla="*/ 0 h 28"/>
                <a:gd name="T2" fmla="*/ 869 w 869"/>
                <a:gd name="T3" fmla="*/ 28 h 28"/>
                <a:gd name="T4" fmla="*/ 0 w 869"/>
                <a:gd name="T5" fmla="*/ 28 h 28"/>
                <a:gd name="T6" fmla="*/ 0 w 869"/>
                <a:gd name="T7" fmla="*/ 0 h 28"/>
                <a:gd name="T8" fmla="*/ 777 w 869"/>
                <a:gd name="T9" fmla="*/ 0 h 28"/>
                <a:gd name="T10" fmla="*/ 869 w 869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9" h="28">
                  <a:moveTo>
                    <a:pt x="869" y="0"/>
                  </a:moveTo>
                  <a:lnTo>
                    <a:pt x="869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777" y="0"/>
                  </a:lnTo>
                  <a:lnTo>
                    <a:pt x="8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58B0F1BA-54B2-4C66-BC47-5A58A2B26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6950" y="950913"/>
              <a:ext cx="1379538" cy="44450"/>
            </a:xfrm>
            <a:custGeom>
              <a:avLst/>
              <a:gdLst>
                <a:gd name="T0" fmla="*/ 869 w 869"/>
                <a:gd name="T1" fmla="*/ 0 h 28"/>
                <a:gd name="T2" fmla="*/ 869 w 869"/>
                <a:gd name="T3" fmla="*/ 28 h 28"/>
                <a:gd name="T4" fmla="*/ 0 w 869"/>
                <a:gd name="T5" fmla="*/ 28 h 28"/>
                <a:gd name="T6" fmla="*/ 0 w 869"/>
                <a:gd name="T7" fmla="*/ 0 h 28"/>
                <a:gd name="T8" fmla="*/ 777 w 869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9" h="28">
                  <a:moveTo>
                    <a:pt x="869" y="0"/>
                  </a:moveTo>
                  <a:lnTo>
                    <a:pt x="869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777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6" name="Rectangle 89">
              <a:extLst>
                <a:ext uri="{FF2B5EF4-FFF2-40B4-BE49-F238E27FC236}">
                  <a16:creationId xmlns:a16="http://schemas.microsoft.com/office/drawing/2014/main" id="{0E9F846D-48E5-4C10-9945-09829F82D2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4350" y="755650"/>
              <a:ext cx="41275" cy="2301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AEB606BF-7785-4835-951E-2B9A4D376D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8138" y="773113"/>
              <a:ext cx="198438" cy="196850"/>
            </a:xfrm>
            <a:custGeom>
              <a:avLst/>
              <a:gdLst>
                <a:gd name="T0" fmla="*/ 0 w 125"/>
                <a:gd name="T1" fmla="*/ 112 h 124"/>
                <a:gd name="T2" fmla="*/ 113 w 125"/>
                <a:gd name="T3" fmla="*/ 0 h 124"/>
                <a:gd name="T4" fmla="*/ 125 w 125"/>
                <a:gd name="T5" fmla="*/ 12 h 124"/>
                <a:gd name="T6" fmla="*/ 12 w 125"/>
                <a:gd name="T7" fmla="*/ 124 h 124"/>
                <a:gd name="T8" fmla="*/ 0 w 125"/>
                <a:gd name="T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24">
                  <a:moveTo>
                    <a:pt x="0" y="112"/>
                  </a:moveTo>
                  <a:lnTo>
                    <a:pt x="113" y="0"/>
                  </a:lnTo>
                  <a:lnTo>
                    <a:pt x="125" y="12"/>
                  </a:lnTo>
                  <a:lnTo>
                    <a:pt x="12" y="124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347555F6-1022-4B04-AB6B-C73180680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8138" y="773113"/>
              <a:ext cx="198438" cy="196850"/>
            </a:xfrm>
            <a:custGeom>
              <a:avLst/>
              <a:gdLst>
                <a:gd name="T0" fmla="*/ 12 w 125"/>
                <a:gd name="T1" fmla="*/ 0 h 124"/>
                <a:gd name="T2" fmla="*/ 125 w 125"/>
                <a:gd name="T3" fmla="*/ 112 h 124"/>
                <a:gd name="T4" fmla="*/ 113 w 125"/>
                <a:gd name="T5" fmla="*/ 124 h 124"/>
                <a:gd name="T6" fmla="*/ 0 w 125"/>
                <a:gd name="T7" fmla="*/ 12 h 124"/>
                <a:gd name="T8" fmla="*/ 12 w 125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24">
                  <a:moveTo>
                    <a:pt x="12" y="0"/>
                  </a:moveTo>
                  <a:lnTo>
                    <a:pt x="125" y="112"/>
                  </a:lnTo>
                  <a:lnTo>
                    <a:pt x="113" y="124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9" name="Rectangle 92">
              <a:extLst>
                <a:ext uri="{FF2B5EF4-FFF2-40B4-BE49-F238E27FC236}">
                  <a16:creationId xmlns:a16="http://schemas.microsoft.com/office/drawing/2014/main" id="{C17C0340-E51A-4F17-848E-91F461BEA6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5438" y="755650"/>
              <a:ext cx="38100" cy="2301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CB7564AF-0488-42C1-B10C-E3D26A118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813" y="773113"/>
              <a:ext cx="196850" cy="196850"/>
            </a:xfrm>
            <a:custGeom>
              <a:avLst/>
              <a:gdLst>
                <a:gd name="T0" fmla="*/ 0 w 124"/>
                <a:gd name="T1" fmla="*/ 112 h 124"/>
                <a:gd name="T2" fmla="*/ 112 w 124"/>
                <a:gd name="T3" fmla="*/ 0 h 124"/>
                <a:gd name="T4" fmla="*/ 124 w 124"/>
                <a:gd name="T5" fmla="*/ 12 h 124"/>
                <a:gd name="T6" fmla="*/ 10 w 124"/>
                <a:gd name="T7" fmla="*/ 124 h 124"/>
                <a:gd name="T8" fmla="*/ 0 w 124"/>
                <a:gd name="T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24">
                  <a:moveTo>
                    <a:pt x="0" y="112"/>
                  </a:moveTo>
                  <a:lnTo>
                    <a:pt x="112" y="0"/>
                  </a:lnTo>
                  <a:lnTo>
                    <a:pt x="124" y="12"/>
                  </a:lnTo>
                  <a:lnTo>
                    <a:pt x="10" y="124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EB558EA9-4E02-4D7F-8E10-2B43F8AB1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0813" y="773113"/>
              <a:ext cx="196850" cy="196850"/>
            </a:xfrm>
            <a:custGeom>
              <a:avLst/>
              <a:gdLst>
                <a:gd name="T0" fmla="*/ 10 w 124"/>
                <a:gd name="T1" fmla="*/ 0 h 124"/>
                <a:gd name="T2" fmla="*/ 124 w 124"/>
                <a:gd name="T3" fmla="*/ 112 h 124"/>
                <a:gd name="T4" fmla="*/ 112 w 124"/>
                <a:gd name="T5" fmla="*/ 124 h 124"/>
                <a:gd name="T6" fmla="*/ 0 w 124"/>
                <a:gd name="T7" fmla="*/ 12 h 124"/>
                <a:gd name="T8" fmla="*/ 10 w 124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24">
                  <a:moveTo>
                    <a:pt x="10" y="0"/>
                  </a:moveTo>
                  <a:lnTo>
                    <a:pt x="124" y="112"/>
                  </a:lnTo>
                  <a:lnTo>
                    <a:pt x="112" y="124"/>
                  </a:lnTo>
                  <a:lnTo>
                    <a:pt x="0" y="12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2" name="Rectangle 95">
              <a:extLst>
                <a:ext uri="{FF2B5EF4-FFF2-40B4-BE49-F238E27FC236}">
                  <a16:creationId xmlns:a16="http://schemas.microsoft.com/office/drawing/2014/main" id="{BD079FCF-B5FD-4C73-BBCB-3CA2565BD6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4938" y="755650"/>
              <a:ext cx="41275" cy="2301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72531B99-93E9-49EB-8BDB-598751A8A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725" y="773113"/>
              <a:ext cx="201613" cy="196850"/>
            </a:xfrm>
            <a:custGeom>
              <a:avLst/>
              <a:gdLst>
                <a:gd name="T0" fmla="*/ 0 w 127"/>
                <a:gd name="T1" fmla="*/ 112 h 124"/>
                <a:gd name="T2" fmla="*/ 115 w 127"/>
                <a:gd name="T3" fmla="*/ 0 h 124"/>
                <a:gd name="T4" fmla="*/ 127 w 127"/>
                <a:gd name="T5" fmla="*/ 12 h 124"/>
                <a:gd name="T6" fmla="*/ 12 w 127"/>
                <a:gd name="T7" fmla="*/ 124 h 124"/>
                <a:gd name="T8" fmla="*/ 0 w 127"/>
                <a:gd name="T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4">
                  <a:moveTo>
                    <a:pt x="0" y="112"/>
                  </a:moveTo>
                  <a:lnTo>
                    <a:pt x="115" y="0"/>
                  </a:lnTo>
                  <a:lnTo>
                    <a:pt x="127" y="12"/>
                  </a:lnTo>
                  <a:lnTo>
                    <a:pt x="12" y="124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655DD5EF-76F5-439C-A59F-D32BC7458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725" y="773113"/>
              <a:ext cx="201613" cy="196850"/>
            </a:xfrm>
            <a:custGeom>
              <a:avLst/>
              <a:gdLst>
                <a:gd name="T0" fmla="*/ 12 w 127"/>
                <a:gd name="T1" fmla="*/ 0 h 124"/>
                <a:gd name="T2" fmla="*/ 127 w 127"/>
                <a:gd name="T3" fmla="*/ 112 h 124"/>
                <a:gd name="T4" fmla="*/ 115 w 127"/>
                <a:gd name="T5" fmla="*/ 124 h 124"/>
                <a:gd name="T6" fmla="*/ 0 w 127"/>
                <a:gd name="T7" fmla="*/ 12 h 124"/>
                <a:gd name="T8" fmla="*/ 12 w 127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4">
                  <a:moveTo>
                    <a:pt x="12" y="0"/>
                  </a:moveTo>
                  <a:lnTo>
                    <a:pt x="127" y="112"/>
                  </a:lnTo>
                  <a:lnTo>
                    <a:pt x="115" y="124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5" name="Rectangle 98">
              <a:extLst>
                <a:ext uri="{FF2B5EF4-FFF2-40B4-BE49-F238E27FC236}">
                  <a16:creationId xmlns:a16="http://schemas.microsoft.com/office/drawing/2014/main" id="{12614028-6637-4A32-9594-AD4AEBCA49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6025" y="755650"/>
              <a:ext cx="41275" cy="2301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E5117DA5-34A5-4FF1-9582-E771FC0EC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1400" y="773113"/>
              <a:ext cx="196850" cy="196850"/>
            </a:xfrm>
            <a:custGeom>
              <a:avLst/>
              <a:gdLst>
                <a:gd name="T0" fmla="*/ 0 w 124"/>
                <a:gd name="T1" fmla="*/ 112 h 124"/>
                <a:gd name="T2" fmla="*/ 112 w 124"/>
                <a:gd name="T3" fmla="*/ 0 h 124"/>
                <a:gd name="T4" fmla="*/ 124 w 124"/>
                <a:gd name="T5" fmla="*/ 12 h 124"/>
                <a:gd name="T6" fmla="*/ 12 w 124"/>
                <a:gd name="T7" fmla="*/ 124 h 124"/>
                <a:gd name="T8" fmla="*/ 0 w 124"/>
                <a:gd name="T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24">
                  <a:moveTo>
                    <a:pt x="0" y="112"/>
                  </a:moveTo>
                  <a:lnTo>
                    <a:pt x="112" y="0"/>
                  </a:lnTo>
                  <a:lnTo>
                    <a:pt x="124" y="12"/>
                  </a:lnTo>
                  <a:lnTo>
                    <a:pt x="12" y="124"/>
                  </a:lnTo>
                  <a:lnTo>
                    <a:pt x="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11CF2F24-E201-437D-8619-2CD4AE17C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1400" y="773113"/>
              <a:ext cx="196850" cy="196850"/>
            </a:xfrm>
            <a:custGeom>
              <a:avLst/>
              <a:gdLst>
                <a:gd name="T0" fmla="*/ 12 w 124"/>
                <a:gd name="T1" fmla="*/ 0 h 124"/>
                <a:gd name="T2" fmla="*/ 124 w 124"/>
                <a:gd name="T3" fmla="*/ 112 h 124"/>
                <a:gd name="T4" fmla="*/ 112 w 124"/>
                <a:gd name="T5" fmla="*/ 124 h 124"/>
                <a:gd name="T6" fmla="*/ 0 w 124"/>
                <a:gd name="T7" fmla="*/ 12 h 124"/>
                <a:gd name="T8" fmla="*/ 12 w 124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24">
                  <a:moveTo>
                    <a:pt x="12" y="0"/>
                  </a:moveTo>
                  <a:lnTo>
                    <a:pt x="124" y="112"/>
                  </a:lnTo>
                  <a:lnTo>
                    <a:pt x="112" y="124"/>
                  </a:lnTo>
                  <a:lnTo>
                    <a:pt x="0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F1214A04-D28B-472F-BD56-BD1F9E422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513" y="628650"/>
              <a:ext cx="652463" cy="474662"/>
            </a:xfrm>
            <a:custGeom>
              <a:avLst/>
              <a:gdLst>
                <a:gd name="T0" fmla="*/ 205 w 205"/>
                <a:gd name="T1" fmla="*/ 149 h 149"/>
                <a:gd name="T2" fmla="*/ 0 w 205"/>
                <a:gd name="T3" fmla="*/ 149 h 149"/>
                <a:gd name="T4" fmla="*/ 0 w 205"/>
                <a:gd name="T5" fmla="*/ 0 h 149"/>
                <a:gd name="T6" fmla="*/ 125 w 205"/>
                <a:gd name="T7" fmla="*/ 0 h 149"/>
                <a:gd name="T8" fmla="*/ 205 w 205"/>
                <a:gd name="T9" fmla="*/ 67 h 149"/>
                <a:gd name="T10" fmla="*/ 205 w 205"/>
                <a:gd name="T11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" h="149">
                  <a:moveTo>
                    <a:pt x="205" y="149"/>
                  </a:moveTo>
                  <a:cubicBezTo>
                    <a:pt x="0" y="149"/>
                    <a:pt x="0" y="149"/>
                    <a:pt x="0" y="14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69" y="0"/>
                    <a:pt x="205" y="30"/>
                    <a:pt x="205" y="67"/>
                  </a:cubicBezTo>
                  <a:lnTo>
                    <a:pt x="205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9" name="Rectangle 102">
              <a:extLst>
                <a:ext uri="{FF2B5EF4-FFF2-40B4-BE49-F238E27FC236}">
                  <a16:creationId xmlns:a16="http://schemas.microsoft.com/office/drawing/2014/main" id="{EF1A0428-1375-40F8-949D-73BF9D6751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538" y="698500"/>
              <a:ext cx="219075" cy="4905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5D2D8534-2FF4-4623-AEA6-7908FE311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163" y="1588"/>
              <a:ext cx="3952875" cy="977900"/>
            </a:xfrm>
            <a:custGeom>
              <a:avLst/>
              <a:gdLst>
                <a:gd name="T0" fmla="*/ 2474 w 2490"/>
                <a:gd name="T1" fmla="*/ 616 h 616"/>
                <a:gd name="T2" fmla="*/ 580 w 2490"/>
                <a:gd name="T3" fmla="*/ 48 h 616"/>
                <a:gd name="T4" fmla="*/ 28 w 2490"/>
                <a:gd name="T5" fmla="*/ 469 h 616"/>
                <a:gd name="T6" fmla="*/ 0 w 2490"/>
                <a:gd name="T7" fmla="*/ 437 h 616"/>
                <a:gd name="T8" fmla="*/ 572 w 2490"/>
                <a:gd name="T9" fmla="*/ 0 h 616"/>
                <a:gd name="T10" fmla="*/ 2490 w 2490"/>
                <a:gd name="T11" fmla="*/ 578 h 616"/>
                <a:gd name="T12" fmla="*/ 2474 w 2490"/>
                <a:gd name="T13" fmla="*/ 616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0" h="616">
                  <a:moveTo>
                    <a:pt x="2474" y="616"/>
                  </a:moveTo>
                  <a:lnTo>
                    <a:pt x="580" y="48"/>
                  </a:lnTo>
                  <a:lnTo>
                    <a:pt x="28" y="469"/>
                  </a:lnTo>
                  <a:lnTo>
                    <a:pt x="0" y="437"/>
                  </a:lnTo>
                  <a:lnTo>
                    <a:pt x="572" y="0"/>
                  </a:lnTo>
                  <a:lnTo>
                    <a:pt x="2490" y="578"/>
                  </a:lnTo>
                  <a:lnTo>
                    <a:pt x="2474" y="6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1" name="Rectangle 104">
              <a:extLst>
                <a:ext uri="{FF2B5EF4-FFF2-40B4-BE49-F238E27FC236}">
                  <a16:creationId xmlns:a16="http://schemas.microsoft.com/office/drawing/2014/main" id="{5BB9E17A-220B-48A2-8F0E-FCBDAE589C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4188" y="966788"/>
              <a:ext cx="44450" cy="10128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2" name="Rectangle 105">
              <a:extLst>
                <a:ext uri="{FF2B5EF4-FFF2-40B4-BE49-F238E27FC236}">
                  <a16:creationId xmlns:a16="http://schemas.microsoft.com/office/drawing/2014/main" id="{9A0D611E-9F25-4C68-AAFB-2130AD47F6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2875" y="1938338"/>
              <a:ext cx="736600" cy="2413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3" name="Rectangle 106">
              <a:extLst>
                <a:ext uri="{FF2B5EF4-FFF2-40B4-BE49-F238E27FC236}">
                  <a16:creationId xmlns:a16="http://schemas.microsoft.com/office/drawing/2014/main" id="{07EB0736-3617-4F98-AE1E-BC2A49521A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4338" y="1855788"/>
              <a:ext cx="187325" cy="1238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4" name="Rectangle 107">
              <a:extLst>
                <a:ext uri="{FF2B5EF4-FFF2-40B4-BE49-F238E27FC236}">
                  <a16:creationId xmlns:a16="http://schemas.microsoft.com/office/drawing/2014/main" id="{F4D90D66-0E3B-4BC2-8FA3-D98C67D2C9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4825" y="752475"/>
              <a:ext cx="771525" cy="365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5" name="Freeform 108">
              <a:extLst>
                <a:ext uri="{FF2B5EF4-FFF2-40B4-BE49-F238E27FC236}">
                  <a16:creationId xmlns:a16="http://schemas.microsoft.com/office/drawing/2014/main" id="{2AFD7427-6FA0-4B03-8EAE-D3FD2BFF9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4825" y="900113"/>
              <a:ext cx="1287463" cy="88900"/>
            </a:xfrm>
            <a:custGeom>
              <a:avLst/>
              <a:gdLst>
                <a:gd name="T0" fmla="*/ 0 w 811"/>
                <a:gd name="T1" fmla="*/ 56 h 56"/>
                <a:gd name="T2" fmla="*/ 0 w 811"/>
                <a:gd name="T3" fmla="*/ 30 h 56"/>
                <a:gd name="T4" fmla="*/ 725 w 811"/>
                <a:gd name="T5" fmla="*/ 30 h 56"/>
                <a:gd name="T6" fmla="*/ 735 w 811"/>
                <a:gd name="T7" fmla="*/ 0 h 56"/>
                <a:gd name="T8" fmla="*/ 811 w 811"/>
                <a:gd name="T9" fmla="*/ 30 h 56"/>
                <a:gd name="T10" fmla="*/ 811 w 811"/>
                <a:gd name="T11" fmla="*/ 56 h 56"/>
                <a:gd name="T12" fmla="*/ 0 w 811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1" h="56">
                  <a:moveTo>
                    <a:pt x="0" y="56"/>
                  </a:moveTo>
                  <a:lnTo>
                    <a:pt x="0" y="30"/>
                  </a:lnTo>
                  <a:lnTo>
                    <a:pt x="725" y="30"/>
                  </a:lnTo>
                  <a:lnTo>
                    <a:pt x="735" y="0"/>
                  </a:lnTo>
                  <a:lnTo>
                    <a:pt x="811" y="30"/>
                  </a:lnTo>
                  <a:lnTo>
                    <a:pt x="811" y="56"/>
                  </a:lnTo>
                  <a:lnTo>
                    <a:pt x="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6" name="Rectangle 109">
              <a:extLst>
                <a:ext uri="{FF2B5EF4-FFF2-40B4-BE49-F238E27FC236}">
                  <a16:creationId xmlns:a16="http://schemas.microsoft.com/office/drawing/2014/main" id="{95F0ABD9-F98C-47DA-B6CB-750AF10E65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425" y="752475"/>
              <a:ext cx="34925" cy="2143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7" name="Rectangle 110">
              <a:extLst>
                <a:ext uri="{FF2B5EF4-FFF2-40B4-BE49-F238E27FC236}">
                  <a16:creationId xmlns:a16="http://schemas.microsoft.com/office/drawing/2014/main" id="{2B777433-D91C-45E4-8FBB-080911726A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9700" y="820738"/>
              <a:ext cx="38100" cy="133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8" name="Freeform 111">
              <a:extLst>
                <a:ext uri="{FF2B5EF4-FFF2-40B4-BE49-F238E27FC236}">
                  <a16:creationId xmlns:a16="http://schemas.microsoft.com/office/drawing/2014/main" id="{0F5EA16B-9564-44E4-A852-2B340A549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4738" y="768350"/>
              <a:ext cx="185738" cy="185737"/>
            </a:xfrm>
            <a:custGeom>
              <a:avLst/>
              <a:gdLst>
                <a:gd name="T0" fmla="*/ 0 w 117"/>
                <a:gd name="T1" fmla="*/ 105 h 117"/>
                <a:gd name="T2" fmla="*/ 107 w 117"/>
                <a:gd name="T3" fmla="*/ 0 h 117"/>
                <a:gd name="T4" fmla="*/ 117 w 117"/>
                <a:gd name="T5" fmla="*/ 11 h 117"/>
                <a:gd name="T6" fmla="*/ 12 w 117"/>
                <a:gd name="T7" fmla="*/ 117 h 117"/>
                <a:gd name="T8" fmla="*/ 0 w 117"/>
                <a:gd name="T9" fmla="*/ 10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117">
                  <a:moveTo>
                    <a:pt x="0" y="105"/>
                  </a:moveTo>
                  <a:lnTo>
                    <a:pt x="107" y="0"/>
                  </a:lnTo>
                  <a:lnTo>
                    <a:pt x="117" y="11"/>
                  </a:lnTo>
                  <a:lnTo>
                    <a:pt x="12" y="117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9" name="Freeform 112">
              <a:extLst>
                <a:ext uri="{FF2B5EF4-FFF2-40B4-BE49-F238E27FC236}">
                  <a16:creationId xmlns:a16="http://schemas.microsoft.com/office/drawing/2014/main" id="{0C6CD059-A68A-4255-8A29-C3948126C9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300" y="814388"/>
              <a:ext cx="142875" cy="139700"/>
            </a:xfrm>
            <a:custGeom>
              <a:avLst/>
              <a:gdLst>
                <a:gd name="T0" fmla="*/ 0 w 90"/>
                <a:gd name="T1" fmla="*/ 78 h 88"/>
                <a:gd name="T2" fmla="*/ 78 w 90"/>
                <a:gd name="T3" fmla="*/ 0 h 88"/>
                <a:gd name="T4" fmla="*/ 90 w 90"/>
                <a:gd name="T5" fmla="*/ 10 h 88"/>
                <a:gd name="T6" fmla="*/ 12 w 90"/>
                <a:gd name="T7" fmla="*/ 88 h 88"/>
                <a:gd name="T8" fmla="*/ 0 w 90"/>
                <a:gd name="T9" fmla="*/ 7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88">
                  <a:moveTo>
                    <a:pt x="0" y="78"/>
                  </a:moveTo>
                  <a:lnTo>
                    <a:pt x="78" y="0"/>
                  </a:lnTo>
                  <a:lnTo>
                    <a:pt x="90" y="10"/>
                  </a:lnTo>
                  <a:lnTo>
                    <a:pt x="12" y="8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0" name="Freeform 113">
              <a:extLst>
                <a:ext uri="{FF2B5EF4-FFF2-40B4-BE49-F238E27FC236}">
                  <a16:creationId xmlns:a16="http://schemas.microsoft.com/office/drawing/2014/main" id="{0072BB92-886F-463B-A076-69C8D35E2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4738" y="768350"/>
              <a:ext cx="185738" cy="185737"/>
            </a:xfrm>
            <a:custGeom>
              <a:avLst/>
              <a:gdLst>
                <a:gd name="T0" fmla="*/ 12 w 117"/>
                <a:gd name="T1" fmla="*/ 0 h 117"/>
                <a:gd name="T2" fmla="*/ 117 w 117"/>
                <a:gd name="T3" fmla="*/ 105 h 117"/>
                <a:gd name="T4" fmla="*/ 107 w 117"/>
                <a:gd name="T5" fmla="*/ 117 h 117"/>
                <a:gd name="T6" fmla="*/ 0 w 117"/>
                <a:gd name="T7" fmla="*/ 11 h 117"/>
                <a:gd name="T8" fmla="*/ 12 w 117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117">
                  <a:moveTo>
                    <a:pt x="12" y="0"/>
                  </a:moveTo>
                  <a:lnTo>
                    <a:pt x="117" y="105"/>
                  </a:lnTo>
                  <a:lnTo>
                    <a:pt x="107" y="117"/>
                  </a:lnTo>
                  <a:lnTo>
                    <a:pt x="0" y="11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1" name="Rectangle 114">
              <a:extLst>
                <a:ext uri="{FF2B5EF4-FFF2-40B4-BE49-F238E27FC236}">
                  <a16:creationId xmlns:a16="http://schemas.microsoft.com/office/drawing/2014/main" id="{6E9DC577-21E3-4D66-9993-7CD62B5B7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2038" y="752475"/>
              <a:ext cx="38100" cy="2143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2" name="Freeform 115">
              <a:extLst>
                <a:ext uri="{FF2B5EF4-FFF2-40B4-BE49-F238E27FC236}">
                  <a16:creationId xmlns:a16="http://schemas.microsoft.com/office/drawing/2014/main" id="{59728FCC-2F04-49FD-807F-0BE902EEF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113" y="768350"/>
              <a:ext cx="184150" cy="185737"/>
            </a:xfrm>
            <a:custGeom>
              <a:avLst/>
              <a:gdLst>
                <a:gd name="T0" fmla="*/ 0 w 116"/>
                <a:gd name="T1" fmla="*/ 105 h 117"/>
                <a:gd name="T2" fmla="*/ 104 w 116"/>
                <a:gd name="T3" fmla="*/ 0 h 117"/>
                <a:gd name="T4" fmla="*/ 116 w 116"/>
                <a:gd name="T5" fmla="*/ 11 h 117"/>
                <a:gd name="T6" fmla="*/ 10 w 116"/>
                <a:gd name="T7" fmla="*/ 117 h 117"/>
                <a:gd name="T8" fmla="*/ 0 w 116"/>
                <a:gd name="T9" fmla="*/ 10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7">
                  <a:moveTo>
                    <a:pt x="0" y="105"/>
                  </a:moveTo>
                  <a:lnTo>
                    <a:pt x="104" y="0"/>
                  </a:lnTo>
                  <a:lnTo>
                    <a:pt x="116" y="11"/>
                  </a:lnTo>
                  <a:lnTo>
                    <a:pt x="10" y="117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3" name="Freeform 116">
              <a:extLst>
                <a:ext uri="{FF2B5EF4-FFF2-40B4-BE49-F238E27FC236}">
                  <a16:creationId xmlns:a16="http://schemas.microsoft.com/office/drawing/2014/main" id="{44A1446D-B918-4420-A459-561387150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113" y="768350"/>
              <a:ext cx="184150" cy="185737"/>
            </a:xfrm>
            <a:custGeom>
              <a:avLst/>
              <a:gdLst>
                <a:gd name="T0" fmla="*/ 10 w 116"/>
                <a:gd name="T1" fmla="*/ 0 h 117"/>
                <a:gd name="T2" fmla="*/ 116 w 116"/>
                <a:gd name="T3" fmla="*/ 105 h 117"/>
                <a:gd name="T4" fmla="*/ 104 w 116"/>
                <a:gd name="T5" fmla="*/ 117 h 117"/>
                <a:gd name="T6" fmla="*/ 0 w 116"/>
                <a:gd name="T7" fmla="*/ 11 h 117"/>
                <a:gd name="T8" fmla="*/ 10 w 116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7">
                  <a:moveTo>
                    <a:pt x="10" y="0"/>
                  </a:moveTo>
                  <a:lnTo>
                    <a:pt x="116" y="105"/>
                  </a:lnTo>
                  <a:lnTo>
                    <a:pt x="104" y="117"/>
                  </a:lnTo>
                  <a:lnTo>
                    <a:pt x="0" y="11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4" name="Rectangle 117">
              <a:extLst>
                <a:ext uri="{FF2B5EF4-FFF2-40B4-BE49-F238E27FC236}">
                  <a16:creationId xmlns:a16="http://schemas.microsoft.com/office/drawing/2014/main" id="{AADC5436-87CD-48D8-ACF7-3E0F37A162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7413" y="752475"/>
              <a:ext cx="38100" cy="2143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5" name="Freeform 118">
              <a:extLst>
                <a:ext uri="{FF2B5EF4-FFF2-40B4-BE49-F238E27FC236}">
                  <a16:creationId xmlns:a16="http://schemas.microsoft.com/office/drawing/2014/main" id="{4D0E9D2F-48DC-48D3-8FE4-07713550F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0725" y="768350"/>
              <a:ext cx="188913" cy="185737"/>
            </a:xfrm>
            <a:custGeom>
              <a:avLst/>
              <a:gdLst>
                <a:gd name="T0" fmla="*/ 0 w 119"/>
                <a:gd name="T1" fmla="*/ 105 h 117"/>
                <a:gd name="T2" fmla="*/ 107 w 119"/>
                <a:gd name="T3" fmla="*/ 0 h 117"/>
                <a:gd name="T4" fmla="*/ 119 w 119"/>
                <a:gd name="T5" fmla="*/ 11 h 117"/>
                <a:gd name="T6" fmla="*/ 12 w 119"/>
                <a:gd name="T7" fmla="*/ 117 h 117"/>
                <a:gd name="T8" fmla="*/ 0 w 119"/>
                <a:gd name="T9" fmla="*/ 10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17">
                  <a:moveTo>
                    <a:pt x="0" y="105"/>
                  </a:moveTo>
                  <a:lnTo>
                    <a:pt x="107" y="0"/>
                  </a:lnTo>
                  <a:lnTo>
                    <a:pt x="119" y="11"/>
                  </a:lnTo>
                  <a:lnTo>
                    <a:pt x="12" y="117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6" name="Freeform 119">
              <a:extLst>
                <a:ext uri="{FF2B5EF4-FFF2-40B4-BE49-F238E27FC236}">
                  <a16:creationId xmlns:a16="http://schemas.microsoft.com/office/drawing/2014/main" id="{A472EDF8-7731-48DE-935E-DE77A1DE8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0725" y="768350"/>
              <a:ext cx="188913" cy="185737"/>
            </a:xfrm>
            <a:custGeom>
              <a:avLst/>
              <a:gdLst>
                <a:gd name="T0" fmla="*/ 12 w 119"/>
                <a:gd name="T1" fmla="*/ 0 h 117"/>
                <a:gd name="T2" fmla="*/ 119 w 119"/>
                <a:gd name="T3" fmla="*/ 105 h 117"/>
                <a:gd name="T4" fmla="*/ 107 w 119"/>
                <a:gd name="T5" fmla="*/ 117 h 117"/>
                <a:gd name="T6" fmla="*/ 0 w 119"/>
                <a:gd name="T7" fmla="*/ 11 h 117"/>
                <a:gd name="T8" fmla="*/ 12 w 11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17">
                  <a:moveTo>
                    <a:pt x="12" y="0"/>
                  </a:moveTo>
                  <a:lnTo>
                    <a:pt x="119" y="105"/>
                  </a:lnTo>
                  <a:lnTo>
                    <a:pt x="107" y="117"/>
                  </a:lnTo>
                  <a:lnTo>
                    <a:pt x="0" y="11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7" name="Rectangle 120">
              <a:extLst>
                <a:ext uri="{FF2B5EF4-FFF2-40B4-BE49-F238E27FC236}">
                  <a16:creationId xmlns:a16="http://schemas.microsoft.com/office/drawing/2014/main" id="{3A8ADDFA-5CBA-4993-969B-B1CE9ED623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1200" y="752475"/>
              <a:ext cx="34925" cy="2143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8" name="Freeform 121">
              <a:extLst>
                <a:ext uri="{FF2B5EF4-FFF2-40B4-BE49-F238E27FC236}">
                  <a16:creationId xmlns:a16="http://schemas.microsoft.com/office/drawing/2014/main" id="{D1C253EF-87ED-4D24-9DC3-88D4215B9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768350"/>
              <a:ext cx="184150" cy="185737"/>
            </a:xfrm>
            <a:custGeom>
              <a:avLst/>
              <a:gdLst>
                <a:gd name="T0" fmla="*/ 0 w 116"/>
                <a:gd name="T1" fmla="*/ 105 h 117"/>
                <a:gd name="T2" fmla="*/ 106 w 116"/>
                <a:gd name="T3" fmla="*/ 0 h 117"/>
                <a:gd name="T4" fmla="*/ 116 w 116"/>
                <a:gd name="T5" fmla="*/ 11 h 117"/>
                <a:gd name="T6" fmla="*/ 12 w 116"/>
                <a:gd name="T7" fmla="*/ 117 h 117"/>
                <a:gd name="T8" fmla="*/ 0 w 116"/>
                <a:gd name="T9" fmla="*/ 10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7">
                  <a:moveTo>
                    <a:pt x="0" y="105"/>
                  </a:moveTo>
                  <a:lnTo>
                    <a:pt x="106" y="0"/>
                  </a:lnTo>
                  <a:lnTo>
                    <a:pt x="116" y="11"/>
                  </a:lnTo>
                  <a:lnTo>
                    <a:pt x="12" y="117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9" name="Freeform 122">
              <a:extLst>
                <a:ext uri="{FF2B5EF4-FFF2-40B4-BE49-F238E27FC236}">
                  <a16:creationId xmlns:a16="http://schemas.microsoft.com/office/drawing/2014/main" id="{062AEF8F-7618-4714-B045-047397A16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768350"/>
              <a:ext cx="184150" cy="185737"/>
            </a:xfrm>
            <a:custGeom>
              <a:avLst/>
              <a:gdLst>
                <a:gd name="T0" fmla="*/ 12 w 116"/>
                <a:gd name="T1" fmla="*/ 0 h 117"/>
                <a:gd name="T2" fmla="*/ 116 w 116"/>
                <a:gd name="T3" fmla="*/ 105 h 117"/>
                <a:gd name="T4" fmla="*/ 106 w 116"/>
                <a:gd name="T5" fmla="*/ 117 h 117"/>
                <a:gd name="T6" fmla="*/ 0 w 116"/>
                <a:gd name="T7" fmla="*/ 11 h 117"/>
                <a:gd name="T8" fmla="*/ 12 w 116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7">
                  <a:moveTo>
                    <a:pt x="12" y="0"/>
                  </a:moveTo>
                  <a:lnTo>
                    <a:pt x="116" y="105"/>
                  </a:lnTo>
                  <a:lnTo>
                    <a:pt x="106" y="117"/>
                  </a:lnTo>
                  <a:lnTo>
                    <a:pt x="0" y="11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0" name="Rectangle 123">
              <a:extLst>
                <a:ext uri="{FF2B5EF4-FFF2-40B4-BE49-F238E27FC236}">
                  <a16:creationId xmlns:a16="http://schemas.microsoft.com/office/drawing/2014/main" id="{542FD34D-2296-4664-B4FE-5BB075772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2875" y="2192338"/>
              <a:ext cx="736600" cy="2428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1" name="Rectangle 124">
              <a:extLst>
                <a:ext uri="{FF2B5EF4-FFF2-40B4-BE49-F238E27FC236}">
                  <a16:creationId xmlns:a16="http://schemas.microsoft.com/office/drawing/2014/main" id="{26A8FEB6-3DAC-421A-BC90-006925DFF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5" y="695325"/>
              <a:ext cx="206375" cy="676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2" name="Freeform 125">
              <a:extLst>
                <a:ext uri="{FF2B5EF4-FFF2-40B4-BE49-F238E27FC236}">
                  <a16:creationId xmlns:a16="http://schemas.microsoft.com/office/drawing/2014/main" id="{B6774275-A9EC-4A04-AE53-8A95FC522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475" y="4430713"/>
              <a:ext cx="1154113" cy="207962"/>
            </a:xfrm>
            <a:custGeom>
              <a:avLst/>
              <a:gdLst>
                <a:gd name="T0" fmla="*/ 362 w 362"/>
                <a:gd name="T1" fmla="*/ 31 h 65"/>
                <a:gd name="T2" fmla="*/ 362 w 362"/>
                <a:gd name="T3" fmla="*/ 65 h 65"/>
                <a:gd name="T4" fmla="*/ 0 w 362"/>
                <a:gd name="T5" fmla="*/ 65 h 65"/>
                <a:gd name="T6" fmla="*/ 0 w 362"/>
                <a:gd name="T7" fmla="*/ 31 h 65"/>
                <a:gd name="T8" fmla="*/ 30 w 362"/>
                <a:gd name="T9" fmla="*/ 0 h 65"/>
                <a:gd name="T10" fmla="*/ 332 w 362"/>
                <a:gd name="T11" fmla="*/ 0 h 65"/>
                <a:gd name="T12" fmla="*/ 362 w 362"/>
                <a:gd name="T13" fmla="*/ 3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2" h="65">
                  <a:moveTo>
                    <a:pt x="362" y="31"/>
                  </a:moveTo>
                  <a:cubicBezTo>
                    <a:pt x="362" y="65"/>
                    <a:pt x="362" y="65"/>
                    <a:pt x="362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49" y="0"/>
                    <a:pt x="362" y="14"/>
                    <a:pt x="362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133" name="Rectangle 132">
            <a:extLst>
              <a:ext uri="{FF2B5EF4-FFF2-40B4-BE49-F238E27FC236}">
                <a16:creationId xmlns:a16="http://schemas.microsoft.com/office/drawing/2014/main" id="{29B7AB3E-6B5F-42B3-9E57-8633EC06F9E0}"/>
              </a:ext>
            </a:extLst>
          </p:cNvPr>
          <p:cNvSpPr/>
          <p:nvPr userDrawn="1"/>
        </p:nvSpPr>
        <p:spPr>
          <a:xfrm>
            <a:off x="272953" y="287257"/>
            <a:ext cx="368489" cy="7242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CAF7A862-2343-40B9-BBA2-62AB9F6250A3}"/>
              </a:ext>
            </a:extLst>
          </p:cNvPr>
          <p:cNvSpPr/>
          <p:nvPr userDrawn="1"/>
        </p:nvSpPr>
        <p:spPr>
          <a:xfrm>
            <a:off x="-4" y="287255"/>
            <a:ext cx="191071" cy="7242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2425148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A8D69A-BFC2-4B10-BE3B-DDECB81DE897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1776546" y="1872070"/>
            <a:ext cx="3326679" cy="3326679"/>
          </a:xfrm>
          <a:prstGeom prst="diamond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85485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4042BDB-2F8A-4632-BB44-DDEED52675C4}"/>
              </a:ext>
            </a:extLst>
          </p:cNvPr>
          <p:cNvSpPr/>
          <p:nvPr userDrawn="1"/>
        </p:nvSpPr>
        <p:spPr>
          <a:xfrm>
            <a:off x="5255664" y="3153397"/>
            <a:ext cx="6355221" cy="32461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A8D69A-BFC2-4B10-BE3B-DDECB81DE897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588679" y="458497"/>
            <a:ext cx="9358627" cy="53698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538694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BCEFD9-B163-48A4-AE71-5462FF7934D4}"/>
              </a:ext>
            </a:extLst>
          </p:cNvPr>
          <p:cNvSpPr/>
          <p:nvPr userDrawn="1"/>
        </p:nvSpPr>
        <p:spPr>
          <a:xfrm>
            <a:off x="-1" y="828943"/>
            <a:ext cx="4862557" cy="16637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A8D69A-BFC2-4B10-BE3B-DDECB81DE897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503221" y="-3826"/>
            <a:ext cx="2666667" cy="53698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1CC093B-6E45-4870-AFC9-7DA7E6943FEA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3774836" y="1488114"/>
            <a:ext cx="2666667" cy="53698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670116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49361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893592F-B858-4F5A-87CA-4EFF78535447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1" y="1183603"/>
            <a:ext cx="3512321" cy="5470055"/>
          </a:xfrm>
          <a:custGeom>
            <a:avLst/>
            <a:gdLst>
              <a:gd name="connsiteX0" fmla="*/ 0 w 2828662"/>
              <a:gd name="connsiteY0" fmla="*/ 0 h 4405331"/>
              <a:gd name="connsiteX1" fmla="*/ 2828662 w 2828662"/>
              <a:gd name="connsiteY1" fmla="*/ 2202666 h 4405331"/>
              <a:gd name="connsiteX2" fmla="*/ 0 w 2828662"/>
              <a:gd name="connsiteY2" fmla="*/ 4405331 h 4405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28662" h="4405331">
                <a:moveTo>
                  <a:pt x="0" y="0"/>
                </a:moveTo>
                <a:lnTo>
                  <a:pt x="2828662" y="2202666"/>
                </a:lnTo>
                <a:lnTo>
                  <a:pt x="0" y="44053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2B7F1F1-7576-43C8-8B02-8D9D6595C6B6}"/>
              </a:ext>
            </a:extLst>
          </p:cNvPr>
          <p:cNvSpPr/>
          <p:nvPr userDrawn="1"/>
        </p:nvSpPr>
        <p:spPr>
          <a:xfrm rot="2283856">
            <a:off x="-1144999" y="3273775"/>
            <a:ext cx="9041919" cy="507660"/>
          </a:xfrm>
          <a:custGeom>
            <a:avLst/>
            <a:gdLst>
              <a:gd name="connsiteX0" fmla="*/ 0 w 8508719"/>
              <a:gd name="connsiteY0" fmla="*/ 0 h 507660"/>
              <a:gd name="connsiteX1" fmla="*/ 8508719 w 8508719"/>
              <a:gd name="connsiteY1" fmla="*/ 0 h 507660"/>
              <a:gd name="connsiteX2" fmla="*/ 8382750 w 8508719"/>
              <a:gd name="connsiteY2" fmla="*/ 507660 h 507660"/>
              <a:gd name="connsiteX3" fmla="*/ 397545 w 8508719"/>
              <a:gd name="connsiteY3" fmla="*/ 507660 h 507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08719" h="507660">
                <a:moveTo>
                  <a:pt x="0" y="0"/>
                </a:moveTo>
                <a:lnTo>
                  <a:pt x="8508719" y="0"/>
                </a:lnTo>
                <a:lnTo>
                  <a:pt x="8382750" y="507660"/>
                </a:lnTo>
                <a:lnTo>
                  <a:pt x="397545" y="50766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D8039C2-E1B0-4E55-85AC-2B71B79D8AE6}"/>
              </a:ext>
            </a:extLst>
          </p:cNvPr>
          <p:cNvSpPr/>
          <p:nvPr userDrawn="1"/>
        </p:nvSpPr>
        <p:spPr>
          <a:xfrm rot="19320000">
            <a:off x="6359982" y="2723208"/>
            <a:ext cx="7218431" cy="2018307"/>
          </a:xfrm>
          <a:custGeom>
            <a:avLst/>
            <a:gdLst>
              <a:gd name="connsiteX0" fmla="*/ 7218431 w 7218431"/>
              <a:gd name="connsiteY0" fmla="*/ 0 h 2018306"/>
              <a:gd name="connsiteX1" fmla="*/ 5641558 w 7218431"/>
              <a:gd name="connsiteY1" fmla="*/ 2018306 h 2018306"/>
              <a:gd name="connsiteX2" fmla="*/ 0 w 7218431"/>
              <a:gd name="connsiteY2" fmla="*/ 2018306 h 2018306"/>
              <a:gd name="connsiteX3" fmla="*/ 0 w 7218431"/>
              <a:gd name="connsiteY3" fmla="*/ 0 h 2018306"/>
              <a:gd name="connsiteX0" fmla="*/ 7218431 w 7218431"/>
              <a:gd name="connsiteY0" fmla="*/ 0 h 2018306"/>
              <a:gd name="connsiteX1" fmla="*/ 5641558 w 7218431"/>
              <a:gd name="connsiteY1" fmla="*/ 2018306 h 2018306"/>
              <a:gd name="connsiteX2" fmla="*/ 133423 w 7218431"/>
              <a:gd name="connsiteY2" fmla="*/ 2014099 h 2018306"/>
              <a:gd name="connsiteX3" fmla="*/ 0 w 7218431"/>
              <a:gd name="connsiteY3" fmla="*/ 0 h 2018306"/>
              <a:gd name="connsiteX4" fmla="*/ 7218431 w 7218431"/>
              <a:gd name="connsiteY4" fmla="*/ 0 h 2018306"/>
              <a:gd name="connsiteX0" fmla="*/ 7218431 w 7218431"/>
              <a:gd name="connsiteY0" fmla="*/ 0 h 2018306"/>
              <a:gd name="connsiteX1" fmla="*/ 5641558 w 7218431"/>
              <a:gd name="connsiteY1" fmla="*/ 2018306 h 2018306"/>
              <a:gd name="connsiteX2" fmla="*/ 131951 w 7218431"/>
              <a:gd name="connsiteY2" fmla="*/ 2002104 h 2018306"/>
              <a:gd name="connsiteX3" fmla="*/ 0 w 7218431"/>
              <a:gd name="connsiteY3" fmla="*/ 0 h 2018306"/>
              <a:gd name="connsiteX4" fmla="*/ 7218431 w 7218431"/>
              <a:gd name="connsiteY4" fmla="*/ 0 h 2018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18431" h="2018306">
                <a:moveTo>
                  <a:pt x="7218431" y="0"/>
                </a:moveTo>
                <a:lnTo>
                  <a:pt x="5641558" y="2018306"/>
                </a:lnTo>
                <a:lnTo>
                  <a:pt x="131951" y="2002104"/>
                </a:lnTo>
                <a:lnTo>
                  <a:pt x="0" y="0"/>
                </a:lnTo>
                <a:lnTo>
                  <a:pt x="7218431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CC73BDD-47B2-4716-B34E-A2A208CF0460}"/>
              </a:ext>
            </a:extLst>
          </p:cNvPr>
          <p:cNvSpPr/>
          <p:nvPr userDrawn="1"/>
        </p:nvSpPr>
        <p:spPr>
          <a:xfrm rot="2283856">
            <a:off x="-1281242" y="3125603"/>
            <a:ext cx="10430561" cy="457200"/>
          </a:xfrm>
          <a:custGeom>
            <a:avLst/>
            <a:gdLst>
              <a:gd name="connsiteX0" fmla="*/ 0 w 9464629"/>
              <a:gd name="connsiteY0" fmla="*/ 0 h 457200"/>
              <a:gd name="connsiteX1" fmla="*/ 9464629 w 9464629"/>
              <a:gd name="connsiteY1" fmla="*/ 0 h 457200"/>
              <a:gd name="connsiteX2" fmla="*/ 9464629 w 9464629"/>
              <a:gd name="connsiteY2" fmla="*/ 19238 h 457200"/>
              <a:gd name="connsiteX3" fmla="*/ 9355955 w 9464629"/>
              <a:gd name="connsiteY3" fmla="*/ 457200 h 457200"/>
              <a:gd name="connsiteX4" fmla="*/ 358030 w 9464629"/>
              <a:gd name="connsiteY4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64629" h="457200">
                <a:moveTo>
                  <a:pt x="0" y="0"/>
                </a:moveTo>
                <a:lnTo>
                  <a:pt x="9464629" y="0"/>
                </a:lnTo>
                <a:lnTo>
                  <a:pt x="9464629" y="19238"/>
                </a:lnTo>
                <a:lnTo>
                  <a:pt x="9355955" y="457200"/>
                </a:lnTo>
                <a:lnTo>
                  <a:pt x="358030" y="4572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A8D69A-BFC2-4B10-BE3B-DDECB81DE897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-1" y="1"/>
            <a:ext cx="12209257" cy="5122817"/>
          </a:xfrm>
          <a:custGeom>
            <a:avLst/>
            <a:gdLst>
              <a:gd name="connsiteX0" fmla="*/ 0 w 13115109"/>
              <a:gd name="connsiteY0" fmla="*/ 5122817 h 10245634"/>
              <a:gd name="connsiteX1" fmla="*/ 6557555 w 13115109"/>
              <a:gd name="connsiteY1" fmla="*/ 0 h 10245634"/>
              <a:gd name="connsiteX2" fmla="*/ 13115109 w 13115109"/>
              <a:gd name="connsiteY2" fmla="*/ 5122817 h 10245634"/>
              <a:gd name="connsiteX3" fmla="*/ 6557555 w 13115109"/>
              <a:gd name="connsiteY3" fmla="*/ 10245634 h 10245634"/>
              <a:gd name="connsiteX4" fmla="*/ 0 w 13115109"/>
              <a:gd name="connsiteY4" fmla="*/ 5122817 h 10245634"/>
              <a:gd name="connsiteX0" fmla="*/ 0 w 13115109"/>
              <a:gd name="connsiteY0" fmla="*/ 5122817 h 10245634"/>
              <a:gd name="connsiteX1" fmla="*/ 6557555 w 13115109"/>
              <a:gd name="connsiteY1" fmla="*/ 0 h 10245634"/>
              <a:gd name="connsiteX2" fmla="*/ 13115109 w 13115109"/>
              <a:gd name="connsiteY2" fmla="*/ 5122817 h 10245634"/>
              <a:gd name="connsiteX3" fmla="*/ 12187881 w 13115109"/>
              <a:gd name="connsiteY3" fmla="*/ 5839509 h 10245634"/>
              <a:gd name="connsiteX4" fmla="*/ 6557555 w 13115109"/>
              <a:gd name="connsiteY4" fmla="*/ 10245634 h 10245634"/>
              <a:gd name="connsiteX5" fmla="*/ 0 w 13115109"/>
              <a:gd name="connsiteY5" fmla="*/ 5122817 h 10245634"/>
              <a:gd name="connsiteX0" fmla="*/ 0 w 13115109"/>
              <a:gd name="connsiteY0" fmla="*/ 5196957 h 10319774"/>
              <a:gd name="connsiteX1" fmla="*/ 6483415 w 13115109"/>
              <a:gd name="connsiteY1" fmla="*/ 0 h 10319774"/>
              <a:gd name="connsiteX2" fmla="*/ 13115109 w 13115109"/>
              <a:gd name="connsiteY2" fmla="*/ 5196957 h 10319774"/>
              <a:gd name="connsiteX3" fmla="*/ 12187881 w 13115109"/>
              <a:gd name="connsiteY3" fmla="*/ 5913649 h 10319774"/>
              <a:gd name="connsiteX4" fmla="*/ 6557555 w 13115109"/>
              <a:gd name="connsiteY4" fmla="*/ 10319774 h 10319774"/>
              <a:gd name="connsiteX5" fmla="*/ 0 w 13115109"/>
              <a:gd name="connsiteY5" fmla="*/ 5196957 h 10319774"/>
              <a:gd name="connsiteX0" fmla="*/ 0 w 13115109"/>
              <a:gd name="connsiteY0" fmla="*/ 0 h 5122817"/>
              <a:gd name="connsiteX1" fmla="*/ 13115109 w 13115109"/>
              <a:gd name="connsiteY1" fmla="*/ 0 h 5122817"/>
              <a:gd name="connsiteX2" fmla="*/ 12187881 w 13115109"/>
              <a:gd name="connsiteY2" fmla="*/ 716692 h 5122817"/>
              <a:gd name="connsiteX3" fmla="*/ 6557555 w 13115109"/>
              <a:gd name="connsiteY3" fmla="*/ 5122817 h 5122817"/>
              <a:gd name="connsiteX4" fmla="*/ 0 w 13115109"/>
              <a:gd name="connsiteY4" fmla="*/ 0 h 5122817"/>
              <a:gd name="connsiteX0" fmla="*/ 0 w 12200709"/>
              <a:gd name="connsiteY0" fmla="*/ 0 h 5122817"/>
              <a:gd name="connsiteX1" fmla="*/ 12200709 w 12200709"/>
              <a:gd name="connsiteY1" fmla="*/ 42729 h 5122817"/>
              <a:gd name="connsiteX2" fmla="*/ 12187881 w 12200709"/>
              <a:gd name="connsiteY2" fmla="*/ 716692 h 5122817"/>
              <a:gd name="connsiteX3" fmla="*/ 6557555 w 12200709"/>
              <a:gd name="connsiteY3" fmla="*/ 5122817 h 5122817"/>
              <a:gd name="connsiteX4" fmla="*/ 0 w 12200709"/>
              <a:gd name="connsiteY4" fmla="*/ 0 h 5122817"/>
              <a:gd name="connsiteX0" fmla="*/ 0 w 12192164"/>
              <a:gd name="connsiteY0" fmla="*/ 17092 h 5139909"/>
              <a:gd name="connsiteX1" fmla="*/ 12192164 w 12192164"/>
              <a:gd name="connsiteY1" fmla="*/ 0 h 5139909"/>
              <a:gd name="connsiteX2" fmla="*/ 12187881 w 12192164"/>
              <a:gd name="connsiteY2" fmla="*/ 733784 h 5139909"/>
              <a:gd name="connsiteX3" fmla="*/ 6557555 w 12192164"/>
              <a:gd name="connsiteY3" fmla="*/ 5139909 h 5139909"/>
              <a:gd name="connsiteX4" fmla="*/ 0 w 12192164"/>
              <a:gd name="connsiteY4" fmla="*/ 17092 h 5139909"/>
              <a:gd name="connsiteX0" fmla="*/ 0 w 12188071"/>
              <a:gd name="connsiteY0" fmla="*/ 0 h 5122817"/>
              <a:gd name="connsiteX1" fmla="*/ 12183619 w 12188071"/>
              <a:gd name="connsiteY1" fmla="*/ 0 h 5122817"/>
              <a:gd name="connsiteX2" fmla="*/ 12187881 w 12188071"/>
              <a:gd name="connsiteY2" fmla="*/ 716692 h 5122817"/>
              <a:gd name="connsiteX3" fmla="*/ 6557555 w 12188071"/>
              <a:gd name="connsiteY3" fmla="*/ 5122817 h 5122817"/>
              <a:gd name="connsiteX4" fmla="*/ 0 w 12188071"/>
              <a:gd name="connsiteY4" fmla="*/ 0 h 5122817"/>
              <a:gd name="connsiteX0" fmla="*/ 0 w 12209257"/>
              <a:gd name="connsiteY0" fmla="*/ 0 h 5122817"/>
              <a:gd name="connsiteX1" fmla="*/ 12209257 w 12209257"/>
              <a:gd name="connsiteY1" fmla="*/ 0 h 5122817"/>
              <a:gd name="connsiteX2" fmla="*/ 12187881 w 12209257"/>
              <a:gd name="connsiteY2" fmla="*/ 716692 h 5122817"/>
              <a:gd name="connsiteX3" fmla="*/ 6557555 w 12209257"/>
              <a:gd name="connsiteY3" fmla="*/ 5122817 h 5122817"/>
              <a:gd name="connsiteX4" fmla="*/ 0 w 12209257"/>
              <a:gd name="connsiteY4" fmla="*/ 0 h 5122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9257" h="5122817">
                <a:moveTo>
                  <a:pt x="0" y="0"/>
                </a:moveTo>
                <a:lnTo>
                  <a:pt x="12209257" y="0"/>
                </a:lnTo>
                <a:cubicBezTo>
                  <a:pt x="12207829" y="244595"/>
                  <a:pt x="12189309" y="472097"/>
                  <a:pt x="12187881" y="716692"/>
                </a:cubicBezTo>
                <a:lnTo>
                  <a:pt x="6557555" y="512281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275957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31F48C-B68C-4AA3-A327-D4E232CCC4D2}"/>
              </a:ext>
            </a:extLst>
          </p:cNvPr>
          <p:cNvSpPr/>
          <p:nvPr userDrawn="1"/>
        </p:nvSpPr>
        <p:spPr>
          <a:xfrm>
            <a:off x="7570177" y="551723"/>
            <a:ext cx="3436232" cy="5152744"/>
          </a:xfrm>
          <a:prstGeom prst="rect">
            <a:avLst/>
          </a:prstGeom>
          <a:noFill/>
          <a:ln w="889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87D57F6-B3F3-4B57-BA8C-5AE6983ACFC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972300" y="1144429"/>
            <a:ext cx="3436232" cy="515274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192828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1DBA1EF6-0120-4FD9-94E5-779BB393F898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905691" y="1825115"/>
            <a:ext cx="226964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CC104F0A-ED0B-4B03-BB73-35F8EF9C879D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3615156" y="1825115"/>
            <a:ext cx="226964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3D72AD60-8A2A-4487-9377-E72F5DAF9591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6324621" y="1825115"/>
            <a:ext cx="226964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5BC6D7C-2CF0-49D1-A2B8-C1EFBA0121D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9034359" y="1825115"/>
            <a:ext cx="226964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7E2B474-D042-4F01-B278-52778C725B39}"/>
              </a:ext>
            </a:extLst>
          </p:cNvPr>
          <p:cNvSpPr/>
          <p:nvPr userDrawn="1"/>
        </p:nvSpPr>
        <p:spPr>
          <a:xfrm>
            <a:off x="905691" y="4561417"/>
            <a:ext cx="2269892" cy="1608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200">
              <a:latin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B75FD73-E0B7-46DB-A8A2-DB3BEABFDC72}"/>
              </a:ext>
            </a:extLst>
          </p:cNvPr>
          <p:cNvSpPr/>
          <p:nvPr userDrawn="1"/>
        </p:nvSpPr>
        <p:spPr>
          <a:xfrm>
            <a:off x="3615177" y="4561417"/>
            <a:ext cx="2269892" cy="1608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200"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D9A03F-A307-424B-822C-11AE6E934AEA}"/>
              </a:ext>
            </a:extLst>
          </p:cNvPr>
          <p:cNvSpPr/>
          <p:nvPr userDrawn="1"/>
        </p:nvSpPr>
        <p:spPr>
          <a:xfrm>
            <a:off x="6324643" y="4561417"/>
            <a:ext cx="2269892" cy="1608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200">
              <a:latin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BD4969-EFAC-4D12-9E84-0A6976D2641B}"/>
              </a:ext>
            </a:extLst>
          </p:cNvPr>
          <p:cNvSpPr/>
          <p:nvPr userDrawn="1"/>
        </p:nvSpPr>
        <p:spPr>
          <a:xfrm>
            <a:off x="9034107" y="4561417"/>
            <a:ext cx="2269892" cy="1608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200">
              <a:latin typeface="+mn-lt"/>
            </a:endParaRP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4ECE345D-A446-47CA-92D2-945255192249}"/>
              </a:ext>
            </a:extLst>
          </p:cNvPr>
          <p:cNvSpPr/>
          <p:nvPr userDrawn="1"/>
        </p:nvSpPr>
        <p:spPr>
          <a:xfrm>
            <a:off x="905691" y="4561419"/>
            <a:ext cx="2269892" cy="1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200">
              <a:latin typeface="+mn-lt"/>
            </a:endParaRPr>
          </a:p>
        </p:txBody>
      </p:sp>
      <p:sp>
        <p:nvSpPr>
          <p:cNvPr id="23" name="Rectangle 13">
            <a:extLst>
              <a:ext uri="{FF2B5EF4-FFF2-40B4-BE49-F238E27FC236}">
                <a16:creationId xmlns:a16="http://schemas.microsoft.com/office/drawing/2014/main" id="{1F8A95E2-762C-4F80-A59C-0186AD9AB293}"/>
              </a:ext>
            </a:extLst>
          </p:cNvPr>
          <p:cNvSpPr/>
          <p:nvPr userDrawn="1"/>
        </p:nvSpPr>
        <p:spPr>
          <a:xfrm>
            <a:off x="3615177" y="4561419"/>
            <a:ext cx="2269892" cy="1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200">
              <a:latin typeface="+mn-lt"/>
            </a:endParaRP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8EC859B7-B374-4919-872B-1599240455F5}"/>
              </a:ext>
            </a:extLst>
          </p:cNvPr>
          <p:cNvSpPr/>
          <p:nvPr userDrawn="1"/>
        </p:nvSpPr>
        <p:spPr>
          <a:xfrm>
            <a:off x="6324643" y="4561419"/>
            <a:ext cx="2269892" cy="1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200">
              <a:latin typeface="+mn-lt"/>
            </a:endParaRPr>
          </a:p>
        </p:txBody>
      </p:sp>
      <p:sp>
        <p:nvSpPr>
          <p:cNvPr id="25" name="Rectangle 15">
            <a:extLst>
              <a:ext uri="{FF2B5EF4-FFF2-40B4-BE49-F238E27FC236}">
                <a16:creationId xmlns:a16="http://schemas.microsoft.com/office/drawing/2014/main" id="{6A9C259D-41E4-4701-AC62-7C25AC824137}"/>
              </a:ext>
            </a:extLst>
          </p:cNvPr>
          <p:cNvSpPr/>
          <p:nvPr userDrawn="1"/>
        </p:nvSpPr>
        <p:spPr>
          <a:xfrm>
            <a:off x="9034107" y="4561419"/>
            <a:ext cx="2269892" cy="1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2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820927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12347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LAYOUT</a:t>
            </a:r>
          </a:p>
        </p:txBody>
      </p:sp>
    </p:spTree>
    <p:extLst>
      <p:ext uri="{BB962C8B-B14F-4D97-AF65-F5344CB8AC3E}">
        <p14:creationId xmlns:p14="http://schemas.microsoft.com/office/powerpoint/2010/main" val="19778195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12347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1" y="1131593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4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8" y="1276654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3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127464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A52DF-2523-4479-BFA3-B5ACE9887E1C}"/>
              </a:ext>
            </a:extLst>
          </p:cNvPr>
          <p:cNvSpPr txBox="1"/>
          <p:nvPr userDrawn="1"/>
        </p:nvSpPr>
        <p:spPr>
          <a:xfrm>
            <a:off x="721229" y="5808440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AAC314F-E96A-4408-95DE-A70E9ED054AF}"/>
              </a:ext>
            </a:extLst>
          </p:cNvPr>
          <p:cNvSpPr txBox="1"/>
          <p:nvPr userDrawn="1"/>
        </p:nvSpPr>
        <p:spPr>
          <a:xfrm>
            <a:off x="721229" y="4450325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11737703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7065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>
            <a:extLst>
              <a:ext uri="{FF2B5EF4-FFF2-40B4-BE49-F238E27FC236}">
                <a16:creationId xmlns:a16="http://schemas.microsoft.com/office/drawing/2014/main" id="{31D701F7-6536-4EA0-BC87-9BB13963D926}"/>
              </a:ext>
            </a:extLst>
          </p:cNvPr>
          <p:cNvSpPr/>
          <p:nvPr userDrawn="1"/>
        </p:nvSpPr>
        <p:spPr>
          <a:xfrm>
            <a:off x="2" y="2362200"/>
            <a:ext cx="12191999" cy="2133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7" name="그림 개체 틀 6">
            <a:extLst>
              <a:ext uri="{FF2B5EF4-FFF2-40B4-BE49-F238E27FC236}">
                <a16:creationId xmlns:a16="http://schemas.microsoft.com/office/drawing/2014/main" id="{F0F9403A-8AFF-4B2B-B648-FF5CBFC9A8B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534030" y="3"/>
            <a:ext cx="6657973" cy="6857999"/>
          </a:xfrm>
          <a:custGeom>
            <a:avLst/>
            <a:gdLst>
              <a:gd name="connsiteX0" fmla="*/ 2362199 w 6657973"/>
              <a:gd name="connsiteY0" fmla="*/ 0 h 6857999"/>
              <a:gd name="connsiteX1" fmla="*/ 6657973 w 6657973"/>
              <a:gd name="connsiteY1" fmla="*/ 0 h 6857999"/>
              <a:gd name="connsiteX2" fmla="*/ 6657973 w 6657973"/>
              <a:gd name="connsiteY2" fmla="*/ 3630706 h 6857999"/>
              <a:gd name="connsiteX3" fmla="*/ 6657972 w 6657973"/>
              <a:gd name="connsiteY3" fmla="*/ 6857999 h 6857999"/>
              <a:gd name="connsiteX4" fmla="*/ 2362198 w 6657973"/>
              <a:gd name="connsiteY4" fmla="*/ 6857999 h 6857999"/>
              <a:gd name="connsiteX5" fmla="*/ 2362198 w 6657973"/>
              <a:gd name="connsiteY5" fmla="*/ 6857999 h 6857999"/>
              <a:gd name="connsiteX6" fmla="*/ 0 w 6657973"/>
              <a:gd name="connsiteY6" fmla="*/ 34385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57973" h="6857999">
                <a:moveTo>
                  <a:pt x="2362199" y="0"/>
                </a:moveTo>
                <a:lnTo>
                  <a:pt x="6657973" y="0"/>
                </a:lnTo>
                <a:lnTo>
                  <a:pt x="6657973" y="3630706"/>
                </a:lnTo>
                <a:lnTo>
                  <a:pt x="6657972" y="6857999"/>
                </a:lnTo>
                <a:lnTo>
                  <a:pt x="2362198" y="6857999"/>
                </a:lnTo>
                <a:lnTo>
                  <a:pt x="2362198" y="6857999"/>
                </a:lnTo>
                <a:lnTo>
                  <a:pt x="0" y="34385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5637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자유형: 도형 5">
            <a:extLst>
              <a:ext uri="{FF2B5EF4-FFF2-40B4-BE49-F238E27FC236}">
                <a16:creationId xmlns:a16="http://schemas.microsoft.com/office/drawing/2014/main" id="{BC0FA2A0-2070-4162-B90B-85498321A141}"/>
              </a:ext>
            </a:extLst>
          </p:cNvPr>
          <p:cNvSpPr/>
          <p:nvPr userDrawn="1"/>
        </p:nvSpPr>
        <p:spPr>
          <a:xfrm>
            <a:off x="5895977" y="0"/>
            <a:ext cx="5979207" cy="6858000"/>
          </a:xfrm>
          <a:custGeom>
            <a:avLst/>
            <a:gdLst>
              <a:gd name="connsiteX0" fmla="*/ 102129 w 5979207"/>
              <a:gd name="connsiteY0" fmla="*/ 0 h 6858000"/>
              <a:gd name="connsiteX1" fmla="*/ 2568591 w 5979207"/>
              <a:gd name="connsiteY1" fmla="*/ 0 h 6858000"/>
              <a:gd name="connsiteX2" fmla="*/ 3429043 w 5979207"/>
              <a:gd name="connsiteY2" fmla="*/ 1911463 h 6858000"/>
              <a:gd name="connsiteX3" fmla="*/ 4432480 w 5979207"/>
              <a:gd name="connsiteY3" fmla="*/ 0 h 6858000"/>
              <a:gd name="connsiteX4" fmla="*/ 5979207 w 5979207"/>
              <a:gd name="connsiteY4" fmla="*/ 0 h 6858000"/>
              <a:gd name="connsiteX5" fmla="*/ 5979207 w 5979207"/>
              <a:gd name="connsiteY5" fmla="*/ 1317813 h 6858000"/>
              <a:gd name="connsiteX6" fmla="*/ 4875315 w 5979207"/>
              <a:gd name="connsiteY6" fmla="*/ 3267558 h 6858000"/>
              <a:gd name="connsiteX7" fmla="*/ 5979207 w 5979207"/>
              <a:gd name="connsiteY7" fmla="*/ 5266500 h 6858000"/>
              <a:gd name="connsiteX8" fmla="*/ 5979207 w 5979207"/>
              <a:gd name="connsiteY8" fmla="*/ 6858000 h 6858000"/>
              <a:gd name="connsiteX9" fmla="*/ 4432480 w 5979207"/>
              <a:gd name="connsiteY9" fmla="*/ 6858000 h 6858000"/>
              <a:gd name="connsiteX10" fmla="*/ 3429043 w 5979207"/>
              <a:gd name="connsiteY10" fmla="*/ 4649491 h 6858000"/>
              <a:gd name="connsiteX11" fmla="*/ 2251989 w 5979207"/>
              <a:gd name="connsiteY11" fmla="*/ 6858000 h 6858000"/>
              <a:gd name="connsiteX12" fmla="*/ 0 w 5979207"/>
              <a:gd name="connsiteY12" fmla="*/ 6858000 h 6858000"/>
              <a:gd name="connsiteX13" fmla="*/ 1969690 w 5979207"/>
              <a:gd name="connsiteY13" fmla="*/ 32675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979207" h="6858000">
                <a:moveTo>
                  <a:pt x="102129" y="0"/>
                </a:moveTo>
                <a:lnTo>
                  <a:pt x="2568591" y="0"/>
                </a:lnTo>
                <a:lnTo>
                  <a:pt x="3429043" y="1911463"/>
                </a:lnTo>
                <a:lnTo>
                  <a:pt x="4432480" y="0"/>
                </a:lnTo>
                <a:lnTo>
                  <a:pt x="5979207" y="0"/>
                </a:lnTo>
                <a:lnTo>
                  <a:pt x="5979207" y="1317813"/>
                </a:lnTo>
                <a:lnTo>
                  <a:pt x="4875315" y="3267558"/>
                </a:lnTo>
                <a:lnTo>
                  <a:pt x="5979207" y="5266500"/>
                </a:lnTo>
                <a:lnTo>
                  <a:pt x="5979207" y="6858000"/>
                </a:lnTo>
                <a:lnTo>
                  <a:pt x="4432480" y="6858000"/>
                </a:lnTo>
                <a:lnTo>
                  <a:pt x="3429043" y="4649491"/>
                </a:lnTo>
                <a:lnTo>
                  <a:pt x="2251989" y="6858000"/>
                </a:lnTo>
                <a:lnTo>
                  <a:pt x="0" y="6858000"/>
                </a:lnTo>
                <a:lnTo>
                  <a:pt x="1969690" y="3267558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5" name="자유형: 도형 4">
            <a:extLst>
              <a:ext uri="{FF2B5EF4-FFF2-40B4-BE49-F238E27FC236}">
                <a16:creationId xmlns:a16="http://schemas.microsoft.com/office/drawing/2014/main" id="{B5410258-795E-46FD-86D0-616F7BF2BB04}"/>
              </a:ext>
            </a:extLst>
          </p:cNvPr>
          <p:cNvSpPr/>
          <p:nvPr userDrawn="1"/>
        </p:nvSpPr>
        <p:spPr>
          <a:xfrm>
            <a:off x="6054386" y="0"/>
            <a:ext cx="5979207" cy="6858000"/>
          </a:xfrm>
          <a:custGeom>
            <a:avLst/>
            <a:gdLst>
              <a:gd name="connsiteX0" fmla="*/ 102129 w 5979207"/>
              <a:gd name="connsiteY0" fmla="*/ 0 h 6858000"/>
              <a:gd name="connsiteX1" fmla="*/ 2568591 w 5979207"/>
              <a:gd name="connsiteY1" fmla="*/ 0 h 6858000"/>
              <a:gd name="connsiteX2" fmla="*/ 3429043 w 5979207"/>
              <a:gd name="connsiteY2" fmla="*/ 1911463 h 6858000"/>
              <a:gd name="connsiteX3" fmla="*/ 4432480 w 5979207"/>
              <a:gd name="connsiteY3" fmla="*/ 0 h 6858000"/>
              <a:gd name="connsiteX4" fmla="*/ 5979207 w 5979207"/>
              <a:gd name="connsiteY4" fmla="*/ 0 h 6858000"/>
              <a:gd name="connsiteX5" fmla="*/ 5979207 w 5979207"/>
              <a:gd name="connsiteY5" fmla="*/ 1317813 h 6858000"/>
              <a:gd name="connsiteX6" fmla="*/ 4875315 w 5979207"/>
              <a:gd name="connsiteY6" fmla="*/ 3267558 h 6858000"/>
              <a:gd name="connsiteX7" fmla="*/ 5979207 w 5979207"/>
              <a:gd name="connsiteY7" fmla="*/ 5266500 h 6858000"/>
              <a:gd name="connsiteX8" fmla="*/ 5979207 w 5979207"/>
              <a:gd name="connsiteY8" fmla="*/ 6858000 h 6858000"/>
              <a:gd name="connsiteX9" fmla="*/ 4432480 w 5979207"/>
              <a:gd name="connsiteY9" fmla="*/ 6858000 h 6858000"/>
              <a:gd name="connsiteX10" fmla="*/ 3429043 w 5979207"/>
              <a:gd name="connsiteY10" fmla="*/ 4649491 h 6858000"/>
              <a:gd name="connsiteX11" fmla="*/ 2251989 w 5979207"/>
              <a:gd name="connsiteY11" fmla="*/ 6858000 h 6858000"/>
              <a:gd name="connsiteX12" fmla="*/ 0 w 5979207"/>
              <a:gd name="connsiteY12" fmla="*/ 6858000 h 6858000"/>
              <a:gd name="connsiteX13" fmla="*/ 1969690 w 5979207"/>
              <a:gd name="connsiteY13" fmla="*/ 32675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979207" h="6858000">
                <a:moveTo>
                  <a:pt x="102129" y="0"/>
                </a:moveTo>
                <a:lnTo>
                  <a:pt x="2568591" y="0"/>
                </a:lnTo>
                <a:lnTo>
                  <a:pt x="3429043" y="1911463"/>
                </a:lnTo>
                <a:lnTo>
                  <a:pt x="4432480" y="0"/>
                </a:lnTo>
                <a:lnTo>
                  <a:pt x="5979207" y="0"/>
                </a:lnTo>
                <a:lnTo>
                  <a:pt x="5979207" y="1317813"/>
                </a:lnTo>
                <a:lnTo>
                  <a:pt x="4875315" y="3267558"/>
                </a:lnTo>
                <a:lnTo>
                  <a:pt x="5979207" y="5266500"/>
                </a:lnTo>
                <a:lnTo>
                  <a:pt x="5979207" y="6858000"/>
                </a:lnTo>
                <a:lnTo>
                  <a:pt x="4432480" y="6858000"/>
                </a:lnTo>
                <a:lnTo>
                  <a:pt x="3429043" y="4649491"/>
                </a:lnTo>
                <a:lnTo>
                  <a:pt x="2251989" y="6858000"/>
                </a:lnTo>
                <a:lnTo>
                  <a:pt x="0" y="6858000"/>
                </a:lnTo>
                <a:lnTo>
                  <a:pt x="1969690" y="326755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10" name="그림 개체 틀 9">
            <a:extLst>
              <a:ext uri="{FF2B5EF4-FFF2-40B4-BE49-F238E27FC236}">
                <a16:creationId xmlns:a16="http://schemas.microsoft.com/office/drawing/2014/main" id="{8D51066F-07ED-45ED-AA6F-CCB56128CE23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6212794" y="0"/>
            <a:ext cx="5979207" cy="6858000"/>
          </a:xfrm>
          <a:custGeom>
            <a:avLst/>
            <a:gdLst>
              <a:gd name="connsiteX0" fmla="*/ 94573 w 5536832"/>
              <a:gd name="connsiteY0" fmla="*/ 0 h 6858000"/>
              <a:gd name="connsiteX1" fmla="*/ 2378552 w 5536832"/>
              <a:gd name="connsiteY1" fmla="*/ 0 h 6858000"/>
              <a:gd name="connsiteX2" fmla="*/ 3175343 w 5536832"/>
              <a:gd name="connsiteY2" fmla="*/ 1911463 h 6858000"/>
              <a:gd name="connsiteX3" fmla="*/ 4104540 w 5536832"/>
              <a:gd name="connsiteY3" fmla="*/ 0 h 6858000"/>
              <a:gd name="connsiteX4" fmla="*/ 5536832 w 5536832"/>
              <a:gd name="connsiteY4" fmla="*/ 0 h 6858000"/>
              <a:gd name="connsiteX5" fmla="*/ 5536832 w 5536832"/>
              <a:gd name="connsiteY5" fmla="*/ 1317813 h 6858000"/>
              <a:gd name="connsiteX6" fmla="*/ 4514612 w 5536832"/>
              <a:gd name="connsiteY6" fmla="*/ 3267558 h 6858000"/>
              <a:gd name="connsiteX7" fmla="*/ 5536832 w 5536832"/>
              <a:gd name="connsiteY7" fmla="*/ 5266500 h 6858000"/>
              <a:gd name="connsiteX8" fmla="*/ 5536832 w 5536832"/>
              <a:gd name="connsiteY8" fmla="*/ 6858000 h 6858000"/>
              <a:gd name="connsiteX9" fmla="*/ 4104540 w 5536832"/>
              <a:gd name="connsiteY9" fmla="*/ 6858000 h 6858000"/>
              <a:gd name="connsiteX10" fmla="*/ 3175343 w 5536832"/>
              <a:gd name="connsiteY10" fmla="*/ 4649491 h 6858000"/>
              <a:gd name="connsiteX11" fmla="*/ 2085374 w 5536832"/>
              <a:gd name="connsiteY11" fmla="*/ 6858000 h 6858000"/>
              <a:gd name="connsiteX12" fmla="*/ 0 w 5536832"/>
              <a:gd name="connsiteY12" fmla="*/ 6858000 h 6858000"/>
              <a:gd name="connsiteX13" fmla="*/ 1823961 w 5536832"/>
              <a:gd name="connsiteY13" fmla="*/ 32675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536832" h="6858000">
                <a:moveTo>
                  <a:pt x="94573" y="0"/>
                </a:moveTo>
                <a:lnTo>
                  <a:pt x="2378552" y="0"/>
                </a:lnTo>
                <a:lnTo>
                  <a:pt x="3175343" y="1911463"/>
                </a:lnTo>
                <a:lnTo>
                  <a:pt x="4104540" y="0"/>
                </a:lnTo>
                <a:lnTo>
                  <a:pt x="5536832" y="0"/>
                </a:lnTo>
                <a:lnTo>
                  <a:pt x="5536832" y="1317813"/>
                </a:lnTo>
                <a:lnTo>
                  <a:pt x="4514612" y="3267558"/>
                </a:lnTo>
                <a:lnTo>
                  <a:pt x="5536832" y="5266500"/>
                </a:lnTo>
                <a:lnTo>
                  <a:pt x="5536832" y="6858000"/>
                </a:lnTo>
                <a:lnTo>
                  <a:pt x="4104540" y="6858000"/>
                </a:lnTo>
                <a:lnTo>
                  <a:pt x="3175343" y="4649491"/>
                </a:lnTo>
                <a:lnTo>
                  <a:pt x="2085374" y="6858000"/>
                </a:lnTo>
                <a:lnTo>
                  <a:pt x="0" y="6858000"/>
                </a:lnTo>
                <a:lnTo>
                  <a:pt x="1823961" y="326755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63416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그림 개체 틀 26">
            <a:extLst>
              <a:ext uri="{FF2B5EF4-FFF2-40B4-BE49-F238E27FC236}">
                <a16:creationId xmlns:a16="http://schemas.microsoft.com/office/drawing/2014/main" id="{0458EB99-A808-4839-915D-3BFD0AD702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" y="0"/>
            <a:ext cx="9565167" cy="6858000"/>
          </a:xfrm>
          <a:custGeom>
            <a:avLst/>
            <a:gdLst>
              <a:gd name="connsiteX0" fmla="*/ 4211004 w 9565167"/>
              <a:gd name="connsiteY0" fmla="*/ 4662000 h 6858000"/>
              <a:gd name="connsiteX1" fmla="*/ 6766795 w 9565167"/>
              <a:gd name="connsiteY1" fmla="*/ 4662000 h 6858000"/>
              <a:gd name="connsiteX2" fmla="*/ 5488899 w 9565167"/>
              <a:gd name="connsiteY2" fmla="*/ 6858000 h 6858000"/>
              <a:gd name="connsiteX3" fmla="*/ 1277895 w 9565167"/>
              <a:gd name="connsiteY3" fmla="*/ 4662000 h 6858000"/>
              <a:gd name="connsiteX4" fmla="*/ 2555790 w 9565167"/>
              <a:gd name="connsiteY4" fmla="*/ 6858000 h 6858000"/>
              <a:gd name="connsiteX5" fmla="*/ 0 w 9565167"/>
              <a:gd name="connsiteY5" fmla="*/ 6858000 h 6858000"/>
              <a:gd name="connsiteX6" fmla="*/ 0 w 9565167"/>
              <a:gd name="connsiteY6" fmla="*/ 6857998 h 6858000"/>
              <a:gd name="connsiteX7" fmla="*/ 1398185 w 9565167"/>
              <a:gd name="connsiteY7" fmla="*/ 4661999 h 6858000"/>
              <a:gd name="connsiteX8" fmla="*/ 4079756 w 9565167"/>
              <a:gd name="connsiteY8" fmla="*/ 4661999 h 6858000"/>
              <a:gd name="connsiteX9" fmla="*/ 5358618 w 9565167"/>
              <a:gd name="connsiteY9" fmla="*/ 6858000 h 6858000"/>
              <a:gd name="connsiteX10" fmla="*/ 2677050 w 9565167"/>
              <a:gd name="connsiteY10" fmla="*/ 6858000 h 6858000"/>
              <a:gd name="connsiteX11" fmla="*/ 6884031 w 9565167"/>
              <a:gd name="connsiteY11" fmla="*/ 4661998 h 6858000"/>
              <a:gd name="connsiteX12" fmla="*/ 9565167 w 9565167"/>
              <a:gd name="connsiteY12" fmla="*/ 4661998 h 6858000"/>
              <a:gd name="connsiteX13" fmla="*/ 8286303 w 9565167"/>
              <a:gd name="connsiteY13" fmla="*/ 6858000 h 6858000"/>
              <a:gd name="connsiteX14" fmla="*/ 5605167 w 9565167"/>
              <a:gd name="connsiteY14" fmla="*/ 6858000 h 6858000"/>
              <a:gd name="connsiteX15" fmla="*/ 5488901 w 9565167"/>
              <a:gd name="connsiteY15" fmla="*/ 2331000 h 6858000"/>
              <a:gd name="connsiteX16" fmla="*/ 6766796 w 9565167"/>
              <a:gd name="connsiteY16" fmla="*/ 4527000 h 6858000"/>
              <a:gd name="connsiteX17" fmla="*/ 4211005 w 9565167"/>
              <a:gd name="connsiteY17" fmla="*/ 4527000 h 6858000"/>
              <a:gd name="connsiteX18" fmla="*/ 0 w 9565167"/>
              <a:gd name="connsiteY18" fmla="*/ 2331000 h 6858000"/>
              <a:gd name="connsiteX19" fmla="*/ 2555791 w 9565167"/>
              <a:gd name="connsiteY19" fmla="*/ 2331000 h 6858000"/>
              <a:gd name="connsiteX20" fmla="*/ 1277895 w 9565167"/>
              <a:gd name="connsiteY20" fmla="*/ 4527000 h 6858000"/>
              <a:gd name="connsiteX21" fmla="*/ 2683508 w 9565167"/>
              <a:gd name="connsiteY21" fmla="*/ 2330999 h 6858000"/>
              <a:gd name="connsiteX22" fmla="*/ 5365076 w 9565167"/>
              <a:gd name="connsiteY22" fmla="*/ 2330999 h 6858000"/>
              <a:gd name="connsiteX23" fmla="*/ 4086214 w 9565167"/>
              <a:gd name="connsiteY23" fmla="*/ 4527001 h 6858000"/>
              <a:gd name="connsiteX24" fmla="*/ 1404644 w 9565167"/>
              <a:gd name="connsiteY24" fmla="*/ 4527001 h 6858000"/>
              <a:gd name="connsiteX25" fmla="*/ 4087182 w 9565167"/>
              <a:gd name="connsiteY25" fmla="*/ 1 h 6858000"/>
              <a:gd name="connsiteX26" fmla="*/ 5365076 w 9565167"/>
              <a:gd name="connsiteY26" fmla="*/ 2196000 h 6858000"/>
              <a:gd name="connsiteX27" fmla="*/ 2809287 w 9565167"/>
              <a:gd name="connsiteY27" fmla="*/ 2196000 h 6858000"/>
              <a:gd name="connsiteX28" fmla="*/ 1277896 w 9565167"/>
              <a:gd name="connsiteY28" fmla="*/ 1 h 6858000"/>
              <a:gd name="connsiteX29" fmla="*/ 2555792 w 9565167"/>
              <a:gd name="connsiteY29" fmla="*/ 2196000 h 6858000"/>
              <a:gd name="connsiteX30" fmla="*/ 0 w 9565167"/>
              <a:gd name="connsiteY30" fmla="*/ 2196000 h 6858000"/>
              <a:gd name="connsiteX31" fmla="*/ 4213927 w 9565167"/>
              <a:gd name="connsiteY31" fmla="*/ 0 h 6858000"/>
              <a:gd name="connsiteX32" fmla="*/ 6769718 w 9565167"/>
              <a:gd name="connsiteY32" fmla="*/ 0 h 6858000"/>
              <a:gd name="connsiteX33" fmla="*/ 5491822 w 9565167"/>
              <a:gd name="connsiteY33" fmla="*/ 2196000 h 6858000"/>
              <a:gd name="connsiteX34" fmla="*/ 1404644 w 9565167"/>
              <a:gd name="connsiteY34" fmla="*/ 0 h 6858000"/>
              <a:gd name="connsiteX35" fmla="*/ 3960434 w 9565167"/>
              <a:gd name="connsiteY35" fmla="*/ 0 h 6858000"/>
              <a:gd name="connsiteX36" fmla="*/ 2682539 w 9565167"/>
              <a:gd name="connsiteY36" fmla="*/ 2195999 h 6858000"/>
              <a:gd name="connsiteX37" fmla="*/ 0 w 9565167"/>
              <a:gd name="connsiteY37" fmla="*/ 0 h 6858000"/>
              <a:gd name="connsiteX38" fmla="*/ 1151146 w 9565167"/>
              <a:gd name="connsiteY38" fmla="*/ 0 h 6858000"/>
              <a:gd name="connsiteX39" fmla="*/ 0 w 9565167"/>
              <a:gd name="connsiteY39" fmla="*/ 197818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9565167" h="6858000">
                <a:moveTo>
                  <a:pt x="4211004" y="4662000"/>
                </a:moveTo>
                <a:lnTo>
                  <a:pt x="6766795" y="4662000"/>
                </a:lnTo>
                <a:lnTo>
                  <a:pt x="5488899" y="6858000"/>
                </a:lnTo>
                <a:close/>
                <a:moveTo>
                  <a:pt x="1277895" y="4662000"/>
                </a:moveTo>
                <a:lnTo>
                  <a:pt x="2555790" y="6858000"/>
                </a:lnTo>
                <a:lnTo>
                  <a:pt x="0" y="6858000"/>
                </a:lnTo>
                <a:lnTo>
                  <a:pt x="0" y="6857998"/>
                </a:lnTo>
                <a:close/>
                <a:moveTo>
                  <a:pt x="1398185" y="4661999"/>
                </a:moveTo>
                <a:lnTo>
                  <a:pt x="4079756" y="4661999"/>
                </a:lnTo>
                <a:lnTo>
                  <a:pt x="5358618" y="6858000"/>
                </a:lnTo>
                <a:lnTo>
                  <a:pt x="2677050" y="6858000"/>
                </a:lnTo>
                <a:close/>
                <a:moveTo>
                  <a:pt x="6884031" y="4661998"/>
                </a:moveTo>
                <a:lnTo>
                  <a:pt x="9565167" y="4661998"/>
                </a:lnTo>
                <a:lnTo>
                  <a:pt x="8286303" y="6858000"/>
                </a:lnTo>
                <a:lnTo>
                  <a:pt x="5605167" y="6858000"/>
                </a:lnTo>
                <a:close/>
                <a:moveTo>
                  <a:pt x="5488901" y="2331000"/>
                </a:moveTo>
                <a:lnTo>
                  <a:pt x="6766796" y="4527000"/>
                </a:lnTo>
                <a:lnTo>
                  <a:pt x="4211005" y="4527000"/>
                </a:lnTo>
                <a:close/>
                <a:moveTo>
                  <a:pt x="0" y="2331000"/>
                </a:moveTo>
                <a:lnTo>
                  <a:pt x="2555791" y="2331000"/>
                </a:lnTo>
                <a:lnTo>
                  <a:pt x="1277895" y="4527000"/>
                </a:lnTo>
                <a:close/>
                <a:moveTo>
                  <a:pt x="2683508" y="2330999"/>
                </a:moveTo>
                <a:lnTo>
                  <a:pt x="5365076" y="2330999"/>
                </a:lnTo>
                <a:lnTo>
                  <a:pt x="4086214" y="4527001"/>
                </a:lnTo>
                <a:lnTo>
                  <a:pt x="1404644" y="4527001"/>
                </a:lnTo>
                <a:close/>
                <a:moveTo>
                  <a:pt x="4087182" y="1"/>
                </a:moveTo>
                <a:lnTo>
                  <a:pt x="5365076" y="2196000"/>
                </a:lnTo>
                <a:lnTo>
                  <a:pt x="2809287" y="2196000"/>
                </a:lnTo>
                <a:close/>
                <a:moveTo>
                  <a:pt x="1277896" y="1"/>
                </a:moveTo>
                <a:lnTo>
                  <a:pt x="2555792" y="2196000"/>
                </a:lnTo>
                <a:lnTo>
                  <a:pt x="0" y="2196000"/>
                </a:lnTo>
                <a:close/>
                <a:moveTo>
                  <a:pt x="4213927" y="0"/>
                </a:moveTo>
                <a:lnTo>
                  <a:pt x="6769718" y="0"/>
                </a:lnTo>
                <a:lnTo>
                  <a:pt x="5491822" y="2196000"/>
                </a:lnTo>
                <a:close/>
                <a:moveTo>
                  <a:pt x="1404644" y="0"/>
                </a:moveTo>
                <a:lnTo>
                  <a:pt x="3960434" y="0"/>
                </a:lnTo>
                <a:lnTo>
                  <a:pt x="2682539" y="2195999"/>
                </a:lnTo>
                <a:close/>
                <a:moveTo>
                  <a:pt x="0" y="0"/>
                </a:moveTo>
                <a:lnTo>
                  <a:pt x="1151146" y="0"/>
                </a:lnTo>
                <a:lnTo>
                  <a:pt x="0" y="19781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24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526415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091000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E" dirty="0"/>
          </a:p>
        </p:txBody>
      </p:sp>
      <p:sp>
        <p:nvSpPr>
          <p:cNvPr id="3" name="Content Placeholder 11"/>
          <p:cNvSpPr>
            <a:spLocks noGrp="1"/>
          </p:cNvSpPr>
          <p:nvPr>
            <p:ph idx="1"/>
          </p:nvPr>
        </p:nvSpPr>
        <p:spPr>
          <a:xfrm>
            <a:off x="3711883" y="1316182"/>
            <a:ext cx="7893801" cy="5204934"/>
          </a:xfrm>
        </p:spPr>
        <p:txBody>
          <a:bodyPr/>
          <a:lstStyle/>
          <a:p>
            <a:endParaRPr lang="en-IE" dirty="0"/>
          </a:p>
        </p:txBody>
      </p:sp>
      <p:sp>
        <p:nvSpPr>
          <p:cNvPr id="4" name="Content Placeholder 2"/>
          <p:cNvSpPr txBox="1">
            <a:spLocks/>
          </p:cNvSpPr>
          <p:nvPr userDrawn="1"/>
        </p:nvSpPr>
        <p:spPr>
          <a:xfrm>
            <a:off x="557338" y="1316182"/>
            <a:ext cx="2831607" cy="52161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68288" indent="-268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  <a:cs typeface="+mn-cs"/>
              </a:defRPr>
            </a:lvl1pPr>
            <a:lvl2pPr marL="549275" indent="-2794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+mn-cs"/>
              </a:defRPr>
            </a:lvl2pPr>
            <a:lvl3pPr marL="817563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+mn-cs"/>
              </a:defRPr>
            </a:lvl3pPr>
            <a:lvl4pPr marL="1073150" indent="-254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+mn-cs"/>
              </a:defRPr>
            </a:lvl4pPr>
            <a:lvl5pPr marL="1365250" indent="-2905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+mn-cs"/>
              </a:defRPr>
            </a:lvl5pPr>
            <a:lvl6pPr marL="1822450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 Black" pitchFamily="34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279650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 Black" pitchFamily="34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736850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 Black" pitchFamily="34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194050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 Black" pitchFamily="34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0000"/>
              </a:lnSpc>
              <a:spcBef>
                <a:spcPts val="600"/>
              </a:spcBef>
            </a:pPr>
            <a:endParaRPr lang="en-IE" sz="1400" kern="0" dirty="0"/>
          </a:p>
          <a:p>
            <a:pPr>
              <a:lnSpc>
                <a:spcPct val="80000"/>
              </a:lnSpc>
              <a:spcBef>
                <a:spcPts val="600"/>
              </a:spcBef>
            </a:pPr>
            <a:endParaRPr lang="en-IE" sz="1400" kern="0" dirty="0"/>
          </a:p>
          <a:p>
            <a:pPr>
              <a:lnSpc>
                <a:spcPct val="80000"/>
              </a:lnSpc>
              <a:spcBef>
                <a:spcPts val="600"/>
              </a:spcBef>
            </a:pPr>
            <a:endParaRPr lang="en-IE" sz="1400" kern="0" dirty="0"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3550414" y="1316182"/>
            <a:ext cx="0" cy="521616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51069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81604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42520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EF70765A-4598-4D75-8EBE-B820808F65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Our Team LAYOUT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0025F79A-665A-4BBB-A50A-546644FC2449}"/>
              </a:ext>
            </a:extLst>
          </p:cNvPr>
          <p:cNvSpPr/>
          <p:nvPr userDrawn="1"/>
        </p:nvSpPr>
        <p:spPr>
          <a:xfrm>
            <a:off x="4545106" y="1577789"/>
            <a:ext cx="7646895" cy="29942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8CE32FA-A122-42D7-A83F-50C4A303FE0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1575691"/>
            <a:ext cx="4572000" cy="29942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9FD52E7-76ED-406C-90A6-5EB0DB26487F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4844206" y="1747070"/>
            <a:ext cx="2004831" cy="18646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2F86E70E-5C01-49D3-8D6F-4A30C2D3E95B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7121241" y="1747070"/>
            <a:ext cx="2004831" cy="18646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93D5C010-3837-42B8-9405-3A16D8BEE0B8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9398277" y="1747070"/>
            <a:ext cx="2004831" cy="18646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977448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8">
            <a:extLst>
              <a:ext uri="{FF2B5EF4-FFF2-40B4-BE49-F238E27FC236}">
                <a16:creationId xmlns:a16="http://schemas.microsoft.com/office/drawing/2014/main" id="{FA6F99CB-1078-445F-B45A-8412BD0D7BF2}"/>
              </a:ext>
            </a:extLst>
          </p:cNvPr>
          <p:cNvGrpSpPr/>
          <p:nvPr userDrawn="1"/>
        </p:nvGrpSpPr>
        <p:grpSpPr>
          <a:xfrm>
            <a:off x="9623275" y="2262039"/>
            <a:ext cx="2578351" cy="4052320"/>
            <a:chOff x="9508727" y="2147107"/>
            <a:chExt cx="2683273" cy="4217224"/>
          </a:xfrm>
        </p:grpSpPr>
        <p:sp>
          <p:nvSpPr>
            <p:cNvPr id="6" name="Freeform: Shape 19">
              <a:extLst>
                <a:ext uri="{FF2B5EF4-FFF2-40B4-BE49-F238E27FC236}">
                  <a16:creationId xmlns:a16="http://schemas.microsoft.com/office/drawing/2014/main" id="{B803DD7C-8357-4017-A04A-890271D09FD2}"/>
                </a:ext>
              </a:extLst>
            </p:cNvPr>
            <p:cNvSpPr/>
            <p:nvPr/>
          </p:nvSpPr>
          <p:spPr>
            <a:xfrm>
              <a:off x="11381596" y="5780548"/>
              <a:ext cx="810404" cy="583783"/>
            </a:xfrm>
            <a:custGeom>
              <a:avLst/>
              <a:gdLst>
                <a:gd name="connsiteX0" fmla="*/ 267669 w 810404"/>
                <a:gd name="connsiteY0" fmla="*/ 0 h 583783"/>
                <a:gd name="connsiteX1" fmla="*/ 769357 w 810404"/>
                <a:gd name="connsiteY1" fmla="*/ 0 h 583783"/>
                <a:gd name="connsiteX2" fmla="*/ 805844 w 810404"/>
                <a:gd name="connsiteY2" fmla="*/ 0 h 583783"/>
                <a:gd name="connsiteX3" fmla="*/ 810404 w 810404"/>
                <a:gd name="connsiteY3" fmla="*/ 0 h 583783"/>
                <a:gd name="connsiteX4" fmla="*/ 810404 w 810404"/>
                <a:gd name="connsiteY4" fmla="*/ 583783 h 583783"/>
                <a:gd name="connsiteX5" fmla="*/ 805844 w 810404"/>
                <a:gd name="connsiteY5" fmla="*/ 583783 h 583783"/>
                <a:gd name="connsiteX6" fmla="*/ 769357 w 810404"/>
                <a:gd name="connsiteY6" fmla="*/ 583783 h 583783"/>
                <a:gd name="connsiteX7" fmla="*/ 170371 w 810404"/>
                <a:gd name="connsiteY7" fmla="*/ 583783 h 583783"/>
                <a:gd name="connsiteX8" fmla="*/ 152128 w 810404"/>
                <a:gd name="connsiteY8" fmla="*/ 367906 h 583783"/>
                <a:gd name="connsiteX9" fmla="*/ 267669 w 810404"/>
                <a:gd name="connsiteY9" fmla="*/ 0 h 583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0404" h="583783">
                  <a:moveTo>
                    <a:pt x="267669" y="0"/>
                  </a:moveTo>
                  <a:lnTo>
                    <a:pt x="769357" y="0"/>
                  </a:lnTo>
                  <a:lnTo>
                    <a:pt x="805844" y="0"/>
                  </a:lnTo>
                  <a:lnTo>
                    <a:pt x="810404" y="0"/>
                  </a:lnTo>
                  <a:lnTo>
                    <a:pt x="810404" y="583783"/>
                  </a:lnTo>
                  <a:lnTo>
                    <a:pt x="805844" y="583783"/>
                  </a:lnTo>
                  <a:cubicBezTo>
                    <a:pt x="805844" y="583783"/>
                    <a:pt x="793682" y="583783"/>
                    <a:pt x="769357" y="583783"/>
                  </a:cubicBezTo>
                  <a:cubicBezTo>
                    <a:pt x="675101" y="583783"/>
                    <a:pt x="413614" y="583783"/>
                    <a:pt x="170371" y="583783"/>
                  </a:cubicBezTo>
                  <a:cubicBezTo>
                    <a:pt x="-133682" y="583783"/>
                    <a:pt x="39629" y="483446"/>
                    <a:pt x="152128" y="367906"/>
                  </a:cubicBezTo>
                  <a:cubicBezTo>
                    <a:pt x="264629" y="249324"/>
                    <a:pt x="267669" y="0"/>
                    <a:pt x="267669" y="0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1800"/>
            </a:p>
          </p:txBody>
        </p:sp>
        <p:sp>
          <p:nvSpPr>
            <p:cNvPr id="7" name="Freeform: Shape 20">
              <a:extLst>
                <a:ext uri="{FF2B5EF4-FFF2-40B4-BE49-F238E27FC236}">
                  <a16:creationId xmlns:a16="http://schemas.microsoft.com/office/drawing/2014/main" id="{545C1A83-AC17-468F-AE4B-DA6DFB967F3D}"/>
                </a:ext>
              </a:extLst>
            </p:cNvPr>
            <p:cNvSpPr/>
            <p:nvPr/>
          </p:nvSpPr>
          <p:spPr>
            <a:xfrm>
              <a:off x="9508727" y="2147107"/>
              <a:ext cx="2683273" cy="3642562"/>
            </a:xfrm>
            <a:custGeom>
              <a:avLst/>
              <a:gdLst>
                <a:gd name="connsiteX0" fmla="*/ 170270 w 2683273"/>
                <a:gd name="connsiteY0" fmla="*/ 0 h 3642562"/>
                <a:gd name="connsiteX1" fmla="*/ 2645266 w 2683273"/>
                <a:gd name="connsiteY1" fmla="*/ 0 h 3642562"/>
                <a:gd name="connsiteX2" fmla="*/ 2683273 w 2683273"/>
                <a:gd name="connsiteY2" fmla="*/ 0 h 3642562"/>
                <a:gd name="connsiteX3" fmla="*/ 2683273 w 2683273"/>
                <a:gd name="connsiteY3" fmla="*/ 3642562 h 3642562"/>
                <a:gd name="connsiteX4" fmla="*/ 155068 w 2683273"/>
                <a:gd name="connsiteY4" fmla="*/ 3642562 h 3642562"/>
                <a:gd name="connsiteX5" fmla="*/ 0 w 2683273"/>
                <a:gd name="connsiteY5" fmla="*/ 3469251 h 3642562"/>
                <a:gd name="connsiteX6" fmla="*/ 0 w 2683273"/>
                <a:gd name="connsiteY6" fmla="*/ 170270 h 3642562"/>
                <a:gd name="connsiteX7" fmla="*/ 170270 w 2683273"/>
                <a:gd name="connsiteY7" fmla="*/ 0 h 3642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83273" h="3642562">
                  <a:moveTo>
                    <a:pt x="170270" y="0"/>
                  </a:moveTo>
                  <a:lnTo>
                    <a:pt x="2645266" y="0"/>
                  </a:lnTo>
                  <a:lnTo>
                    <a:pt x="2683273" y="0"/>
                  </a:lnTo>
                  <a:lnTo>
                    <a:pt x="2683273" y="3642562"/>
                  </a:lnTo>
                  <a:lnTo>
                    <a:pt x="155068" y="3642562"/>
                  </a:lnTo>
                  <a:cubicBezTo>
                    <a:pt x="69933" y="3642562"/>
                    <a:pt x="0" y="3566549"/>
                    <a:pt x="0" y="3469251"/>
                  </a:cubicBezTo>
                  <a:lnTo>
                    <a:pt x="0" y="170270"/>
                  </a:lnTo>
                  <a:cubicBezTo>
                    <a:pt x="0" y="72973"/>
                    <a:pt x="82095" y="0"/>
                    <a:pt x="170270" y="0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1800" dirty="0"/>
            </a:p>
          </p:txBody>
        </p:sp>
        <p:sp>
          <p:nvSpPr>
            <p:cNvPr id="8" name="Freeform: Shape 21">
              <a:extLst>
                <a:ext uri="{FF2B5EF4-FFF2-40B4-BE49-F238E27FC236}">
                  <a16:creationId xmlns:a16="http://schemas.microsoft.com/office/drawing/2014/main" id="{A289152D-0B1B-41B3-8B5D-A2EA990B3C2D}"/>
                </a:ext>
              </a:extLst>
            </p:cNvPr>
            <p:cNvSpPr/>
            <p:nvPr/>
          </p:nvSpPr>
          <p:spPr>
            <a:xfrm>
              <a:off x="9536092" y="2177513"/>
              <a:ext cx="2655908" cy="3195604"/>
            </a:xfrm>
            <a:custGeom>
              <a:avLst/>
              <a:gdLst>
                <a:gd name="connsiteX0" fmla="*/ 170270 w 2655908"/>
                <a:gd name="connsiteY0" fmla="*/ 0 h 3195604"/>
                <a:gd name="connsiteX1" fmla="*/ 2623983 w 2655908"/>
                <a:gd name="connsiteY1" fmla="*/ 0 h 3195604"/>
                <a:gd name="connsiteX2" fmla="*/ 2655908 w 2655908"/>
                <a:gd name="connsiteY2" fmla="*/ 0 h 3195604"/>
                <a:gd name="connsiteX3" fmla="*/ 2655908 w 2655908"/>
                <a:gd name="connsiteY3" fmla="*/ 3195604 h 3195604"/>
                <a:gd name="connsiteX4" fmla="*/ 0 w 2655908"/>
                <a:gd name="connsiteY4" fmla="*/ 3195604 h 3195604"/>
                <a:gd name="connsiteX5" fmla="*/ 0 w 2655908"/>
                <a:gd name="connsiteY5" fmla="*/ 148987 h 3195604"/>
                <a:gd name="connsiteX6" fmla="*/ 170270 w 2655908"/>
                <a:gd name="connsiteY6" fmla="*/ 0 h 3195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5908" h="3195604">
                  <a:moveTo>
                    <a:pt x="170270" y="0"/>
                  </a:moveTo>
                  <a:lnTo>
                    <a:pt x="2623983" y="0"/>
                  </a:lnTo>
                  <a:lnTo>
                    <a:pt x="2655908" y="0"/>
                  </a:lnTo>
                  <a:lnTo>
                    <a:pt x="2655908" y="3195604"/>
                  </a:lnTo>
                  <a:lnTo>
                    <a:pt x="0" y="3195604"/>
                  </a:lnTo>
                  <a:lnTo>
                    <a:pt x="0" y="148987"/>
                  </a:lnTo>
                  <a:cubicBezTo>
                    <a:pt x="0" y="60811"/>
                    <a:pt x="82095" y="0"/>
                    <a:pt x="170270" y="0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1800" dirty="0"/>
            </a:p>
          </p:txBody>
        </p:sp>
        <p:sp>
          <p:nvSpPr>
            <p:cNvPr id="9" name="Freeform: Shape 22">
              <a:extLst>
                <a:ext uri="{FF2B5EF4-FFF2-40B4-BE49-F238E27FC236}">
                  <a16:creationId xmlns:a16="http://schemas.microsoft.com/office/drawing/2014/main" id="{2C2EC087-1C1F-423B-B7C3-9328FEE22E16}"/>
                </a:ext>
              </a:extLst>
            </p:cNvPr>
            <p:cNvSpPr/>
            <p:nvPr/>
          </p:nvSpPr>
          <p:spPr>
            <a:xfrm>
              <a:off x="11384738" y="6312642"/>
              <a:ext cx="807262" cy="48649"/>
            </a:xfrm>
            <a:custGeom>
              <a:avLst/>
              <a:gdLst>
                <a:gd name="connsiteX0" fmla="*/ 0 w 807262"/>
                <a:gd name="connsiteY0" fmla="*/ 0 h 48649"/>
                <a:gd name="connsiteX1" fmla="*/ 807262 w 807262"/>
                <a:gd name="connsiteY1" fmla="*/ 0 h 48649"/>
                <a:gd name="connsiteX2" fmla="*/ 807262 w 807262"/>
                <a:gd name="connsiteY2" fmla="*/ 48649 h 48649"/>
                <a:gd name="connsiteX3" fmla="*/ 799662 w 807262"/>
                <a:gd name="connsiteY3" fmla="*/ 48649 h 48649"/>
                <a:gd name="connsiteX4" fmla="*/ 772297 w 807262"/>
                <a:gd name="connsiteY4" fmla="*/ 48649 h 48649"/>
                <a:gd name="connsiteX5" fmla="*/ 173311 w 807262"/>
                <a:gd name="connsiteY5" fmla="*/ 48649 h 48649"/>
                <a:gd name="connsiteX6" fmla="*/ 0 w 807262"/>
                <a:gd name="connsiteY6" fmla="*/ 6081 h 48649"/>
                <a:gd name="connsiteX7" fmla="*/ 0 w 807262"/>
                <a:gd name="connsiteY7" fmla="*/ 3041 h 48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7262" h="48649">
                  <a:moveTo>
                    <a:pt x="0" y="0"/>
                  </a:moveTo>
                  <a:lnTo>
                    <a:pt x="807262" y="0"/>
                  </a:lnTo>
                  <a:lnTo>
                    <a:pt x="807262" y="48649"/>
                  </a:lnTo>
                  <a:lnTo>
                    <a:pt x="799662" y="48649"/>
                  </a:lnTo>
                  <a:cubicBezTo>
                    <a:pt x="793581" y="48649"/>
                    <a:pt x="784459" y="48649"/>
                    <a:pt x="772297" y="48649"/>
                  </a:cubicBezTo>
                  <a:cubicBezTo>
                    <a:pt x="678039" y="48649"/>
                    <a:pt x="416553" y="48649"/>
                    <a:pt x="173311" y="48649"/>
                  </a:cubicBezTo>
                  <a:cubicBezTo>
                    <a:pt x="48648" y="48649"/>
                    <a:pt x="0" y="36487"/>
                    <a:pt x="0" y="6081"/>
                  </a:cubicBezTo>
                  <a:cubicBezTo>
                    <a:pt x="0" y="6081"/>
                    <a:pt x="0" y="6081"/>
                    <a:pt x="0" y="304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1800" dirty="0"/>
            </a:p>
          </p:txBody>
        </p:sp>
        <p:sp>
          <p:nvSpPr>
            <p:cNvPr id="10" name="Freeform: Shape 23">
              <a:extLst>
                <a:ext uri="{FF2B5EF4-FFF2-40B4-BE49-F238E27FC236}">
                  <a16:creationId xmlns:a16="http://schemas.microsoft.com/office/drawing/2014/main" id="{5EFD32FA-FF28-4B64-B659-0CDE91DF5E2F}"/>
                </a:ext>
              </a:extLst>
            </p:cNvPr>
            <p:cNvSpPr/>
            <p:nvPr/>
          </p:nvSpPr>
          <p:spPr>
            <a:xfrm>
              <a:off x="9536092" y="5379197"/>
              <a:ext cx="2655908" cy="395270"/>
            </a:xfrm>
            <a:custGeom>
              <a:avLst/>
              <a:gdLst>
                <a:gd name="connsiteX0" fmla="*/ 0 w 2655908"/>
                <a:gd name="connsiteY0" fmla="*/ 0 h 395270"/>
                <a:gd name="connsiteX1" fmla="*/ 2655908 w 2655908"/>
                <a:gd name="connsiteY1" fmla="*/ 0 h 395270"/>
                <a:gd name="connsiteX2" fmla="*/ 2655908 w 2655908"/>
                <a:gd name="connsiteY2" fmla="*/ 395270 h 395270"/>
                <a:gd name="connsiteX3" fmla="*/ 2623983 w 2655908"/>
                <a:gd name="connsiteY3" fmla="*/ 395270 h 395270"/>
                <a:gd name="connsiteX4" fmla="*/ 170270 w 2655908"/>
                <a:gd name="connsiteY4" fmla="*/ 395270 h 395270"/>
                <a:gd name="connsiteX5" fmla="*/ 0 w 2655908"/>
                <a:gd name="connsiteY5" fmla="*/ 246284 h 395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55908" h="395270">
                  <a:moveTo>
                    <a:pt x="0" y="0"/>
                  </a:moveTo>
                  <a:lnTo>
                    <a:pt x="2655908" y="0"/>
                  </a:lnTo>
                  <a:lnTo>
                    <a:pt x="2655908" y="395270"/>
                  </a:lnTo>
                  <a:lnTo>
                    <a:pt x="2623983" y="395270"/>
                  </a:lnTo>
                  <a:lnTo>
                    <a:pt x="170270" y="395270"/>
                  </a:lnTo>
                  <a:cubicBezTo>
                    <a:pt x="82095" y="395270"/>
                    <a:pt x="0" y="322297"/>
                    <a:pt x="0" y="24628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1800"/>
            </a:p>
          </p:txBody>
        </p:sp>
        <p:sp>
          <p:nvSpPr>
            <p:cNvPr id="11" name="Freeform: Shape 24">
              <a:extLst>
                <a:ext uri="{FF2B5EF4-FFF2-40B4-BE49-F238E27FC236}">
                  <a16:creationId xmlns:a16="http://schemas.microsoft.com/office/drawing/2014/main" id="{515A1297-EF30-45B9-9DE5-18A260D5157A}"/>
                </a:ext>
              </a:extLst>
            </p:cNvPr>
            <p:cNvSpPr/>
            <p:nvPr/>
          </p:nvSpPr>
          <p:spPr>
            <a:xfrm>
              <a:off x="9711093" y="2388830"/>
              <a:ext cx="2480907" cy="2797293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12" name="Freeform: Shape 25">
              <a:extLst>
                <a:ext uri="{FF2B5EF4-FFF2-40B4-BE49-F238E27FC236}">
                  <a16:creationId xmlns:a16="http://schemas.microsoft.com/office/drawing/2014/main" id="{43D18554-414E-428A-96C7-DB0E0A485A83}"/>
                </a:ext>
              </a:extLst>
            </p:cNvPr>
            <p:cNvSpPr/>
            <p:nvPr/>
          </p:nvSpPr>
          <p:spPr>
            <a:xfrm>
              <a:off x="10791316" y="2439610"/>
              <a:ext cx="1400684" cy="2776919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sp>
        <p:nvSpPr>
          <p:cNvPr id="13" name="Rectangle 8">
            <a:extLst>
              <a:ext uri="{FF2B5EF4-FFF2-40B4-BE49-F238E27FC236}">
                <a16:creationId xmlns:a16="http://schemas.microsoft.com/office/drawing/2014/main" id="{C8BA79F9-3F7C-4F5C-A102-8E1F1DDE3CCE}"/>
              </a:ext>
            </a:extLst>
          </p:cNvPr>
          <p:cNvSpPr/>
          <p:nvPr userDrawn="1"/>
        </p:nvSpPr>
        <p:spPr>
          <a:xfrm>
            <a:off x="0" y="4"/>
            <a:ext cx="12192000" cy="188044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>
              <a:solidFill>
                <a:schemeClr val="bg1"/>
              </a:solidFill>
            </a:endParaRPr>
          </a:p>
        </p:txBody>
      </p:sp>
      <p:sp>
        <p:nvSpPr>
          <p:cNvPr id="14" name="Oval 11">
            <a:extLst>
              <a:ext uri="{FF2B5EF4-FFF2-40B4-BE49-F238E27FC236}">
                <a16:creationId xmlns:a16="http://schemas.microsoft.com/office/drawing/2014/main" id="{2E1D2D1D-C89C-478D-AD14-D9E4448AE8D3}"/>
              </a:ext>
            </a:extLst>
          </p:cNvPr>
          <p:cNvSpPr/>
          <p:nvPr userDrawn="1"/>
        </p:nvSpPr>
        <p:spPr>
          <a:xfrm>
            <a:off x="5466000" y="1233032"/>
            <a:ext cx="1260000" cy="1260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16" name="Oval 9">
            <a:extLst>
              <a:ext uri="{FF2B5EF4-FFF2-40B4-BE49-F238E27FC236}">
                <a16:creationId xmlns:a16="http://schemas.microsoft.com/office/drawing/2014/main" id="{49B3822B-A0CB-43FA-9ADD-1D158C662449}"/>
              </a:ext>
            </a:extLst>
          </p:cNvPr>
          <p:cNvSpPr/>
          <p:nvPr userDrawn="1"/>
        </p:nvSpPr>
        <p:spPr>
          <a:xfrm>
            <a:off x="6714751" y="3743880"/>
            <a:ext cx="2520000" cy="2520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8BBD2C72-AEAF-43FB-87E8-0D0E9A172E7A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9817729" y="2480031"/>
            <a:ext cx="2363393" cy="27368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D9D47E99-E6AC-4A67-BF0B-2D7C9FA649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27" name="Graphic 2">
            <a:extLst>
              <a:ext uri="{FF2B5EF4-FFF2-40B4-BE49-F238E27FC236}">
                <a16:creationId xmlns:a16="http://schemas.microsoft.com/office/drawing/2014/main" id="{19FDD70F-89CB-4292-A704-3A7A935BF054}"/>
              </a:ext>
            </a:extLst>
          </p:cNvPr>
          <p:cNvSpPr/>
          <p:nvPr/>
        </p:nvSpPr>
        <p:spPr>
          <a:xfrm>
            <a:off x="7226370" y="2493032"/>
            <a:ext cx="1572693" cy="3147176"/>
          </a:xfrm>
          <a:custGeom>
            <a:avLst/>
            <a:gdLst>
              <a:gd name="connsiteX0" fmla="*/ 2940654 w 3387838"/>
              <a:gd name="connsiteY0" fmla="*/ 6858876 h 6858875"/>
              <a:gd name="connsiteX1" fmla="*/ 447185 w 3387838"/>
              <a:gd name="connsiteY1" fmla="*/ 6858876 h 6858875"/>
              <a:gd name="connsiteX2" fmla="*/ 0 w 3387838"/>
              <a:gd name="connsiteY2" fmla="*/ 6411691 h 6858875"/>
              <a:gd name="connsiteX3" fmla="*/ 0 w 3387838"/>
              <a:gd name="connsiteY3" fmla="*/ 447185 h 6858875"/>
              <a:gd name="connsiteX4" fmla="*/ 447185 w 3387838"/>
              <a:gd name="connsiteY4" fmla="*/ 0 h 6858875"/>
              <a:gd name="connsiteX5" fmla="*/ 2940654 w 3387838"/>
              <a:gd name="connsiteY5" fmla="*/ 0 h 6858875"/>
              <a:gd name="connsiteX6" fmla="*/ 3387838 w 3387838"/>
              <a:gd name="connsiteY6" fmla="*/ 447185 h 6858875"/>
              <a:gd name="connsiteX7" fmla="*/ 3387838 w 3387838"/>
              <a:gd name="connsiteY7" fmla="*/ 6411759 h 6858875"/>
              <a:gd name="connsiteX8" fmla="*/ 2940654 w 3387838"/>
              <a:gd name="connsiteY8" fmla="*/ 6858876 h 6858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87838" h="6858875">
                <a:moveTo>
                  <a:pt x="2940654" y="6858876"/>
                </a:moveTo>
                <a:lnTo>
                  <a:pt x="447185" y="6858876"/>
                </a:lnTo>
                <a:cubicBezTo>
                  <a:pt x="200216" y="6858876"/>
                  <a:pt x="0" y="6658660"/>
                  <a:pt x="0" y="6411691"/>
                </a:cubicBezTo>
                <a:lnTo>
                  <a:pt x="0" y="447185"/>
                </a:lnTo>
                <a:cubicBezTo>
                  <a:pt x="67" y="200216"/>
                  <a:pt x="200216" y="0"/>
                  <a:pt x="447185" y="0"/>
                </a:cubicBezTo>
                <a:lnTo>
                  <a:pt x="2940654" y="0"/>
                </a:lnTo>
                <a:cubicBezTo>
                  <a:pt x="3187622" y="0"/>
                  <a:pt x="3387838" y="200216"/>
                  <a:pt x="3387838" y="447185"/>
                </a:cubicBezTo>
                <a:lnTo>
                  <a:pt x="3387838" y="6411759"/>
                </a:lnTo>
                <a:cubicBezTo>
                  <a:pt x="3387771" y="6658660"/>
                  <a:pt x="3187555" y="6858876"/>
                  <a:pt x="2940654" y="6858876"/>
                </a:cubicBezTo>
                <a:close/>
              </a:path>
            </a:pathLst>
          </a:custGeom>
          <a:solidFill>
            <a:srgbClr val="D0D4D8"/>
          </a:solidFill>
          <a:ln w="67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28" name="Graphic 2">
            <a:extLst>
              <a:ext uri="{FF2B5EF4-FFF2-40B4-BE49-F238E27FC236}">
                <a16:creationId xmlns:a16="http://schemas.microsoft.com/office/drawing/2014/main" id="{294FF3F5-FF63-4B05-914D-FF6F3740F129}"/>
              </a:ext>
            </a:extLst>
          </p:cNvPr>
          <p:cNvSpPr/>
          <p:nvPr/>
        </p:nvSpPr>
        <p:spPr>
          <a:xfrm>
            <a:off x="7247441" y="2509539"/>
            <a:ext cx="1530551" cy="3114132"/>
          </a:xfrm>
          <a:custGeom>
            <a:avLst/>
            <a:gdLst>
              <a:gd name="connsiteX0" fmla="*/ 2858870 w 3305986"/>
              <a:gd name="connsiteY0" fmla="*/ 6786860 h 6786860"/>
              <a:gd name="connsiteX1" fmla="*/ 447185 w 3305986"/>
              <a:gd name="connsiteY1" fmla="*/ 6786860 h 6786860"/>
              <a:gd name="connsiteX2" fmla="*/ 0 w 3305986"/>
              <a:gd name="connsiteY2" fmla="*/ 6339676 h 6786860"/>
              <a:gd name="connsiteX3" fmla="*/ 0 w 3305986"/>
              <a:gd name="connsiteY3" fmla="*/ 447185 h 6786860"/>
              <a:gd name="connsiteX4" fmla="*/ 447185 w 3305986"/>
              <a:gd name="connsiteY4" fmla="*/ 0 h 6786860"/>
              <a:gd name="connsiteX5" fmla="*/ 2858802 w 3305986"/>
              <a:gd name="connsiteY5" fmla="*/ 0 h 6786860"/>
              <a:gd name="connsiteX6" fmla="*/ 3305987 w 3305986"/>
              <a:gd name="connsiteY6" fmla="*/ 447185 h 6786860"/>
              <a:gd name="connsiteX7" fmla="*/ 3305987 w 3305986"/>
              <a:gd name="connsiteY7" fmla="*/ 6339743 h 6786860"/>
              <a:gd name="connsiteX8" fmla="*/ 2858870 w 3305986"/>
              <a:gd name="connsiteY8" fmla="*/ 6786860 h 678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05986" h="6786860">
                <a:moveTo>
                  <a:pt x="2858870" y="6786860"/>
                </a:moveTo>
                <a:lnTo>
                  <a:pt x="447185" y="6786860"/>
                </a:lnTo>
                <a:cubicBezTo>
                  <a:pt x="200216" y="6786860"/>
                  <a:pt x="0" y="6586644"/>
                  <a:pt x="0" y="6339676"/>
                </a:cubicBezTo>
                <a:lnTo>
                  <a:pt x="0" y="447185"/>
                </a:lnTo>
                <a:cubicBezTo>
                  <a:pt x="0" y="200216"/>
                  <a:pt x="200216" y="0"/>
                  <a:pt x="447185" y="0"/>
                </a:cubicBezTo>
                <a:lnTo>
                  <a:pt x="2858802" y="0"/>
                </a:lnTo>
                <a:cubicBezTo>
                  <a:pt x="3105771" y="0"/>
                  <a:pt x="3305987" y="200216"/>
                  <a:pt x="3305987" y="447185"/>
                </a:cubicBezTo>
                <a:lnTo>
                  <a:pt x="3305987" y="6339743"/>
                </a:lnTo>
                <a:cubicBezTo>
                  <a:pt x="3305987" y="6586644"/>
                  <a:pt x="3105771" y="6786860"/>
                  <a:pt x="2858870" y="6786860"/>
                </a:cubicBezTo>
                <a:close/>
              </a:path>
            </a:pathLst>
          </a:custGeom>
          <a:solidFill>
            <a:srgbClr val="070808"/>
          </a:solidFill>
          <a:ln w="67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30" name="Graphic 2">
            <a:extLst>
              <a:ext uri="{FF2B5EF4-FFF2-40B4-BE49-F238E27FC236}">
                <a16:creationId xmlns:a16="http://schemas.microsoft.com/office/drawing/2014/main" id="{CD4A2E91-9F03-4B96-A59B-44645C9C39AA}"/>
              </a:ext>
            </a:extLst>
          </p:cNvPr>
          <p:cNvSpPr/>
          <p:nvPr/>
        </p:nvSpPr>
        <p:spPr>
          <a:xfrm>
            <a:off x="7224207" y="2940722"/>
            <a:ext cx="11004" cy="107231"/>
          </a:xfrm>
          <a:custGeom>
            <a:avLst/>
            <a:gdLst>
              <a:gd name="connsiteX0" fmla="*/ 15158 w 23982"/>
              <a:gd name="connsiteY0" fmla="*/ 233697 h 233697"/>
              <a:gd name="connsiteX1" fmla="*/ 0 w 23982"/>
              <a:gd name="connsiteY1" fmla="*/ 233697 h 233697"/>
              <a:gd name="connsiteX2" fmla="*/ 0 w 23982"/>
              <a:gd name="connsiteY2" fmla="*/ 0 h 233697"/>
              <a:gd name="connsiteX3" fmla="*/ 15158 w 23982"/>
              <a:gd name="connsiteY3" fmla="*/ 0 h 233697"/>
              <a:gd name="connsiteX4" fmla="*/ 23983 w 23982"/>
              <a:gd name="connsiteY4" fmla="*/ 8825 h 233697"/>
              <a:gd name="connsiteX5" fmla="*/ 23983 w 23982"/>
              <a:gd name="connsiteY5" fmla="*/ 224805 h 233697"/>
              <a:gd name="connsiteX6" fmla="*/ 15158 w 23982"/>
              <a:gd name="connsiteY6" fmla="*/ 233697 h 233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982" h="233697">
                <a:moveTo>
                  <a:pt x="15158" y="233697"/>
                </a:moveTo>
                <a:lnTo>
                  <a:pt x="0" y="233697"/>
                </a:lnTo>
                <a:lnTo>
                  <a:pt x="0" y="0"/>
                </a:lnTo>
                <a:lnTo>
                  <a:pt x="15158" y="0"/>
                </a:lnTo>
                <a:cubicBezTo>
                  <a:pt x="20008" y="0"/>
                  <a:pt x="23983" y="3975"/>
                  <a:pt x="23983" y="8825"/>
                </a:cubicBezTo>
                <a:lnTo>
                  <a:pt x="23983" y="224805"/>
                </a:lnTo>
                <a:cubicBezTo>
                  <a:pt x="23983" y="229723"/>
                  <a:pt x="20008" y="233697"/>
                  <a:pt x="15158" y="233697"/>
                </a:cubicBezTo>
                <a:close/>
              </a:path>
            </a:pathLst>
          </a:custGeom>
          <a:solidFill>
            <a:srgbClr val="364551"/>
          </a:solidFill>
          <a:ln w="67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31" name="Graphic 2">
            <a:extLst>
              <a:ext uri="{FF2B5EF4-FFF2-40B4-BE49-F238E27FC236}">
                <a16:creationId xmlns:a16="http://schemas.microsoft.com/office/drawing/2014/main" id="{9DD60EC9-D690-4534-A2F5-E57F78C49B30}"/>
              </a:ext>
            </a:extLst>
          </p:cNvPr>
          <p:cNvSpPr/>
          <p:nvPr/>
        </p:nvSpPr>
        <p:spPr>
          <a:xfrm>
            <a:off x="7224205" y="3170795"/>
            <a:ext cx="15363" cy="213875"/>
          </a:xfrm>
          <a:custGeom>
            <a:avLst/>
            <a:gdLst>
              <a:gd name="connsiteX0" fmla="*/ 24656 w 33481"/>
              <a:gd name="connsiteY0" fmla="*/ 466115 h 466115"/>
              <a:gd name="connsiteX1" fmla="*/ 10105 w 33481"/>
              <a:gd name="connsiteY1" fmla="*/ 466115 h 466115"/>
              <a:gd name="connsiteX2" fmla="*/ 0 w 33481"/>
              <a:gd name="connsiteY2" fmla="*/ 456010 h 466115"/>
              <a:gd name="connsiteX3" fmla="*/ 0 w 33481"/>
              <a:gd name="connsiteY3" fmla="*/ 10105 h 466115"/>
              <a:gd name="connsiteX4" fmla="*/ 10105 w 33481"/>
              <a:gd name="connsiteY4" fmla="*/ 0 h 466115"/>
              <a:gd name="connsiteX5" fmla="*/ 24656 w 33481"/>
              <a:gd name="connsiteY5" fmla="*/ 0 h 466115"/>
              <a:gd name="connsiteX6" fmla="*/ 33482 w 33481"/>
              <a:gd name="connsiteY6" fmla="*/ 8825 h 466115"/>
              <a:gd name="connsiteX7" fmla="*/ 33482 w 33481"/>
              <a:gd name="connsiteY7" fmla="*/ 457223 h 466115"/>
              <a:gd name="connsiteX8" fmla="*/ 24656 w 33481"/>
              <a:gd name="connsiteY8" fmla="*/ 466115 h 466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481" h="466115">
                <a:moveTo>
                  <a:pt x="24656" y="466115"/>
                </a:moveTo>
                <a:lnTo>
                  <a:pt x="10105" y="466115"/>
                </a:lnTo>
                <a:cubicBezTo>
                  <a:pt x="4514" y="466115"/>
                  <a:pt x="0" y="461601"/>
                  <a:pt x="0" y="456010"/>
                </a:cubicBezTo>
                <a:lnTo>
                  <a:pt x="0" y="10105"/>
                </a:lnTo>
                <a:cubicBezTo>
                  <a:pt x="0" y="4514"/>
                  <a:pt x="4514" y="0"/>
                  <a:pt x="10105" y="0"/>
                </a:cubicBezTo>
                <a:lnTo>
                  <a:pt x="24656" y="0"/>
                </a:lnTo>
                <a:cubicBezTo>
                  <a:pt x="29507" y="0"/>
                  <a:pt x="33482" y="3975"/>
                  <a:pt x="33482" y="8825"/>
                </a:cubicBezTo>
                <a:lnTo>
                  <a:pt x="33482" y="457223"/>
                </a:lnTo>
                <a:cubicBezTo>
                  <a:pt x="33482" y="462140"/>
                  <a:pt x="29507" y="466115"/>
                  <a:pt x="24656" y="466115"/>
                </a:cubicBezTo>
                <a:close/>
              </a:path>
            </a:pathLst>
          </a:custGeom>
          <a:solidFill>
            <a:srgbClr val="364551"/>
          </a:solidFill>
          <a:ln w="67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32" name="Graphic 2">
            <a:extLst>
              <a:ext uri="{FF2B5EF4-FFF2-40B4-BE49-F238E27FC236}">
                <a16:creationId xmlns:a16="http://schemas.microsoft.com/office/drawing/2014/main" id="{5B44AAE8-8734-4A88-8FD0-23470CABC361}"/>
              </a:ext>
            </a:extLst>
          </p:cNvPr>
          <p:cNvSpPr/>
          <p:nvPr/>
        </p:nvSpPr>
        <p:spPr>
          <a:xfrm>
            <a:off x="7224238" y="3186158"/>
            <a:ext cx="8687" cy="179100"/>
          </a:xfrm>
          <a:custGeom>
            <a:avLst/>
            <a:gdLst>
              <a:gd name="connsiteX0" fmla="*/ 17650 w 18930"/>
              <a:gd name="connsiteY0" fmla="*/ 390327 h 390326"/>
              <a:gd name="connsiteX1" fmla="*/ 1886 w 18930"/>
              <a:gd name="connsiteY1" fmla="*/ 390327 h 390326"/>
              <a:gd name="connsiteX2" fmla="*/ 0 w 18930"/>
              <a:gd name="connsiteY2" fmla="*/ 388440 h 390326"/>
              <a:gd name="connsiteX3" fmla="*/ 0 w 18930"/>
              <a:gd name="connsiteY3" fmla="*/ 1886 h 390326"/>
              <a:gd name="connsiteX4" fmla="*/ 1886 w 18930"/>
              <a:gd name="connsiteY4" fmla="*/ 0 h 390326"/>
              <a:gd name="connsiteX5" fmla="*/ 17650 w 18930"/>
              <a:gd name="connsiteY5" fmla="*/ 0 h 390326"/>
              <a:gd name="connsiteX6" fmla="*/ 18930 w 18930"/>
              <a:gd name="connsiteY6" fmla="*/ 1280 h 390326"/>
              <a:gd name="connsiteX7" fmla="*/ 18930 w 18930"/>
              <a:gd name="connsiteY7" fmla="*/ 389047 h 390326"/>
              <a:gd name="connsiteX8" fmla="*/ 17650 w 18930"/>
              <a:gd name="connsiteY8" fmla="*/ 390327 h 39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930" h="390326">
                <a:moveTo>
                  <a:pt x="17650" y="390327"/>
                </a:moveTo>
                <a:lnTo>
                  <a:pt x="1886" y="390327"/>
                </a:lnTo>
                <a:cubicBezTo>
                  <a:pt x="808" y="390327"/>
                  <a:pt x="0" y="389451"/>
                  <a:pt x="0" y="388440"/>
                </a:cubicBezTo>
                <a:lnTo>
                  <a:pt x="0" y="1886"/>
                </a:lnTo>
                <a:cubicBezTo>
                  <a:pt x="0" y="808"/>
                  <a:pt x="876" y="0"/>
                  <a:pt x="1886" y="0"/>
                </a:cubicBezTo>
                <a:lnTo>
                  <a:pt x="17650" y="0"/>
                </a:lnTo>
                <a:cubicBezTo>
                  <a:pt x="18324" y="0"/>
                  <a:pt x="18930" y="539"/>
                  <a:pt x="18930" y="1280"/>
                </a:cubicBezTo>
                <a:lnTo>
                  <a:pt x="18930" y="389047"/>
                </a:lnTo>
                <a:cubicBezTo>
                  <a:pt x="18930" y="389788"/>
                  <a:pt x="18324" y="390327"/>
                  <a:pt x="17650" y="390327"/>
                </a:cubicBezTo>
                <a:close/>
              </a:path>
            </a:pathLst>
          </a:custGeom>
          <a:solidFill>
            <a:srgbClr val="FAFDFF"/>
          </a:solidFill>
          <a:ln w="67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33" name="Graphic 2">
            <a:extLst>
              <a:ext uri="{FF2B5EF4-FFF2-40B4-BE49-F238E27FC236}">
                <a16:creationId xmlns:a16="http://schemas.microsoft.com/office/drawing/2014/main" id="{F79AA3A9-8851-4CB0-A2B7-BC91ABC29F8E}"/>
              </a:ext>
            </a:extLst>
          </p:cNvPr>
          <p:cNvSpPr/>
          <p:nvPr/>
        </p:nvSpPr>
        <p:spPr>
          <a:xfrm>
            <a:off x="7223928" y="3456384"/>
            <a:ext cx="15363" cy="213875"/>
          </a:xfrm>
          <a:custGeom>
            <a:avLst/>
            <a:gdLst>
              <a:gd name="connsiteX0" fmla="*/ 24656 w 33481"/>
              <a:gd name="connsiteY0" fmla="*/ 466115 h 466114"/>
              <a:gd name="connsiteX1" fmla="*/ 10105 w 33481"/>
              <a:gd name="connsiteY1" fmla="*/ 466115 h 466114"/>
              <a:gd name="connsiteX2" fmla="*/ 0 w 33481"/>
              <a:gd name="connsiteY2" fmla="*/ 456010 h 466114"/>
              <a:gd name="connsiteX3" fmla="*/ 0 w 33481"/>
              <a:gd name="connsiteY3" fmla="*/ 10105 h 466114"/>
              <a:gd name="connsiteX4" fmla="*/ 10105 w 33481"/>
              <a:gd name="connsiteY4" fmla="*/ 0 h 466114"/>
              <a:gd name="connsiteX5" fmla="*/ 24656 w 33481"/>
              <a:gd name="connsiteY5" fmla="*/ 0 h 466114"/>
              <a:gd name="connsiteX6" fmla="*/ 33482 w 33481"/>
              <a:gd name="connsiteY6" fmla="*/ 8825 h 466114"/>
              <a:gd name="connsiteX7" fmla="*/ 33482 w 33481"/>
              <a:gd name="connsiteY7" fmla="*/ 457222 h 466114"/>
              <a:gd name="connsiteX8" fmla="*/ 24656 w 33481"/>
              <a:gd name="connsiteY8" fmla="*/ 466115 h 466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481" h="466114">
                <a:moveTo>
                  <a:pt x="24656" y="466115"/>
                </a:moveTo>
                <a:lnTo>
                  <a:pt x="10105" y="466115"/>
                </a:lnTo>
                <a:cubicBezTo>
                  <a:pt x="4514" y="466115"/>
                  <a:pt x="0" y="461601"/>
                  <a:pt x="0" y="456010"/>
                </a:cubicBezTo>
                <a:lnTo>
                  <a:pt x="0" y="10105"/>
                </a:lnTo>
                <a:cubicBezTo>
                  <a:pt x="0" y="4514"/>
                  <a:pt x="4514" y="0"/>
                  <a:pt x="10105" y="0"/>
                </a:cubicBezTo>
                <a:lnTo>
                  <a:pt x="24656" y="0"/>
                </a:lnTo>
                <a:cubicBezTo>
                  <a:pt x="29507" y="0"/>
                  <a:pt x="33482" y="3975"/>
                  <a:pt x="33482" y="8825"/>
                </a:cubicBezTo>
                <a:lnTo>
                  <a:pt x="33482" y="457222"/>
                </a:lnTo>
                <a:cubicBezTo>
                  <a:pt x="33482" y="462208"/>
                  <a:pt x="29507" y="466115"/>
                  <a:pt x="24656" y="466115"/>
                </a:cubicBezTo>
                <a:close/>
              </a:path>
            </a:pathLst>
          </a:custGeom>
          <a:solidFill>
            <a:srgbClr val="364551"/>
          </a:solidFill>
          <a:ln w="67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34" name="Graphic 2">
            <a:extLst>
              <a:ext uri="{FF2B5EF4-FFF2-40B4-BE49-F238E27FC236}">
                <a16:creationId xmlns:a16="http://schemas.microsoft.com/office/drawing/2014/main" id="{9CA9A625-B7A5-4372-968D-348F7B5F4648}"/>
              </a:ext>
            </a:extLst>
          </p:cNvPr>
          <p:cNvSpPr/>
          <p:nvPr/>
        </p:nvSpPr>
        <p:spPr>
          <a:xfrm>
            <a:off x="7223929" y="3471747"/>
            <a:ext cx="8687" cy="179100"/>
          </a:xfrm>
          <a:custGeom>
            <a:avLst/>
            <a:gdLst>
              <a:gd name="connsiteX0" fmla="*/ 17718 w 18930"/>
              <a:gd name="connsiteY0" fmla="*/ 390327 h 390326"/>
              <a:gd name="connsiteX1" fmla="*/ 1886 w 18930"/>
              <a:gd name="connsiteY1" fmla="*/ 390327 h 390326"/>
              <a:gd name="connsiteX2" fmla="*/ 0 w 18930"/>
              <a:gd name="connsiteY2" fmla="*/ 388440 h 390326"/>
              <a:gd name="connsiteX3" fmla="*/ 0 w 18930"/>
              <a:gd name="connsiteY3" fmla="*/ 1886 h 390326"/>
              <a:gd name="connsiteX4" fmla="*/ 1886 w 18930"/>
              <a:gd name="connsiteY4" fmla="*/ 0 h 390326"/>
              <a:gd name="connsiteX5" fmla="*/ 17650 w 18930"/>
              <a:gd name="connsiteY5" fmla="*/ 0 h 390326"/>
              <a:gd name="connsiteX6" fmla="*/ 18930 w 18930"/>
              <a:gd name="connsiteY6" fmla="*/ 1280 h 390326"/>
              <a:gd name="connsiteX7" fmla="*/ 18930 w 18930"/>
              <a:gd name="connsiteY7" fmla="*/ 389047 h 390326"/>
              <a:gd name="connsiteX8" fmla="*/ 17718 w 18930"/>
              <a:gd name="connsiteY8" fmla="*/ 390327 h 39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930" h="390326">
                <a:moveTo>
                  <a:pt x="17718" y="390327"/>
                </a:moveTo>
                <a:lnTo>
                  <a:pt x="1886" y="390327"/>
                </a:lnTo>
                <a:cubicBezTo>
                  <a:pt x="808" y="390327"/>
                  <a:pt x="0" y="389451"/>
                  <a:pt x="0" y="388440"/>
                </a:cubicBezTo>
                <a:lnTo>
                  <a:pt x="0" y="1886"/>
                </a:lnTo>
                <a:cubicBezTo>
                  <a:pt x="0" y="808"/>
                  <a:pt x="876" y="0"/>
                  <a:pt x="1886" y="0"/>
                </a:cubicBezTo>
                <a:lnTo>
                  <a:pt x="17650" y="0"/>
                </a:lnTo>
                <a:cubicBezTo>
                  <a:pt x="18324" y="0"/>
                  <a:pt x="18930" y="539"/>
                  <a:pt x="18930" y="1280"/>
                </a:cubicBezTo>
                <a:lnTo>
                  <a:pt x="18930" y="389047"/>
                </a:lnTo>
                <a:cubicBezTo>
                  <a:pt x="18930" y="389788"/>
                  <a:pt x="18391" y="390327"/>
                  <a:pt x="17718" y="390327"/>
                </a:cubicBezTo>
                <a:close/>
              </a:path>
            </a:pathLst>
          </a:custGeom>
          <a:solidFill>
            <a:srgbClr val="FAFDFF"/>
          </a:solidFill>
          <a:ln w="67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35" name="Graphic 2">
            <a:extLst>
              <a:ext uri="{FF2B5EF4-FFF2-40B4-BE49-F238E27FC236}">
                <a16:creationId xmlns:a16="http://schemas.microsoft.com/office/drawing/2014/main" id="{87A09811-A944-4FA6-893C-A3F961D72EFA}"/>
              </a:ext>
            </a:extLst>
          </p:cNvPr>
          <p:cNvSpPr/>
          <p:nvPr/>
        </p:nvSpPr>
        <p:spPr>
          <a:xfrm>
            <a:off x="8785445" y="3242541"/>
            <a:ext cx="15363" cy="346145"/>
          </a:xfrm>
          <a:custGeom>
            <a:avLst/>
            <a:gdLst>
              <a:gd name="connsiteX0" fmla="*/ 24656 w 33481"/>
              <a:gd name="connsiteY0" fmla="*/ 754380 h 754380"/>
              <a:gd name="connsiteX1" fmla="*/ 10105 w 33481"/>
              <a:gd name="connsiteY1" fmla="*/ 754380 h 754380"/>
              <a:gd name="connsiteX2" fmla="*/ 0 w 33481"/>
              <a:gd name="connsiteY2" fmla="*/ 744275 h 754380"/>
              <a:gd name="connsiteX3" fmla="*/ 0 w 33481"/>
              <a:gd name="connsiteY3" fmla="*/ 10105 h 754380"/>
              <a:gd name="connsiteX4" fmla="*/ 10105 w 33481"/>
              <a:gd name="connsiteY4" fmla="*/ 0 h 754380"/>
              <a:gd name="connsiteX5" fmla="*/ 24656 w 33481"/>
              <a:gd name="connsiteY5" fmla="*/ 0 h 754380"/>
              <a:gd name="connsiteX6" fmla="*/ 33482 w 33481"/>
              <a:gd name="connsiteY6" fmla="*/ 8825 h 754380"/>
              <a:gd name="connsiteX7" fmla="*/ 33482 w 33481"/>
              <a:gd name="connsiteY7" fmla="*/ 745555 h 754380"/>
              <a:gd name="connsiteX8" fmla="*/ 24656 w 33481"/>
              <a:gd name="connsiteY8" fmla="*/ 754380 h 75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481" h="754380">
                <a:moveTo>
                  <a:pt x="24656" y="754380"/>
                </a:moveTo>
                <a:lnTo>
                  <a:pt x="10105" y="754380"/>
                </a:lnTo>
                <a:cubicBezTo>
                  <a:pt x="4514" y="754380"/>
                  <a:pt x="0" y="749866"/>
                  <a:pt x="0" y="744275"/>
                </a:cubicBezTo>
                <a:lnTo>
                  <a:pt x="0" y="10105"/>
                </a:lnTo>
                <a:cubicBezTo>
                  <a:pt x="0" y="4514"/>
                  <a:pt x="4514" y="0"/>
                  <a:pt x="10105" y="0"/>
                </a:cubicBezTo>
                <a:lnTo>
                  <a:pt x="24656" y="0"/>
                </a:lnTo>
                <a:cubicBezTo>
                  <a:pt x="29507" y="0"/>
                  <a:pt x="33482" y="3975"/>
                  <a:pt x="33482" y="8825"/>
                </a:cubicBezTo>
                <a:lnTo>
                  <a:pt x="33482" y="745555"/>
                </a:lnTo>
                <a:cubicBezTo>
                  <a:pt x="33482" y="750405"/>
                  <a:pt x="29507" y="754380"/>
                  <a:pt x="24656" y="754380"/>
                </a:cubicBezTo>
                <a:close/>
              </a:path>
            </a:pathLst>
          </a:custGeom>
          <a:solidFill>
            <a:srgbClr val="8A9096"/>
          </a:solidFill>
          <a:ln w="672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 sz="1800"/>
          </a:p>
        </p:txBody>
      </p:sp>
      <p:sp>
        <p:nvSpPr>
          <p:cNvPr id="36" name="Graphic 2">
            <a:extLst>
              <a:ext uri="{FF2B5EF4-FFF2-40B4-BE49-F238E27FC236}">
                <a16:creationId xmlns:a16="http://schemas.microsoft.com/office/drawing/2014/main" id="{1051CE3E-A25D-4419-A3AA-D412989C41E1}"/>
              </a:ext>
            </a:extLst>
          </p:cNvPr>
          <p:cNvSpPr/>
          <p:nvPr/>
        </p:nvSpPr>
        <p:spPr>
          <a:xfrm>
            <a:off x="8792122" y="3267423"/>
            <a:ext cx="8687" cy="289856"/>
          </a:xfrm>
          <a:custGeom>
            <a:avLst/>
            <a:gdLst>
              <a:gd name="connsiteX0" fmla="*/ 17650 w 18930"/>
              <a:gd name="connsiteY0" fmla="*/ 631704 h 631704"/>
              <a:gd name="connsiteX1" fmla="*/ 1886 w 18930"/>
              <a:gd name="connsiteY1" fmla="*/ 631704 h 631704"/>
              <a:gd name="connsiteX2" fmla="*/ 0 w 18930"/>
              <a:gd name="connsiteY2" fmla="*/ 629818 h 631704"/>
              <a:gd name="connsiteX3" fmla="*/ 0 w 18930"/>
              <a:gd name="connsiteY3" fmla="*/ 1886 h 631704"/>
              <a:gd name="connsiteX4" fmla="*/ 1886 w 18930"/>
              <a:gd name="connsiteY4" fmla="*/ 0 h 631704"/>
              <a:gd name="connsiteX5" fmla="*/ 17650 w 18930"/>
              <a:gd name="connsiteY5" fmla="*/ 0 h 631704"/>
              <a:gd name="connsiteX6" fmla="*/ 18930 w 18930"/>
              <a:gd name="connsiteY6" fmla="*/ 1280 h 631704"/>
              <a:gd name="connsiteX7" fmla="*/ 18930 w 18930"/>
              <a:gd name="connsiteY7" fmla="*/ 630491 h 631704"/>
              <a:gd name="connsiteX8" fmla="*/ 17650 w 18930"/>
              <a:gd name="connsiteY8" fmla="*/ 631704 h 631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930" h="631704">
                <a:moveTo>
                  <a:pt x="17650" y="631704"/>
                </a:moveTo>
                <a:lnTo>
                  <a:pt x="1886" y="631704"/>
                </a:lnTo>
                <a:cubicBezTo>
                  <a:pt x="808" y="631704"/>
                  <a:pt x="0" y="630828"/>
                  <a:pt x="0" y="629818"/>
                </a:cubicBezTo>
                <a:lnTo>
                  <a:pt x="0" y="1886"/>
                </a:lnTo>
                <a:cubicBezTo>
                  <a:pt x="0" y="808"/>
                  <a:pt x="876" y="0"/>
                  <a:pt x="1886" y="0"/>
                </a:cubicBezTo>
                <a:lnTo>
                  <a:pt x="17650" y="0"/>
                </a:lnTo>
                <a:cubicBezTo>
                  <a:pt x="18324" y="0"/>
                  <a:pt x="18930" y="539"/>
                  <a:pt x="18930" y="1280"/>
                </a:cubicBezTo>
                <a:lnTo>
                  <a:pt x="18930" y="630491"/>
                </a:lnTo>
                <a:cubicBezTo>
                  <a:pt x="18863" y="631098"/>
                  <a:pt x="18324" y="631704"/>
                  <a:pt x="17650" y="631704"/>
                </a:cubicBezTo>
                <a:close/>
              </a:path>
            </a:pathLst>
          </a:custGeom>
          <a:solidFill>
            <a:srgbClr val="4A4C4D"/>
          </a:solidFill>
          <a:ln w="672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 sz="1800"/>
          </a:p>
        </p:txBody>
      </p:sp>
      <p:sp>
        <p:nvSpPr>
          <p:cNvPr id="37" name="Graphic 2">
            <a:extLst>
              <a:ext uri="{FF2B5EF4-FFF2-40B4-BE49-F238E27FC236}">
                <a16:creationId xmlns:a16="http://schemas.microsoft.com/office/drawing/2014/main" id="{A0DF7535-AA39-416F-84D0-138B7D93F8ED}"/>
              </a:ext>
            </a:extLst>
          </p:cNvPr>
          <p:cNvSpPr/>
          <p:nvPr/>
        </p:nvSpPr>
        <p:spPr>
          <a:xfrm>
            <a:off x="8788381" y="3966669"/>
            <a:ext cx="12427" cy="237215"/>
          </a:xfrm>
          <a:custGeom>
            <a:avLst/>
            <a:gdLst>
              <a:gd name="connsiteX0" fmla="*/ 18257 w 27081"/>
              <a:gd name="connsiteY0" fmla="*/ 516977 h 516977"/>
              <a:gd name="connsiteX1" fmla="*/ 10105 w 27081"/>
              <a:gd name="connsiteY1" fmla="*/ 516977 h 516977"/>
              <a:gd name="connsiteX2" fmla="*/ 0 w 27081"/>
              <a:gd name="connsiteY2" fmla="*/ 506872 h 516977"/>
              <a:gd name="connsiteX3" fmla="*/ 0 w 27081"/>
              <a:gd name="connsiteY3" fmla="*/ 10105 h 516977"/>
              <a:gd name="connsiteX4" fmla="*/ 10105 w 27081"/>
              <a:gd name="connsiteY4" fmla="*/ 0 h 516977"/>
              <a:gd name="connsiteX5" fmla="*/ 18257 w 27081"/>
              <a:gd name="connsiteY5" fmla="*/ 0 h 516977"/>
              <a:gd name="connsiteX6" fmla="*/ 27082 w 27081"/>
              <a:gd name="connsiteY6" fmla="*/ 8825 h 516977"/>
              <a:gd name="connsiteX7" fmla="*/ 27082 w 27081"/>
              <a:gd name="connsiteY7" fmla="*/ 508152 h 516977"/>
              <a:gd name="connsiteX8" fmla="*/ 18257 w 27081"/>
              <a:gd name="connsiteY8" fmla="*/ 516977 h 516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081" h="516977">
                <a:moveTo>
                  <a:pt x="18257" y="516977"/>
                </a:moveTo>
                <a:lnTo>
                  <a:pt x="10105" y="516977"/>
                </a:lnTo>
                <a:cubicBezTo>
                  <a:pt x="4514" y="516977"/>
                  <a:pt x="0" y="512464"/>
                  <a:pt x="0" y="506872"/>
                </a:cubicBezTo>
                <a:lnTo>
                  <a:pt x="0" y="10105"/>
                </a:lnTo>
                <a:cubicBezTo>
                  <a:pt x="0" y="4514"/>
                  <a:pt x="4514" y="0"/>
                  <a:pt x="10105" y="0"/>
                </a:cubicBezTo>
                <a:lnTo>
                  <a:pt x="18257" y="0"/>
                </a:lnTo>
                <a:cubicBezTo>
                  <a:pt x="23107" y="0"/>
                  <a:pt x="27082" y="3975"/>
                  <a:pt x="27082" y="8825"/>
                </a:cubicBezTo>
                <a:lnTo>
                  <a:pt x="27082" y="508152"/>
                </a:lnTo>
                <a:cubicBezTo>
                  <a:pt x="27082" y="513003"/>
                  <a:pt x="23107" y="516977"/>
                  <a:pt x="18257" y="516977"/>
                </a:cubicBezTo>
                <a:close/>
              </a:path>
            </a:pathLst>
          </a:custGeom>
          <a:solidFill>
            <a:srgbClr val="8A9096"/>
          </a:solidFill>
          <a:ln w="67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38" name="Graphic 2">
            <a:extLst>
              <a:ext uri="{FF2B5EF4-FFF2-40B4-BE49-F238E27FC236}">
                <a16:creationId xmlns:a16="http://schemas.microsoft.com/office/drawing/2014/main" id="{EC0BE9BD-8B40-4448-9291-F0A47C4DBA1F}"/>
              </a:ext>
            </a:extLst>
          </p:cNvPr>
          <p:cNvSpPr/>
          <p:nvPr/>
        </p:nvSpPr>
        <p:spPr>
          <a:xfrm>
            <a:off x="8793762" y="3983701"/>
            <a:ext cx="7047" cy="198636"/>
          </a:xfrm>
          <a:custGeom>
            <a:avLst/>
            <a:gdLst>
              <a:gd name="connsiteX0" fmla="*/ 14080 w 15359"/>
              <a:gd name="connsiteY0" fmla="*/ 432903 h 432902"/>
              <a:gd name="connsiteX1" fmla="*/ 1886 w 15359"/>
              <a:gd name="connsiteY1" fmla="*/ 432903 h 432902"/>
              <a:gd name="connsiteX2" fmla="*/ 0 w 15359"/>
              <a:gd name="connsiteY2" fmla="*/ 431016 h 432902"/>
              <a:gd name="connsiteX3" fmla="*/ 0 w 15359"/>
              <a:gd name="connsiteY3" fmla="*/ 1886 h 432902"/>
              <a:gd name="connsiteX4" fmla="*/ 1886 w 15359"/>
              <a:gd name="connsiteY4" fmla="*/ 0 h 432902"/>
              <a:gd name="connsiteX5" fmla="*/ 14080 w 15359"/>
              <a:gd name="connsiteY5" fmla="*/ 0 h 432902"/>
              <a:gd name="connsiteX6" fmla="*/ 15360 w 15359"/>
              <a:gd name="connsiteY6" fmla="*/ 1280 h 432902"/>
              <a:gd name="connsiteX7" fmla="*/ 15360 w 15359"/>
              <a:gd name="connsiteY7" fmla="*/ 431690 h 432902"/>
              <a:gd name="connsiteX8" fmla="*/ 14080 w 15359"/>
              <a:gd name="connsiteY8" fmla="*/ 432903 h 432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359" h="432902">
                <a:moveTo>
                  <a:pt x="14080" y="432903"/>
                </a:moveTo>
                <a:lnTo>
                  <a:pt x="1886" y="432903"/>
                </a:lnTo>
                <a:cubicBezTo>
                  <a:pt x="808" y="432903"/>
                  <a:pt x="0" y="432027"/>
                  <a:pt x="0" y="431016"/>
                </a:cubicBezTo>
                <a:lnTo>
                  <a:pt x="0" y="1886"/>
                </a:lnTo>
                <a:cubicBezTo>
                  <a:pt x="0" y="808"/>
                  <a:pt x="876" y="0"/>
                  <a:pt x="1886" y="0"/>
                </a:cubicBezTo>
                <a:lnTo>
                  <a:pt x="14080" y="0"/>
                </a:lnTo>
                <a:cubicBezTo>
                  <a:pt x="14753" y="0"/>
                  <a:pt x="15360" y="539"/>
                  <a:pt x="15360" y="1280"/>
                </a:cubicBezTo>
                <a:lnTo>
                  <a:pt x="15360" y="431690"/>
                </a:lnTo>
                <a:cubicBezTo>
                  <a:pt x="15360" y="432364"/>
                  <a:pt x="14821" y="432903"/>
                  <a:pt x="14080" y="432903"/>
                </a:cubicBezTo>
                <a:close/>
              </a:path>
            </a:pathLst>
          </a:custGeom>
          <a:solidFill>
            <a:srgbClr val="4A4C4D"/>
          </a:solidFill>
          <a:ln w="67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39" name="Oval 216">
            <a:extLst>
              <a:ext uri="{FF2B5EF4-FFF2-40B4-BE49-F238E27FC236}">
                <a16:creationId xmlns:a16="http://schemas.microsoft.com/office/drawing/2014/main" id="{80937075-1736-486D-B42C-3FC2513613CA}"/>
              </a:ext>
            </a:extLst>
          </p:cNvPr>
          <p:cNvSpPr>
            <a:spLocks noChangeAspect="1"/>
          </p:cNvSpPr>
          <p:nvPr/>
        </p:nvSpPr>
        <p:spPr>
          <a:xfrm>
            <a:off x="8270853" y="2557837"/>
            <a:ext cx="73152" cy="73152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0" name="Oval 217">
            <a:extLst>
              <a:ext uri="{FF2B5EF4-FFF2-40B4-BE49-F238E27FC236}">
                <a16:creationId xmlns:a16="http://schemas.microsoft.com/office/drawing/2014/main" id="{AAF9148F-3CB4-458C-9724-C402F2D9333D}"/>
              </a:ext>
            </a:extLst>
          </p:cNvPr>
          <p:cNvSpPr>
            <a:spLocks noChangeAspect="1"/>
          </p:cNvSpPr>
          <p:nvPr/>
        </p:nvSpPr>
        <p:spPr>
          <a:xfrm>
            <a:off x="8275425" y="2562409"/>
            <a:ext cx="64008" cy="64008"/>
          </a:xfrm>
          <a:prstGeom prst="ellipse">
            <a:avLst/>
          </a:prstGeom>
          <a:solidFill>
            <a:srgbClr val="070808"/>
          </a:solidFill>
          <a:ln w="672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41" name="Oval 218">
            <a:extLst>
              <a:ext uri="{FF2B5EF4-FFF2-40B4-BE49-F238E27FC236}">
                <a16:creationId xmlns:a16="http://schemas.microsoft.com/office/drawing/2014/main" id="{843BB2FA-7F22-49B0-BC78-2E9B0305C296}"/>
              </a:ext>
            </a:extLst>
          </p:cNvPr>
          <p:cNvSpPr/>
          <p:nvPr/>
        </p:nvSpPr>
        <p:spPr>
          <a:xfrm>
            <a:off x="8291610" y="2578594"/>
            <a:ext cx="31639" cy="31639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672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42" name="Oval 219">
            <a:extLst>
              <a:ext uri="{FF2B5EF4-FFF2-40B4-BE49-F238E27FC236}">
                <a16:creationId xmlns:a16="http://schemas.microsoft.com/office/drawing/2014/main" id="{8B4DD387-A517-48E9-B699-088D6CA4D3BD}"/>
              </a:ext>
            </a:extLst>
          </p:cNvPr>
          <p:cNvSpPr/>
          <p:nvPr/>
        </p:nvSpPr>
        <p:spPr>
          <a:xfrm>
            <a:off x="8299039" y="2586023"/>
            <a:ext cx="16783" cy="16783"/>
          </a:xfrm>
          <a:prstGeom prst="ellipse">
            <a:avLst/>
          </a:prstGeom>
          <a:solidFill>
            <a:srgbClr val="081422"/>
          </a:solidFill>
          <a:ln w="672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43" name="Graphic 2">
            <a:extLst>
              <a:ext uri="{FF2B5EF4-FFF2-40B4-BE49-F238E27FC236}">
                <a16:creationId xmlns:a16="http://schemas.microsoft.com/office/drawing/2014/main" id="{4EF42A38-AD69-4C54-9896-6639F2020E15}"/>
              </a:ext>
            </a:extLst>
          </p:cNvPr>
          <p:cNvSpPr/>
          <p:nvPr userDrawn="1"/>
        </p:nvSpPr>
        <p:spPr>
          <a:xfrm flipH="1">
            <a:off x="7225297" y="2953506"/>
            <a:ext cx="5843" cy="81663"/>
          </a:xfrm>
          <a:custGeom>
            <a:avLst/>
            <a:gdLst>
              <a:gd name="connsiteX0" fmla="*/ 17650 w 18930"/>
              <a:gd name="connsiteY0" fmla="*/ 390327 h 390326"/>
              <a:gd name="connsiteX1" fmla="*/ 1886 w 18930"/>
              <a:gd name="connsiteY1" fmla="*/ 390327 h 390326"/>
              <a:gd name="connsiteX2" fmla="*/ 0 w 18930"/>
              <a:gd name="connsiteY2" fmla="*/ 388440 h 390326"/>
              <a:gd name="connsiteX3" fmla="*/ 0 w 18930"/>
              <a:gd name="connsiteY3" fmla="*/ 1886 h 390326"/>
              <a:gd name="connsiteX4" fmla="*/ 1886 w 18930"/>
              <a:gd name="connsiteY4" fmla="*/ 0 h 390326"/>
              <a:gd name="connsiteX5" fmla="*/ 17650 w 18930"/>
              <a:gd name="connsiteY5" fmla="*/ 0 h 390326"/>
              <a:gd name="connsiteX6" fmla="*/ 18930 w 18930"/>
              <a:gd name="connsiteY6" fmla="*/ 1280 h 390326"/>
              <a:gd name="connsiteX7" fmla="*/ 18930 w 18930"/>
              <a:gd name="connsiteY7" fmla="*/ 389047 h 390326"/>
              <a:gd name="connsiteX8" fmla="*/ 17650 w 18930"/>
              <a:gd name="connsiteY8" fmla="*/ 390327 h 39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930" h="390326">
                <a:moveTo>
                  <a:pt x="17650" y="390327"/>
                </a:moveTo>
                <a:lnTo>
                  <a:pt x="1886" y="390327"/>
                </a:lnTo>
                <a:cubicBezTo>
                  <a:pt x="808" y="390327"/>
                  <a:pt x="0" y="389451"/>
                  <a:pt x="0" y="388440"/>
                </a:cubicBezTo>
                <a:lnTo>
                  <a:pt x="0" y="1886"/>
                </a:lnTo>
                <a:cubicBezTo>
                  <a:pt x="0" y="808"/>
                  <a:pt x="876" y="0"/>
                  <a:pt x="1886" y="0"/>
                </a:cubicBezTo>
                <a:lnTo>
                  <a:pt x="17650" y="0"/>
                </a:lnTo>
                <a:cubicBezTo>
                  <a:pt x="18324" y="0"/>
                  <a:pt x="18930" y="539"/>
                  <a:pt x="18930" y="1280"/>
                </a:cubicBezTo>
                <a:lnTo>
                  <a:pt x="18930" y="389047"/>
                </a:lnTo>
                <a:cubicBezTo>
                  <a:pt x="18930" y="389788"/>
                  <a:pt x="18324" y="390327"/>
                  <a:pt x="17650" y="390327"/>
                </a:cubicBezTo>
                <a:close/>
              </a:path>
            </a:pathLst>
          </a:custGeom>
          <a:solidFill>
            <a:srgbClr val="FAFDFF"/>
          </a:solidFill>
          <a:ln w="672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sp>
        <p:nvSpPr>
          <p:cNvPr id="44" name="그림 개체 틀 43">
            <a:extLst>
              <a:ext uri="{FF2B5EF4-FFF2-40B4-BE49-F238E27FC236}">
                <a16:creationId xmlns:a16="http://schemas.microsoft.com/office/drawing/2014/main" id="{41603E8A-3D98-41B6-913A-5C71C86D9981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7284234" y="2563171"/>
            <a:ext cx="1456965" cy="3006901"/>
          </a:xfrm>
          <a:custGeom>
            <a:avLst/>
            <a:gdLst>
              <a:gd name="connsiteX0" fmla="*/ 156716 w 1456965"/>
              <a:gd name="connsiteY0" fmla="*/ 0 h 3006901"/>
              <a:gd name="connsiteX1" fmla="*/ 295475 w 1456965"/>
              <a:gd name="connsiteY1" fmla="*/ 0 h 3006901"/>
              <a:gd name="connsiteX2" fmla="*/ 308926 w 1456965"/>
              <a:gd name="connsiteY2" fmla="*/ 12735 h 3006901"/>
              <a:gd name="connsiteX3" fmla="*/ 413011 w 1456965"/>
              <a:gd name="connsiteY3" fmla="*/ 111281 h 3006901"/>
              <a:gd name="connsiteX4" fmla="*/ 1037425 w 1456965"/>
              <a:gd name="connsiteY4" fmla="*/ 111281 h 3006901"/>
              <a:gd name="connsiteX5" fmla="*/ 1141510 w 1456965"/>
              <a:gd name="connsiteY5" fmla="*/ 12735 h 3006901"/>
              <a:gd name="connsiteX6" fmla="*/ 1154961 w 1456965"/>
              <a:gd name="connsiteY6" fmla="*/ 0 h 3006901"/>
              <a:gd name="connsiteX7" fmla="*/ 1300250 w 1456965"/>
              <a:gd name="connsiteY7" fmla="*/ 0 h 3006901"/>
              <a:gd name="connsiteX8" fmla="*/ 1456965 w 1456965"/>
              <a:gd name="connsiteY8" fmla="*/ 148374 h 3006901"/>
              <a:gd name="connsiteX9" fmla="*/ 1456965 w 1456965"/>
              <a:gd name="connsiteY9" fmla="*/ 2858526 h 3006901"/>
              <a:gd name="connsiteX10" fmla="*/ 1300250 w 1456965"/>
              <a:gd name="connsiteY10" fmla="*/ 3006901 h 3006901"/>
              <a:gd name="connsiteX11" fmla="*/ 156716 w 1456965"/>
              <a:gd name="connsiteY11" fmla="*/ 3006901 h 3006901"/>
              <a:gd name="connsiteX12" fmla="*/ 0 w 1456965"/>
              <a:gd name="connsiteY12" fmla="*/ 2858526 h 3006901"/>
              <a:gd name="connsiteX13" fmla="*/ 0 w 1456965"/>
              <a:gd name="connsiteY13" fmla="*/ 148374 h 3006901"/>
              <a:gd name="connsiteX14" fmla="*/ 156716 w 1456965"/>
              <a:gd name="connsiteY14" fmla="*/ 0 h 3006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56965" h="3006901">
                <a:moveTo>
                  <a:pt x="156716" y="0"/>
                </a:moveTo>
                <a:lnTo>
                  <a:pt x="295475" y="0"/>
                </a:lnTo>
                <a:cubicBezTo>
                  <a:pt x="302886" y="0"/>
                  <a:pt x="308926" y="5688"/>
                  <a:pt x="308926" y="12735"/>
                </a:cubicBezTo>
                <a:cubicBezTo>
                  <a:pt x="308926" y="67170"/>
                  <a:pt x="355549" y="111281"/>
                  <a:pt x="413011" y="111281"/>
                </a:cubicBezTo>
                <a:lnTo>
                  <a:pt x="1037425" y="111281"/>
                </a:lnTo>
                <a:cubicBezTo>
                  <a:pt x="1094920" y="111281"/>
                  <a:pt x="1141510" y="67140"/>
                  <a:pt x="1141510" y="12735"/>
                </a:cubicBezTo>
                <a:cubicBezTo>
                  <a:pt x="1141510" y="5719"/>
                  <a:pt x="1147517" y="0"/>
                  <a:pt x="1154961" y="0"/>
                </a:cubicBezTo>
                <a:lnTo>
                  <a:pt x="1300250" y="0"/>
                </a:lnTo>
                <a:cubicBezTo>
                  <a:pt x="1386802" y="0"/>
                  <a:pt x="1456965" y="66429"/>
                  <a:pt x="1456965" y="148374"/>
                </a:cubicBezTo>
                <a:lnTo>
                  <a:pt x="1456965" y="2858526"/>
                </a:lnTo>
                <a:cubicBezTo>
                  <a:pt x="1456965" y="2940472"/>
                  <a:pt x="1386802" y="3006901"/>
                  <a:pt x="1300250" y="3006901"/>
                </a:cubicBezTo>
                <a:lnTo>
                  <a:pt x="156716" y="3006901"/>
                </a:lnTo>
                <a:cubicBezTo>
                  <a:pt x="70163" y="3006901"/>
                  <a:pt x="0" y="2940472"/>
                  <a:pt x="0" y="2858526"/>
                </a:cubicBezTo>
                <a:lnTo>
                  <a:pt x="0" y="148374"/>
                </a:lnTo>
                <a:cubicBezTo>
                  <a:pt x="0" y="66429"/>
                  <a:pt x="70163" y="0"/>
                  <a:pt x="1567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06318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34">
            <a:extLst>
              <a:ext uri="{FF2B5EF4-FFF2-40B4-BE49-F238E27FC236}">
                <a16:creationId xmlns:a16="http://schemas.microsoft.com/office/drawing/2014/main" id="{4A0EA643-E018-4804-98F5-ED72D60FA05C}"/>
              </a:ext>
            </a:extLst>
          </p:cNvPr>
          <p:cNvSpPr/>
          <p:nvPr userDrawn="1"/>
        </p:nvSpPr>
        <p:spPr>
          <a:xfrm>
            <a:off x="2421290" y="4676969"/>
            <a:ext cx="7349423" cy="74446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softEdge rad="203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grpSp>
        <p:nvGrpSpPr>
          <p:cNvPr id="3" name="Group 15">
            <a:extLst>
              <a:ext uri="{FF2B5EF4-FFF2-40B4-BE49-F238E27FC236}">
                <a16:creationId xmlns:a16="http://schemas.microsoft.com/office/drawing/2014/main" id="{CC3C8D2A-7493-49A6-BC5D-85D373BCAF39}"/>
              </a:ext>
            </a:extLst>
          </p:cNvPr>
          <p:cNvGrpSpPr/>
          <p:nvPr userDrawn="1"/>
        </p:nvGrpSpPr>
        <p:grpSpPr>
          <a:xfrm>
            <a:off x="3034295" y="1729762"/>
            <a:ext cx="6123411" cy="3364399"/>
            <a:chOff x="-548507" y="477868"/>
            <a:chExt cx="11570449" cy="6357177"/>
          </a:xfrm>
        </p:grpSpPr>
        <p:sp>
          <p:nvSpPr>
            <p:cNvPr id="4" name="Freeform: Shape 16">
              <a:extLst>
                <a:ext uri="{FF2B5EF4-FFF2-40B4-BE49-F238E27FC236}">
                  <a16:creationId xmlns:a16="http://schemas.microsoft.com/office/drawing/2014/main" id="{DB9A46D1-AA19-4F9E-A750-3790822247BA}"/>
                </a:ext>
              </a:extLst>
            </p:cNvPr>
            <p:cNvSpPr/>
            <p:nvPr/>
          </p:nvSpPr>
          <p:spPr>
            <a:xfrm>
              <a:off x="-482765" y="6440599"/>
              <a:ext cx="11438966" cy="394446"/>
            </a:xfrm>
            <a:custGeom>
              <a:avLst/>
              <a:gdLst>
                <a:gd name="connsiteX0" fmla="*/ 1605439 w 1657350"/>
                <a:gd name="connsiteY0" fmla="*/ 54769 h 57150"/>
                <a:gd name="connsiteX1" fmla="*/ 1652111 w 1657350"/>
                <a:gd name="connsiteY1" fmla="*/ 22384 h 57150"/>
                <a:gd name="connsiteX2" fmla="*/ 1652111 w 1657350"/>
                <a:gd name="connsiteY2" fmla="*/ 22384 h 57150"/>
                <a:gd name="connsiteX3" fmla="*/ 1636871 w 1657350"/>
                <a:gd name="connsiteY3" fmla="*/ 7144 h 57150"/>
                <a:gd name="connsiteX4" fmla="*/ 44291 w 1657350"/>
                <a:gd name="connsiteY4" fmla="*/ 12859 h 57150"/>
                <a:gd name="connsiteX5" fmla="*/ 23336 w 1657350"/>
                <a:gd name="connsiteY5" fmla="*/ 12859 h 57150"/>
                <a:gd name="connsiteX6" fmla="*/ 7144 w 1657350"/>
                <a:gd name="connsiteY6" fmla="*/ 26194 h 57150"/>
                <a:gd name="connsiteX7" fmla="*/ 7144 w 1657350"/>
                <a:gd name="connsiteY7" fmla="*/ 26194 h 57150"/>
                <a:gd name="connsiteX8" fmla="*/ 50959 w 1657350"/>
                <a:gd name="connsiteY8" fmla="*/ 53816 h 57150"/>
                <a:gd name="connsiteX9" fmla="*/ 51911 w 1657350"/>
                <a:gd name="connsiteY9" fmla="*/ 54769 h 57150"/>
                <a:gd name="connsiteX10" fmla="*/ 51911 w 1657350"/>
                <a:gd name="connsiteY10" fmla="*/ 54769 h 57150"/>
                <a:gd name="connsiteX11" fmla="*/ 56674 w 1657350"/>
                <a:gd name="connsiteY11" fmla="*/ 5476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57350" h="57150">
                  <a:moveTo>
                    <a:pt x="1605439" y="54769"/>
                  </a:moveTo>
                  <a:cubicBezTo>
                    <a:pt x="1605439" y="54769"/>
                    <a:pt x="1638776" y="50959"/>
                    <a:pt x="1652111" y="22384"/>
                  </a:cubicBezTo>
                  <a:lnTo>
                    <a:pt x="1652111" y="22384"/>
                  </a:lnTo>
                  <a:cubicBezTo>
                    <a:pt x="1652111" y="13811"/>
                    <a:pt x="1645444" y="7144"/>
                    <a:pt x="1636871" y="7144"/>
                  </a:cubicBezTo>
                  <a:lnTo>
                    <a:pt x="44291" y="12859"/>
                  </a:lnTo>
                  <a:lnTo>
                    <a:pt x="23336" y="12859"/>
                  </a:lnTo>
                  <a:cubicBezTo>
                    <a:pt x="14764" y="12859"/>
                    <a:pt x="7144" y="18574"/>
                    <a:pt x="7144" y="26194"/>
                  </a:cubicBezTo>
                  <a:lnTo>
                    <a:pt x="7144" y="26194"/>
                  </a:lnTo>
                  <a:cubicBezTo>
                    <a:pt x="17621" y="45244"/>
                    <a:pt x="40481" y="51911"/>
                    <a:pt x="50959" y="53816"/>
                  </a:cubicBezTo>
                  <a:lnTo>
                    <a:pt x="51911" y="54769"/>
                  </a:lnTo>
                  <a:cubicBezTo>
                    <a:pt x="51911" y="54769"/>
                    <a:pt x="51911" y="54769"/>
                    <a:pt x="51911" y="54769"/>
                  </a:cubicBezTo>
                  <a:lnTo>
                    <a:pt x="56674" y="54769"/>
                  </a:lnTo>
                </a:path>
              </a:pathLst>
            </a:custGeom>
            <a:solidFill>
              <a:srgbClr val="5F67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" name="Freeform: Shape 23">
              <a:extLst>
                <a:ext uri="{FF2B5EF4-FFF2-40B4-BE49-F238E27FC236}">
                  <a16:creationId xmlns:a16="http://schemas.microsoft.com/office/drawing/2014/main" id="{9B00005A-443E-4EDD-BA1C-9FF4B148EB7A}"/>
                </a:ext>
              </a:extLst>
            </p:cNvPr>
            <p:cNvSpPr/>
            <p:nvPr/>
          </p:nvSpPr>
          <p:spPr>
            <a:xfrm>
              <a:off x="700575" y="477868"/>
              <a:ext cx="9072285" cy="5916709"/>
            </a:xfrm>
            <a:custGeom>
              <a:avLst/>
              <a:gdLst>
                <a:gd name="connsiteX0" fmla="*/ 1311116 w 1314450"/>
                <a:gd name="connsiteY0" fmla="*/ 813911 h 857250"/>
                <a:gd name="connsiteX1" fmla="*/ 1281589 w 1314450"/>
                <a:gd name="connsiteY1" fmla="*/ 852964 h 857250"/>
                <a:gd name="connsiteX2" fmla="*/ 36671 w 1314450"/>
                <a:gd name="connsiteY2" fmla="*/ 852964 h 857250"/>
                <a:gd name="connsiteX3" fmla="*/ 7144 w 1314450"/>
                <a:gd name="connsiteY3" fmla="*/ 813911 h 857250"/>
                <a:gd name="connsiteX4" fmla="*/ 7144 w 1314450"/>
                <a:gd name="connsiteY4" fmla="*/ 46196 h 857250"/>
                <a:gd name="connsiteX5" fmla="*/ 36671 w 1314450"/>
                <a:gd name="connsiteY5" fmla="*/ 7144 h 857250"/>
                <a:gd name="connsiteX6" fmla="*/ 1281589 w 1314450"/>
                <a:gd name="connsiteY6" fmla="*/ 7144 h 857250"/>
                <a:gd name="connsiteX7" fmla="*/ 1311116 w 1314450"/>
                <a:gd name="connsiteY7" fmla="*/ 46196 h 857250"/>
                <a:gd name="connsiteX8" fmla="*/ 1311116 w 1314450"/>
                <a:gd name="connsiteY8" fmla="*/ 813911 h 8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4450" h="857250">
                  <a:moveTo>
                    <a:pt x="1311116" y="813911"/>
                  </a:moveTo>
                  <a:cubicBezTo>
                    <a:pt x="1311116" y="834866"/>
                    <a:pt x="1297781" y="852964"/>
                    <a:pt x="1281589" y="852964"/>
                  </a:cubicBezTo>
                  <a:lnTo>
                    <a:pt x="36671" y="852964"/>
                  </a:lnTo>
                  <a:cubicBezTo>
                    <a:pt x="20479" y="852964"/>
                    <a:pt x="7144" y="835819"/>
                    <a:pt x="7144" y="813911"/>
                  </a:cubicBezTo>
                  <a:lnTo>
                    <a:pt x="7144" y="46196"/>
                  </a:lnTo>
                  <a:cubicBezTo>
                    <a:pt x="7144" y="25241"/>
                    <a:pt x="20479" y="7144"/>
                    <a:pt x="36671" y="7144"/>
                  </a:cubicBezTo>
                  <a:lnTo>
                    <a:pt x="1281589" y="7144"/>
                  </a:lnTo>
                  <a:cubicBezTo>
                    <a:pt x="1297781" y="7144"/>
                    <a:pt x="1311116" y="24289"/>
                    <a:pt x="1311116" y="46196"/>
                  </a:cubicBezTo>
                  <a:lnTo>
                    <a:pt x="1311116" y="81391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6" name="Freeform: Shape 24">
              <a:extLst>
                <a:ext uri="{FF2B5EF4-FFF2-40B4-BE49-F238E27FC236}">
                  <a16:creationId xmlns:a16="http://schemas.microsoft.com/office/drawing/2014/main" id="{448ADAF5-2857-4508-A8F5-173632FFECB2}"/>
                </a:ext>
              </a:extLst>
            </p:cNvPr>
            <p:cNvSpPr/>
            <p:nvPr/>
          </p:nvSpPr>
          <p:spPr>
            <a:xfrm>
              <a:off x="1088451" y="839448"/>
              <a:ext cx="8283390" cy="5062073"/>
            </a:xfrm>
            <a:custGeom>
              <a:avLst/>
              <a:gdLst>
                <a:gd name="connsiteX0" fmla="*/ 7144 w 1200150"/>
                <a:gd name="connsiteY0" fmla="*/ 7144 h 733425"/>
                <a:gd name="connsiteX1" fmla="*/ 1196816 w 1200150"/>
                <a:gd name="connsiteY1" fmla="*/ 7144 h 733425"/>
                <a:gd name="connsiteX2" fmla="*/ 1196816 w 1200150"/>
                <a:gd name="connsiteY2" fmla="*/ 730091 h 733425"/>
                <a:gd name="connsiteX3" fmla="*/ 7144 w 1200150"/>
                <a:gd name="connsiteY3" fmla="*/ 730091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150" h="733425">
                  <a:moveTo>
                    <a:pt x="7144" y="7144"/>
                  </a:moveTo>
                  <a:lnTo>
                    <a:pt x="1196816" y="7144"/>
                  </a:lnTo>
                  <a:lnTo>
                    <a:pt x="1196816" y="730091"/>
                  </a:lnTo>
                  <a:lnTo>
                    <a:pt x="7144" y="730091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7" name="Freeform: Shape 25">
              <a:extLst>
                <a:ext uri="{FF2B5EF4-FFF2-40B4-BE49-F238E27FC236}">
                  <a16:creationId xmlns:a16="http://schemas.microsoft.com/office/drawing/2014/main" id="{470D56DA-963E-4CBB-99A3-8D678876D1C4}"/>
                </a:ext>
              </a:extLst>
            </p:cNvPr>
            <p:cNvSpPr/>
            <p:nvPr/>
          </p:nvSpPr>
          <p:spPr>
            <a:xfrm>
              <a:off x="-548507" y="6164484"/>
              <a:ext cx="11570449" cy="460187"/>
            </a:xfrm>
            <a:custGeom>
              <a:avLst/>
              <a:gdLst>
                <a:gd name="connsiteX0" fmla="*/ 50006 w 1676400"/>
                <a:gd name="connsiteY0" fmla="*/ 7144 h 66675"/>
                <a:gd name="connsiteX1" fmla="*/ 1630204 w 1676400"/>
                <a:gd name="connsiteY1" fmla="*/ 7144 h 66675"/>
                <a:gd name="connsiteX2" fmla="*/ 1672114 w 1676400"/>
                <a:gd name="connsiteY2" fmla="*/ 49054 h 66675"/>
                <a:gd name="connsiteX3" fmla="*/ 1672114 w 1676400"/>
                <a:gd name="connsiteY3" fmla="*/ 57626 h 66675"/>
                <a:gd name="connsiteX4" fmla="*/ 1656874 w 1676400"/>
                <a:gd name="connsiteY4" fmla="*/ 62389 h 66675"/>
                <a:gd name="connsiteX5" fmla="*/ 1654016 w 1676400"/>
                <a:gd name="connsiteY5" fmla="*/ 62389 h 66675"/>
                <a:gd name="connsiteX6" fmla="*/ 29051 w 1676400"/>
                <a:gd name="connsiteY6" fmla="*/ 62389 h 66675"/>
                <a:gd name="connsiteX7" fmla="*/ 21431 w 1676400"/>
                <a:gd name="connsiteY7" fmla="*/ 63341 h 66675"/>
                <a:gd name="connsiteX8" fmla="*/ 7144 w 1676400"/>
                <a:gd name="connsiteY8" fmla="*/ 55721 h 66675"/>
                <a:gd name="connsiteX9" fmla="*/ 7144 w 1676400"/>
                <a:gd name="connsiteY9" fmla="*/ 48101 h 66675"/>
                <a:gd name="connsiteX10" fmla="*/ 50006 w 16764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400" h="66675">
                  <a:moveTo>
                    <a:pt x="50006" y="7144"/>
                  </a:moveTo>
                  <a:lnTo>
                    <a:pt x="1630204" y="7144"/>
                  </a:lnTo>
                  <a:cubicBezTo>
                    <a:pt x="1653064" y="7144"/>
                    <a:pt x="1672114" y="26194"/>
                    <a:pt x="1672114" y="49054"/>
                  </a:cubicBezTo>
                  <a:lnTo>
                    <a:pt x="1672114" y="57626"/>
                  </a:lnTo>
                  <a:cubicBezTo>
                    <a:pt x="1672114" y="57626"/>
                    <a:pt x="1674019" y="64294"/>
                    <a:pt x="1656874" y="62389"/>
                  </a:cubicBezTo>
                  <a:cubicBezTo>
                    <a:pt x="1655921" y="62389"/>
                    <a:pt x="1654969" y="62389"/>
                    <a:pt x="1654016" y="62389"/>
                  </a:cubicBezTo>
                  <a:lnTo>
                    <a:pt x="29051" y="62389"/>
                  </a:lnTo>
                  <a:cubicBezTo>
                    <a:pt x="26194" y="62389"/>
                    <a:pt x="24289" y="62389"/>
                    <a:pt x="21431" y="63341"/>
                  </a:cubicBezTo>
                  <a:cubicBezTo>
                    <a:pt x="16669" y="64294"/>
                    <a:pt x="8096" y="64294"/>
                    <a:pt x="7144" y="55721"/>
                  </a:cubicBezTo>
                  <a:lnTo>
                    <a:pt x="7144" y="48101"/>
                  </a:lnTo>
                  <a:cubicBezTo>
                    <a:pt x="8096" y="25241"/>
                    <a:pt x="26194" y="7144"/>
                    <a:pt x="50006" y="7144"/>
                  </a:cubicBezTo>
                  <a:close/>
                </a:path>
              </a:pathLst>
            </a:custGeom>
            <a:solidFill>
              <a:srgbClr val="CCCC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8" name="Freeform: Shape 26">
              <a:extLst>
                <a:ext uri="{FF2B5EF4-FFF2-40B4-BE49-F238E27FC236}">
                  <a16:creationId xmlns:a16="http://schemas.microsoft.com/office/drawing/2014/main" id="{63669232-C35B-4F94-B0BE-A9C6E3D46C27}"/>
                </a:ext>
              </a:extLst>
            </p:cNvPr>
            <p:cNvSpPr/>
            <p:nvPr/>
          </p:nvSpPr>
          <p:spPr>
            <a:xfrm>
              <a:off x="4438629" y="6215033"/>
              <a:ext cx="1618413" cy="184076"/>
            </a:xfrm>
            <a:custGeom>
              <a:avLst/>
              <a:gdLst>
                <a:gd name="connsiteX0" fmla="*/ 1478513 w 1618413"/>
                <a:gd name="connsiteY0" fmla="*/ 177499 h 184076"/>
                <a:gd name="connsiteX1" fmla="*/ 1485084 w 1618413"/>
                <a:gd name="connsiteY1" fmla="*/ 177499 h 184076"/>
                <a:gd name="connsiteX2" fmla="*/ 1502686 w 1618413"/>
                <a:gd name="connsiteY2" fmla="*/ 178122 h 184076"/>
                <a:gd name="connsiteX3" fmla="*/ 1499879 w 1618413"/>
                <a:gd name="connsiteY3" fmla="*/ 178526 h 184076"/>
                <a:gd name="connsiteX4" fmla="*/ 1478513 w 1618413"/>
                <a:gd name="connsiteY4" fmla="*/ 177499 h 184076"/>
                <a:gd name="connsiteX5" fmla="*/ 84799 w 1618413"/>
                <a:gd name="connsiteY5" fmla="*/ 170928 h 184076"/>
                <a:gd name="connsiteX6" fmla="*/ 117666 w 1618413"/>
                <a:gd name="connsiteY6" fmla="*/ 177499 h 184076"/>
                <a:gd name="connsiteX7" fmla="*/ 104518 w 1618413"/>
                <a:gd name="connsiteY7" fmla="*/ 177499 h 184076"/>
                <a:gd name="connsiteX8" fmla="*/ 84799 w 1618413"/>
                <a:gd name="connsiteY8" fmla="*/ 170928 h 184076"/>
                <a:gd name="connsiteX9" fmla="*/ 1603418 w 1618413"/>
                <a:gd name="connsiteY9" fmla="*/ 0 h 184076"/>
                <a:gd name="connsiteX10" fmla="*/ 1616567 w 1618413"/>
                <a:gd name="connsiteY10" fmla="*/ 0 h 184076"/>
                <a:gd name="connsiteX11" fmla="*/ 1511177 w 1618413"/>
                <a:gd name="connsiteY11" fmla="*/ 178423 h 184076"/>
                <a:gd name="connsiteX12" fmla="*/ 1502686 w 1618413"/>
                <a:gd name="connsiteY12" fmla="*/ 178122 h 184076"/>
                <a:gd name="connsiteX13" fmla="*/ 1521501 w 1618413"/>
                <a:gd name="connsiteY13" fmla="*/ 175419 h 184076"/>
                <a:gd name="connsiteX14" fmla="*/ 1603418 w 1618413"/>
                <a:gd name="connsiteY14" fmla="*/ 6571 h 184076"/>
                <a:gd name="connsiteX15" fmla="*/ 5911 w 1618413"/>
                <a:gd name="connsiteY15" fmla="*/ 0 h 184076"/>
                <a:gd name="connsiteX16" fmla="*/ 19060 w 1618413"/>
                <a:gd name="connsiteY16" fmla="*/ 6571 h 184076"/>
                <a:gd name="connsiteX17" fmla="*/ 91379 w 1618413"/>
                <a:gd name="connsiteY17" fmla="*/ 184076 h 184076"/>
                <a:gd name="connsiteX18" fmla="*/ 5911 w 1618413"/>
                <a:gd name="connsiteY18" fmla="*/ 0 h 18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8413" h="184076">
                  <a:moveTo>
                    <a:pt x="1478513" y="177499"/>
                  </a:moveTo>
                  <a:lnTo>
                    <a:pt x="1485084" y="177499"/>
                  </a:lnTo>
                  <a:lnTo>
                    <a:pt x="1502686" y="178122"/>
                  </a:lnTo>
                  <a:lnTo>
                    <a:pt x="1499879" y="178526"/>
                  </a:lnTo>
                  <a:cubicBezTo>
                    <a:pt x="1487142" y="179142"/>
                    <a:pt x="1478513" y="177499"/>
                    <a:pt x="1478513" y="177499"/>
                  </a:cubicBezTo>
                  <a:close/>
                  <a:moveTo>
                    <a:pt x="84799" y="170928"/>
                  </a:moveTo>
                  <a:cubicBezTo>
                    <a:pt x="97947" y="177499"/>
                    <a:pt x="104518" y="177499"/>
                    <a:pt x="117666" y="177499"/>
                  </a:cubicBezTo>
                  <a:lnTo>
                    <a:pt x="104518" y="177499"/>
                  </a:lnTo>
                  <a:cubicBezTo>
                    <a:pt x="97947" y="177499"/>
                    <a:pt x="91370" y="177499"/>
                    <a:pt x="84799" y="170928"/>
                  </a:cubicBezTo>
                  <a:close/>
                  <a:moveTo>
                    <a:pt x="1603418" y="0"/>
                  </a:moveTo>
                  <a:lnTo>
                    <a:pt x="1616567" y="0"/>
                  </a:lnTo>
                  <a:cubicBezTo>
                    <a:pt x="1631361" y="152847"/>
                    <a:pt x="1553705" y="176266"/>
                    <a:pt x="1511177" y="178423"/>
                  </a:cubicBezTo>
                  <a:lnTo>
                    <a:pt x="1502686" y="178122"/>
                  </a:lnTo>
                  <a:lnTo>
                    <a:pt x="1521501" y="175419"/>
                  </a:lnTo>
                  <a:cubicBezTo>
                    <a:pt x="1560791" y="165788"/>
                    <a:pt x="1611636" y="129836"/>
                    <a:pt x="1603418" y="6571"/>
                  </a:cubicBezTo>
                  <a:close/>
                  <a:moveTo>
                    <a:pt x="5911" y="0"/>
                  </a:moveTo>
                  <a:lnTo>
                    <a:pt x="19060" y="6571"/>
                  </a:lnTo>
                  <a:cubicBezTo>
                    <a:pt x="19060" y="6571"/>
                    <a:pt x="-20385" y="144631"/>
                    <a:pt x="91379" y="184076"/>
                  </a:cubicBezTo>
                  <a:cubicBezTo>
                    <a:pt x="-33534" y="151202"/>
                    <a:pt x="5911" y="0"/>
                    <a:pt x="5911" y="0"/>
                  </a:cubicBezTo>
                  <a:close/>
                </a:path>
              </a:pathLst>
            </a:custGeom>
            <a:solidFill>
              <a:srgbClr val="4D4D4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grpSp>
          <p:nvGrpSpPr>
            <p:cNvPr id="9" name="Group 27">
              <a:extLst>
                <a:ext uri="{FF2B5EF4-FFF2-40B4-BE49-F238E27FC236}">
                  <a16:creationId xmlns:a16="http://schemas.microsoft.com/office/drawing/2014/main" id="{6BC1DAE5-414B-4DF8-85B5-7B918E3DCE98}"/>
                </a:ext>
              </a:extLst>
            </p:cNvPr>
            <p:cNvGrpSpPr/>
            <p:nvPr/>
          </p:nvGrpSpPr>
          <p:grpSpPr>
            <a:xfrm>
              <a:off x="1606" y="6382978"/>
              <a:ext cx="413937" cy="115242"/>
              <a:chOff x="5955" y="6353672"/>
              <a:chExt cx="413937" cy="115242"/>
            </a:xfrm>
          </p:grpSpPr>
          <p:sp>
            <p:nvSpPr>
              <p:cNvPr id="14" name="Rectangle: Rounded Corners 32">
                <a:extLst>
                  <a:ext uri="{FF2B5EF4-FFF2-40B4-BE49-F238E27FC236}">
                    <a16:creationId xmlns:a16="http://schemas.microsoft.com/office/drawing/2014/main" id="{FB011250-DC07-4C0C-A382-B7F80C149DEE}"/>
                  </a:ext>
                </a:extLst>
              </p:cNvPr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5" name="Rectangle: Rounded Corners 33">
                <a:extLst>
                  <a:ext uri="{FF2B5EF4-FFF2-40B4-BE49-F238E27FC236}">
                    <a16:creationId xmlns:a16="http://schemas.microsoft.com/office/drawing/2014/main" id="{93635ADE-7E35-4D6D-A3D2-0470AFCFA0F0}"/>
                  </a:ext>
                </a:extLst>
              </p:cNvPr>
              <p:cNvSpPr/>
              <p:nvPr/>
            </p:nvSpPr>
            <p:spPr>
              <a:xfrm>
                <a:off x="99417" y="6382279"/>
                <a:ext cx="227012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10" name="Group 28">
              <a:extLst>
                <a:ext uri="{FF2B5EF4-FFF2-40B4-BE49-F238E27FC236}">
                  <a16:creationId xmlns:a16="http://schemas.microsoft.com/office/drawing/2014/main" id="{4CD72FD9-E2DC-4278-973C-FA8A0C137628}"/>
                </a:ext>
              </a:extLst>
            </p:cNvPr>
            <p:cNvGrpSpPr/>
            <p:nvPr/>
          </p:nvGrpSpPr>
          <p:grpSpPr>
            <a:xfrm>
              <a:off x="9855291" y="6381600"/>
              <a:ext cx="885989" cy="115242"/>
              <a:chOff x="5955" y="6353672"/>
              <a:chExt cx="413937" cy="115242"/>
            </a:xfrm>
          </p:grpSpPr>
          <p:sp>
            <p:nvSpPr>
              <p:cNvPr id="12" name="Rectangle: Rounded Corners 30">
                <a:extLst>
                  <a:ext uri="{FF2B5EF4-FFF2-40B4-BE49-F238E27FC236}">
                    <a16:creationId xmlns:a16="http://schemas.microsoft.com/office/drawing/2014/main" id="{534D30CE-DF8A-4F25-B1A1-B0ECBCEEC126}"/>
                  </a:ext>
                </a:extLst>
              </p:cNvPr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3" name="Rectangle: Rounded Corners 31">
                <a:extLst>
                  <a:ext uri="{FF2B5EF4-FFF2-40B4-BE49-F238E27FC236}">
                    <a16:creationId xmlns:a16="http://schemas.microsoft.com/office/drawing/2014/main" id="{304A726F-9BA6-4D31-8D52-5145F512C0D8}"/>
                  </a:ext>
                </a:extLst>
              </p:cNvPr>
              <p:cNvSpPr/>
              <p:nvPr/>
            </p:nvSpPr>
            <p:spPr>
              <a:xfrm>
                <a:off x="84761" y="6382279"/>
                <a:ext cx="256326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</p:grpSp>
        <p:sp>
          <p:nvSpPr>
            <p:cNvPr id="11" name="Freeform: Shape 29">
              <a:extLst>
                <a:ext uri="{FF2B5EF4-FFF2-40B4-BE49-F238E27FC236}">
                  <a16:creationId xmlns:a16="http://schemas.microsoft.com/office/drawing/2014/main" id="{2B5D7023-6965-4E5A-B312-584FF741348E}"/>
                </a:ext>
              </a:extLst>
            </p:cNvPr>
            <p:cNvSpPr/>
            <p:nvPr/>
          </p:nvSpPr>
          <p:spPr>
            <a:xfrm>
              <a:off x="3892805" y="496953"/>
              <a:ext cx="5479036" cy="5431217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FD65EFBD-1384-42E6-BC73-BCA91FEC71B5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3842916" y="1917911"/>
            <a:ext cx="4506168" cy="2726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9E4EF15C-FF47-4276-9AF7-4CC0536197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3043018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81444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48889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48">
            <a:extLst>
              <a:ext uri="{FF2B5EF4-FFF2-40B4-BE49-F238E27FC236}">
                <a16:creationId xmlns:a16="http://schemas.microsoft.com/office/drawing/2014/main" id="{E580C4E9-F7E1-450E-BA12-AE1B6B3594EE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2" y="0"/>
            <a:ext cx="12191999" cy="6858000"/>
          </a:xfrm>
          <a:custGeom>
            <a:avLst/>
            <a:gdLst>
              <a:gd name="connsiteX0" fmla="*/ 10699779 w 12191999"/>
              <a:gd name="connsiteY0" fmla="*/ 6099402 h 6858000"/>
              <a:gd name="connsiteX1" fmla="*/ 10700365 w 12191999"/>
              <a:gd name="connsiteY1" fmla="*/ 6104567 h 6858000"/>
              <a:gd name="connsiteX2" fmla="*/ 10702406 w 12191999"/>
              <a:gd name="connsiteY2" fmla="*/ 6099903 h 6858000"/>
              <a:gd name="connsiteX3" fmla="*/ 9177921 w 12191999"/>
              <a:gd name="connsiteY3" fmla="*/ 6098901 h 6858000"/>
              <a:gd name="connsiteX4" fmla="*/ 9178505 w 12191999"/>
              <a:gd name="connsiteY4" fmla="*/ 6100344 h 6858000"/>
              <a:gd name="connsiteX5" fmla="*/ 9178605 w 12191999"/>
              <a:gd name="connsiteY5" fmla="*/ 6102927 h 6858000"/>
              <a:gd name="connsiteX6" fmla="*/ 9183635 w 12191999"/>
              <a:gd name="connsiteY6" fmla="*/ 6102927 h 6858000"/>
              <a:gd name="connsiteX7" fmla="*/ 9185303 w 12191999"/>
              <a:gd name="connsiteY7" fmla="*/ 6100308 h 6858000"/>
              <a:gd name="connsiteX8" fmla="*/ 5342410 w 12191999"/>
              <a:gd name="connsiteY8" fmla="*/ 5330181 h 6858000"/>
              <a:gd name="connsiteX9" fmla="*/ 5338269 w 12191999"/>
              <a:gd name="connsiteY9" fmla="*/ 5332661 h 6858000"/>
              <a:gd name="connsiteX10" fmla="*/ 5322064 w 12191999"/>
              <a:gd name="connsiteY10" fmla="*/ 5334006 h 6858000"/>
              <a:gd name="connsiteX11" fmla="*/ 5335111 w 12191999"/>
              <a:gd name="connsiteY11" fmla="*/ 5336578 h 6858000"/>
              <a:gd name="connsiteX12" fmla="*/ 5337848 w 12191999"/>
              <a:gd name="connsiteY12" fmla="*/ 5340523 h 6858000"/>
              <a:gd name="connsiteX13" fmla="*/ 5338130 w 12191999"/>
              <a:gd name="connsiteY13" fmla="*/ 5335883 h 6858000"/>
              <a:gd name="connsiteX14" fmla="*/ 11820900 w 12191999"/>
              <a:gd name="connsiteY14" fmla="*/ 4311166 h 6858000"/>
              <a:gd name="connsiteX15" fmla="*/ 11955244 w 12191999"/>
              <a:gd name="connsiteY15" fmla="*/ 4373182 h 6858000"/>
              <a:gd name="connsiteX16" fmla="*/ 11941805 w 12191999"/>
              <a:gd name="connsiteY16" fmla="*/ 4490463 h 6858000"/>
              <a:gd name="connsiteX17" fmla="*/ 11911265 w 12191999"/>
              <a:gd name="connsiteY17" fmla="*/ 4531997 h 6858000"/>
              <a:gd name="connsiteX18" fmla="*/ 11974790 w 12191999"/>
              <a:gd name="connsiteY18" fmla="*/ 4572310 h 6858000"/>
              <a:gd name="connsiteX19" fmla="*/ 12175141 w 12191999"/>
              <a:gd name="connsiteY19" fmla="*/ 4571090 h 6858000"/>
              <a:gd name="connsiteX20" fmla="*/ 12191999 w 12191999"/>
              <a:gd name="connsiteY20" fmla="*/ 4574294 h 6858000"/>
              <a:gd name="connsiteX21" fmla="*/ 12191999 w 12191999"/>
              <a:gd name="connsiteY21" fmla="*/ 5337457 h 6858000"/>
              <a:gd name="connsiteX22" fmla="*/ 12177584 w 12191999"/>
              <a:gd name="connsiteY22" fmla="*/ 5340730 h 6858000"/>
              <a:gd name="connsiteX23" fmla="*/ 11982120 w 12191999"/>
              <a:gd name="connsiteY23" fmla="*/ 5339507 h 6858000"/>
              <a:gd name="connsiteX24" fmla="*/ 11928367 w 12191999"/>
              <a:gd name="connsiteY24" fmla="*/ 5354166 h 6858000"/>
              <a:gd name="connsiteX25" fmla="*/ 11927145 w 12191999"/>
              <a:gd name="connsiteY25" fmla="*/ 5409142 h 6858000"/>
              <a:gd name="connsiteX26" fmla="*/ 11971125 w 12191999"/>
              <a:gd name="connsiteY26" fmla="*/ 5504430 h 6858000"/>
              <a:gd name="connsiteX27" fmla="*/ 11873393 w 12191999"/>
              <a:gd name="connsiteY27" fmla="*/ 5592389 h 6858000"/>
              <a:gd name="connsiteX28" fmla="*/ 11703584 w 12191999"/>
              <a:gd name="connsiteY28" fmla="*/ 5530084 h 6858000"/>
              <a:gd name="connsiteX29" fmla="*/ 11723129 w 12191999"/>
              <a:gd name="connsiteY29" fmla="*/ 5417694 h 6858000"/>
              <a:gd name="connsiteX30" fmla="*/ 11751228 w 12191999"/>
              <a:gd name="connsiteY30" fmla="*/ 5374936 h 6858000"/>
              <a:gd name="connsiteX31" fmla="*/ 11690146 w 12191999"/>
              <a:gd name="connsiteY31" fmla="*/ 5338287 h 6858000"/>
              <a:gd name="connsiteX32" fmla="*/ 11489795 w 12191999"/>
              <a:gd name="connsiteY32" fmla="*/ 5339507 h 6858000"/>
              <a:gd name="connsiteX33" fmla="*/ 11447036 w 12191999"/>
              <a:gd name="connsiteY33" fmla="*/ 5295528 h 6858000"/>
              <a:gd name="connsiteX34" fmla="*/ 11449481 w 12191999"/>
              <a:gd name="connsiteY34" fmla="*/ 5202683 h 6858000"/>
              <a:gd name="connsiteX35" fmla="*/ 11449481 w 12191999"/>
              <a:gd name="connsiteY35" fmla="*/ 5092735 h 6858000"/>
              <a:gd name="connsiteX36" fmla="*/ 11492238 w 12191999"/>
              <a:gd name="connsiteY36" fmla="*/ 5018215 h 6858000"/>
              <a:gd name="connsiteX37" fmla="*/ 11545990 w 12191999"/>
              <a:gd name="connsiteY37" fmla="*/ 5025544 h 6858000"/>
              <a:gd name="connsiteX38" fmla="*/ 11668156 w 12191999"/>
              <a:gd name="connsiteY38" fmla="*/ 5051198 h 6858000"/>
              <a:gd name="connsiteX39" fmla="*/ 11682816 w 12191999"/>
              <a:gd name="connsiteY39" fmla="*/ 4877723 h 6858000"/>
              <a:gd name="connsiteX40" fmla="*/ 11555765 w 12191999"/>
              <a:gd name="connsiteY40" fmla="*/ 4874058 h 6858000"/>
              <a:gd name="connsiteX41" fmla="*/ 11508120 w 12191999"/>
              <a:gd name="connsiteY41" fmla="*/ 4902158 h 6858000"/>
              <a:gd name="connsiteX42" fmla="*/ 11450701 w 12191999"/>
              <a:gd name="connsiteY42" fmla="*/ 4839852 h 6858000"/>
              <a:gd name="connsiteX43" fmla="*/ 11448258 w 12191999"/>
              <a:gd name="connsiteY43" fmla="*/ 4591857 h 6858000"/>
              <a:gd name="connsiteX44" fmla="*/ 11477578 w 12191999"/>
              <a:gd name="connsiteY44" fmla="*/ 4573534 h 6858000"/>
              <a:gd name="connsiteX45" fmla="*/ 11677929 w 12191999"/>
              <a:gd name="connsiteY45" fmla="*/ 4573534 h 6858000"/>
              <a:gd name="connsiteX46" fmla="*/ 11728016 w 12191999"/>
              <a:gd name="connsiteY46" fmla="*/ 4562539 h 6858000"/>
              <a:gd name="connsiteX47" fmla="*/ 11735346 w 12191999"/>
              <a:gd name="connsiteY47" fmla="*/ 4500233 h 6858000"/>
              <a:gd name="connsiteX48" fmla="*/ 11768331 w 12191999"/>
              <a:gd name="connsiteY48" fmla="*/ 4323095 h 6858000"/>
              <a:gd name="connsiteX49" fmla="*/ 11820900 w 12191999"/>
              <a:gd name="connsiteY49" fmla="*/ 4311166 h 6858000"/>
              <a:gd name="connsiteX50" fmla="*/ 5742911 w 12191999"/>
              <a:gd name="connsiteY50" fmla="*/ 3557222 h 6858000"/>
              <a:gd name="connsiteX51" fmla="*/ 5851336 w 12191999"/>
              <a:gd name="connsiteY51" fmla="*/ 3613963 h 6858000"/>
              <a:gd name="connsiteX52" fmla="*/ 5840341 w 12191999"/>
              <a:gd name="connsiteY52" fmla="*/ 3736128 h 6858000"/>
              <a:gd name="connsiteX53" fmla="*/ 5811021 w 12191999"/>
              <a:gd name="connsiteY53" fmla="*/ 3780107 h 6858000"/>
              <a:gd name="connsiteX54" fmla="*/ 5873327 w 12191999"/>
              <a:gd name="connsiteY54" fmla="*/ 3815534 h 6858000"/>
              <a:gd name="connsiteX55" fmla="*/ 6082230 w 12191999"/>
              <a:gd name="connsiteY55" fmla="*/ 3814314 h 6858000"/>
              <a:gd name="connsiteX56" fmla="*/ 6115900 w 12191999"/>
              <a:gd name="connsiteY56" fmla="*/ 3831149 h 6858000"/>
              <a:gd name="connsiteX57" fmla="*/ 6116334 w 12191999"/>
              <a:gd name="connsiteY57" fmla="*/ 3835442 h 6858000"/>
              <a:gd name="connsiteX58" fmla="*/ 6135367 w 12191999"/>
              <a:gd name="connsiteY58" fmla="*/ 3820781 h 6858000"/>
              <a:gd name="connsiteX59" fmla="*/ 6165468 w 12191999"/>
              <a:gd name="connsiteY59" fmla="*/ 3821240 h 6858000"/>
              <a:gd name="connsiteX60" fmla="*/ 6250984 w 12191999"/>
              <a:gd name="connsiteY60" fmla="*/ 3822462 h 6858000"/>
              <a:gd name="connsiteX61" fmla="*/ 6356045 w 12191999"/>
              <a:gd name="connsiteY61" fmla="*/ 3822462 h 6858000"/>
              <a:gd name="connsiteX62" fmla="*/ 6434230 w 12191999"/>
              <a:gd name="connsiteY62" fmla="*/ 3873772 h 6858000"/>
              <a:gd name="connsiteX63" fmla="*/ 6401245 w 12191999"/>
              <a:gd name="connsiteY63" fmla="*/ 3938519 h 6858000"/>
              <a:gd name="connsiteX64" fmla="*/ 6395138 w 12191999"/>
              <a:gd name="connsiteY64" fmla="*/ 4039916 h 6858000"/>
              <a:gd name="connsiteX65" fmla="*/ 6574721 w 12191999"/>
              <a:gd name="connsiteY65" fmla="*/ 4054576 h 6858000"/>
              <a:gd name="connsiteX66" fmla="*/ 6575941 w 12191999"/>
              <a:gd name="connsiteY66" fmla="*/ 3931189 h 6858000"/>
              <a:gd name="connsiteX67" fmla="*/ 6547844 w 12191999"/>
              <a:gd name="connsiteY67" fmla="*/ 3883545 h 6858000"/>
              <a:gd name="connsiteX68" fmla="*/ 6610148 w 12191999"/>
              <a:gd name="connsiteY68" fmla="*/ 3826127 h 6858000"/>
              <a:gd name="connsiteX69" fmla="*/ 6856921 w 12191999"/>
              <a:gd name="connsiteY69" fmla="*/ 3823685 h 6858000"/>
              <a:gd name="connsiteX70" fmla="*/ 6875246 w 12191999"/>
              <a:gd name="connsiteY70" fmla="*/ 3853004 h 6858000"/>
              <a:gd name="connsiteX71" fmla="*/ 6875246 w 12191999"/>
              <a:gd name="connsiteY71" fmla="*/ 4053355 h 6858000"/>
              <a:gd name="connsiteX72" fmla="*/ 6892348 w 12191999"/>
              <a:gd name="connsiteY72" fmla="*/ 4110773 h 6858000"/>
              <a:gd name="connsiteX73" fmla="*/ 6948545 w 12191999"/>
              <a:gd name="connsiteY73" fmla="*/ 4110773 h 6858000"/>
              <a:gd name="connsiteX74" fmla="*/ 7117131 w 12191999"/>
              <a:gd name="connsiteY74" fmla="*/ 4126653 h 6858000"/>
              <a:gd name="connsiteX75" fmla="*/ 7080482 w 12191999"/>
              <a:gd name="connsiteY75" fmla="*/ 4328224 h 6858000"/>
              <a:gd name="connsiteX76" fmla="*/ 6959540 w 12191999"/>
              <a:gd name="connsiteY76" fmla="*/ 4317229 h 6858000"/>
              <a:gd name="connsiteX77" fmla="*/ 6914338 w 12191999"/>
              <a:gd name="connsiteY77" fmla="*/ 4287910 h 6858000"/>
              <a:gd name="connsiteX78" fmla="*/ 6877689 w 12191999"/>
              <a:gd name="connsiteY78" fmla="*/ 4350213 h 6858000"/>
              <a:gd name="connsiteX79" fmla="*/ 6878911 w 12191999"/>
              <a:gd name="connsiteY79" fmla="*/ 4550565 h 6858000"/>
              <a:gd name="connsiteX80" fmla="*/ 6838596 w 12191999"/>
              <a:gd name="connsiteY80" fmla="*/ 4592100 h 6858000"/>
              <a:gd name="connsiteX81" fmla="*/ 6648020 w 12191999"/>
              <a:gd name="connsiteY81" fmla="*/ 4590880 h 6858000"/>
              <a:gd name="connsiteX82" fmla="*/ 6594266 w 12191999"/>
              <a:gd name="connsiteY82" fmla="*/ 4604318 h 6858000"/>
              <a:gd name="connsiteX83" fmla="*/ 6591823 w 12191999"/>
              <a:gd name="connsiteY83" fmla="*/ 4662956 h 6858000"/>
              <a:gd name="connsiteX84" fmla="*/ 6589381 w 12191999"/>
              <a:gd name="connsiteY84" fmla="*/ 4819328 h 6858000"/>
              <a:gd name="connsiteX85" fmla="*/ 6375592 w 12191999"/>
              <a:gd name="connsiteY85" fmla="*/ 4796116 h 6858000"/>
              <a:gd name="connsiteX86" fmla="*/ 6385365 w 12191999"/>
              <a:gd name="connsiteY86" fmla="*/ 4670287 h 6858000"/>
              <a:gd name="connsiteX87" fmla="*/ 6415905 w 12191999"/>
              <a:gd name="connsiteY87" fmla="*/ 4628749 h 6858000"/>
              <a:gd name="connsiteX88" fmla="*/ 6351158 w 12191999"/>
              <a:gd name="connsiteY88" fmla="*/ 4589658 h 6858000"/>
              <a:gd name="connsiteX89" fmla="*/ 6150809 w 12191999"/>
              <a:gd name="connsiteY89" fmla="*/ 4590880 h 6858000"/>
              <a:gd name="connsiteX90" fmla="*/ 6117367 w 12191999"/>
              <a:gd name="connsiteY90" fmla="*/ 4582327 h 6858000"/>
              <a:gd name="connsiteX91" fmla="*/ 6114197 w 12191999"/>
              <a:gd name="connsiteY91" fmla="*/ 4575109 h 6858000"/>
              <a:gd name="connsiteX92" fmla="*/ 6109104 w 12191999"/>
              <a:gd name="connsiteY92" fmla="*/ 4582272 h 6858000"/>
              <a:gd name="connsiteX93" fmla="*/ 6087114 w 12191999"/>
              <a:gd name="connsiteY93" fmla="*/ 4586396 h 6858000"/>
              <a:gd name="connsiteX94" fmla="*/ 5863552 w 12191999"/>
              <a:gd name="connsiteY94" fmla="*/ 4586396 h 6858000"/>
              <a:gd name="connsiteX95" fmla="*/ 5802472 w 12191999"/>
              <a:gd name="connsiteY95" fmla="*/ 4555854 h 6858000"/>
              <a:gd name="connsiteX96" fmla="*/ 5807356 w 12191999"/>
              <a:gd name="connsiteY96" fmla="*/ 4480114 h 6858000"/>
              <a:gd name="connsiteX97" fmla="*/ 5847670 w 12191999"/>
              <a:gd name="connsiteY97" fmla="*/ 4403148 h 6858000"/>
              <a:gd name="connsiteX98" fmla="*/ 5752384 w 12191999"/>
              <a:gd name="connsiteY98" fmla="*/ 4329849 h 6858000"/>
              <a:gd name="connsiteX99" fmla="*/ 5628995 w 12191999"/>
              <a:gd name="connsiteY99" fmla="*/ 4372606 h 6858000"/>
              <a:gd name="connsiteX100" fmla="*/ 5638769 w 12191999"/>
              <a:gd name="connsiteY100" fmla="*/ 4470339 h 6858000"/>
              <a:gd name="connsiteX101" fmla="*/ 5674197 w 12191999"/>
              <a:gd name="connsiteY101" fmla="*/ 4527758 h 6858000"/>
              <a:gd name="connsiteX102" fmla="*/ 5591125 w 12191999"/>
              <a:gd name="connsiteY102" fmla="*/ 4586396 h 6858000"/>
              <a:gd name="connsiteX103" fmla="*/ 5377337 w 12191999"/>
              <a:gd name="connsiteY103" fmla="*/ 4586396 h 6858000"/>
              <a:gd name="connsiteX104" fmla="*/ 5346796 w 12191999"/>
              <a:gd name="connsiteY104" fmla="*/ 4553411 h 6858000"/>
              <a:gd name="connsiteX105" fmla="*/ 5348016 w 12191999"/>
              <a:gd name="connsiteY105" fmla="*/ 4353059 h 6858000"/>
              <a:gd name="connsiteX106" fmla="*/ 5327249 w 12191999"/>
              <a:gd name="connsiteY106" fmla="*/ 4291978 h 6858000"/>
              <a:gd name="connsiteX107" fmla="*/ 5278383 w 12191999"/>
              <a:gd name="connsiteY107" fmla="*/ 4293199 h 6858000"/>
              <a:gd name="connsiteX108" fmla="*/ 5174543 w 12191999"/>
              <a:gd name="connsiteY108" fmla="*/ 4337181 h 6858000"/>
              <a:gd name="connsiteX109" fmla="*/ 5089026 w 12191999"/>
              <a:gd name="connsiteY109" fmla="*/ 4221122 h 6858000"/>
              <a:gd name="connsiteX110" fmla="*/ 5144002 w 12191999"/>
              <a:gd name="connsiteY110" fmla="*/ 4078190 h 6858000"/>
              <a:gd name="connsiteX111" fmla="*/ 5264946 w 12191999"/>
              <a:gd name="connsiteY111" fmla="*/ 4087965 h 6858000"/>
              <a:gd name="connsiteX112" fmla="*/ 5311367 w 12191999"/>
              <a:gd name="connsiteY112" fmla="*/ 4117283 h 6858000"/>
              <a:gd name="connsiteX113" fmla="*/ 5346796 w 12191999"/>
              <a:gd name="connsiteY113" fmla="*/ 4054980 h 6858000"/>
              <a:gd name="connsiteX114" fmla="*/ 5345574 w 12191999"/>
              <a:gd name="connsiteY114" fmla="*/ 3849742 h 6858000"/>
              <a:gd name="connsiteX115" fmla="*/ 5381003 w 12191999"/>
              <a:gd name="connsiteY115" fmla="*/ 3811870 h 6858000"/>
              <a:gd name="connsiteX116" fmla="*/ 5486063 w 12191999"/>
              <a:gd name="connsiteY116" fmla="*/ 3815534 h 6858000"/>
              <a:gd name="connsiteX117" fmla="*/ 5596012 w 12191999"/>
              <a:gd name="connsiteY117" fmla="*/ 3815534 h 6858000"/>
              <a:gd name="connsiteX118" fmla="*/ 5650984 w 12191999"/>
              <a:gd name="connsiteY118" fmla="*/ 3777664 h 6858000"/>
              <a:gd name="connsiteX119" fmla="*/ 5625329 w 12191999"/>
              <a:gd name="connsiteY119" fmla="*/ 3738570 h 6858000"/>
              <a:gd name="connsiteX120" fmla="*/ 5649765 w 12191999"/>
              <a:gd name="connsiteY120" fmla="*/ 3576091 h 6858000"/>
              <a:gd name="connsiteX121" fmla="*/ 5700845 w 12191999"/>
              <a:gd name="connsiteY121" fmla="*/ 3557958 h 6858000"/>
              <a:gd name="connsiteX122" fmla="*/ 5742911 w 12191999"/>
              <a:gd name="connsiteY122" fmla="*/ 3557222 h 6858000"/>
              <a:gd name="connsiteX123" fmla="*/ 5726517 w 12191999"/>
              <a:gd name="connsiteY123" fmla="*/ 2017504 h 6858000"/>
              <a:gd name="connsiteX124" fmla="*/ 5834786 w 12191999"/>
              <a:gd name="connsiteY124" fmla="*/ 2083015 h 6858000"/>
              <a:gd name="connsiteX125" fmla="*/ 5820126 w 12191999"/>
              <a:gd name="connsiteY125" fmla="*/ 2192965 h 6858000"/>
              <a:gd name="connsiteX126" fmla="*/ 5787140 w 12191999"/>
              <a:gd name="connsiteY126" fmla="*/ 2236943 h 6858000"/>
              <a:gd name="connsiteX127" fmla="*/ 5855555 w 12191999"/>
              <a:gd name="connsiteY127" fmla="*/ 2277258 h 6858000"/>
              <a:gd name="connsiteX128" fmla="*/ 6041243 w 12191999"/>
              <a:gd name="connsiteY128" fmla="*/ 2276037 h 6858000"/>
              <a:gd name="connsiteX129" fmla="*/ 6093775 w 12191999"/>
              <a:gd name="connsiteY129" fmla="*/ 2326124 h 6858000"/>
              <a:gd name="connsiteX130" fmla="*/ 6092553 w 12191999"/>
              <a:gd name="connsiteY130" fmla="*/ 2516703 h 6858000"/>
              <a:gd name="connsiteX131" fmla="*/ 6121873 w 12191999"/>
              <a:gd name="connsiteY131" fmla="*/ 2577785 h 6858000"/>
              <a:gd name="connsiteX132" fmla="*/ 6154856 w 12191999"/>
              <a:gd name="connsiteY132" fmla="*/ 2574120 h 6858000"/>
              <a:gd name="connsiteX133" fmla="*/ 6351542 w 12191999"/>
              <a:gd name="connsiteY133" fmla="*/ 2611990 h 6858000"/>
              <a:gd name="connsiteX134" fmla="*/ 6352764 w 12191999"/>
              <a:gd name="connsiteY134" fmla="*/ 2708501 h 6858000"/>
              <a:gd name="connsiteX135" fmla="*/ 6300232 w 12191999"/>
              <a:gd name="connsiteY135" fmla="*/ 2779356 h 6858000"/>
              <a:gd name="connsiteX136" fmla="*/ 6170739 w 12191999"/>
              <a:gd name="connsiteY136" fmla="*/ 2769584 h 6858000"/>
              <a:gd name="connsiteX137" fmla="*/ 6129202 w 12191999"/>
              <a:gd name="connsiteY137" fmla="*/ 2742708 h 6858000"/>
              <a:gd name="connsiteX138" fmla="*/ 6093775 w 12191999"/>
              <a:gd name="connsiteY138" fmla="*/ 2800124 h 6858000"/>
              <a:gd name="connsiteX139" fmla="*/ 6094997 w 12191999"/>
              <a:gd name="connsiteY139" fmla="*/ 3009027 h 6858000"/>
              <a:gd name="connsiteX140" fmla="*/ 6054683 w 12191999"/>
              <a:gd name="connsiteY140" fmla="*/ 3046899 h 6858000"/>
              <a:gd name="connsiteX141" fmla="*/ 5859220 w 12191999"/>
              <a:gd name="connsiteY141" fmla="*/ 3045676 h 6858000"/>
              <a:gd name="connsiteX142" fmla="*/ 5805467 w 12191999"/>
              <a:gd name="connsiteY142" fmla="*/ 3060336 h 6858000"/>
              <a:gd name="connsiteX143" fmla="*/ 5804246 w 12191999"/>
              <a:gd name="connsiteY143" fmla="*/ 3116533 h 6858000"/>
              <a:gd name="connsiteX144" fmla="*/ 5849445 w 12191999"/>
              <a:gd name="connsiteY144" fmla="*/ 3206935 h 6858000"/>
              <a:gd name="connsiteX145" fmla="*/ 5751713 w 12191999"/>
              <a:gd name="connsiteY145" fmla="*/ 3299780 h 6858000"/>
              <a:gd name="connsiteX146" fmla="*/ 5581905 w 12191999"/>
              <a:gd name="connsiteY146" fmla="*/ 3237475 h 6858000"/>
              <a:gd name="connsiteX147" fmla="*/ 5601451 w 12191999"/>
              <a:gd name="connsiteY147" fmla="*/ 3125084 h 6858000"/>
              <a:gd name="connsiteX148" fmla="*/ 5629551 w 12191999"/>
              <a:gd name="connsiteY148" fmla="*/ 3083549 h 6858000"/>
              <a:gd name="connsiteX149" fmla="*/ 5573353 w 12191999"/>
              <a:gd name="connsiteY149" fmla="*/ 3045676 h 6858000"/>
              <a:gd name="connsiteX150" fmla="*/ 5430421 w 12191999"/>
              <a:gd name="connsiteY150" fmla="*/ 3045676 h 6858000"/>
              <a:gd name="connsiteX151" fmla="*/ 5324139 w 12191999"/>
              <a:gd name="connsiteY151" fmla="*/ 2938172 h 6858000"/>
              <a:gd name="connsiteX152" fmla="*/ 5324139 w 12191999"/>
              <a:gd name="connsiteY152" fmla="*/ 2805010 h 6858000"/>
              <a:gd name="connsiteX153" fmla="*/ 5355900 w 12191999"/>
              <a:gd name="connsiteY153" fmla="*/ 2734156 h 6858000"/>
              <a:gd name="connsiteX154" fmla="*/ 5427977 w 12191999"/>
              <a:gd name="connsiteY154" fmla="*/ 2737821 h 6858000"/>
              <a:gd name="connsiteX155" fmla="*/ 5508607 w 12191999"/>
              <a:gd name="connsiteY155" fmla="*/ 2780578 h 6858000"/>
              <a:gd name="connsiteX156" fmla="*/ 5581905 w 12191999"/>
              <a:gd name="connsiteY156" fmla="*/ 2674294 h 6858000"/>
              <a:gd name="connsiteX157" fmla="*/ 5537926 w 12191999"/>
              <a:gd name="connsiteY157" fmla="*/ 2560681 h 6858000"/>
              <a:gd name="connsiteX158" fmla="*/ 5440195 w 12191999"/>
              <a:gd name="connsiteY158" fmla="*/ 2570454 h 6858000"/>
              <a:gd name="connsiteX159" fmla="*/ 5382779 w 12191999"/>
              <a:gd name="connsiteY159" fmla="*/ 2605882 h 6858000"/>
              <a:gd name="connsiteX160" fmla="*/ 5324139 w 12191999"/>
              <a:gd name="connsiteY160" fmla="*/ 2527695 h 6858000"/>
              <a:gd name="connsiteX161" fmla="*/ 5322917 w 12191999"/>
              <a:gd name="connsiteY161" fmla="*/ 2304134 h 6858000"/>
              <a:gd name="connsiteX162" fmla="*/ 5351016 w 12191999"/>
              <a:gd name="connsiteY162" fmla="*/ 2278479 h 6858000"/>
              <a:gd name="connsiteX163" fmla="*/ 5556254 w 12191999"/>
              <a:gd name="connsiteY163" fmla="*/ 2278479 h 6858000"/>
              <a:gd name="connsiteX164" fmla="*/ 5610003 w 12191999"/>
              <a:gd name="connsiteY164" fmla="*/ 2263820 h 6858000"/>
              <a:gd name="connsiteX165" fmla="*/ 5611225 w 12191999"/>
              <a:gd name="connsiteY165" fmla="*/ 2203958 h 6858000"/>
              <a:gd name="connsiteX166" fmla="*/ 5606337 w 12191999"/>
              <a:gd name="connsiteY166" fmla="*/ 2053696 h 6858000"/>
              <a:gd name="connsiteX167" fmla="*/ 5726517 w 12191999"/>
              <a:gd name="connsiteY167" fmla="*/ 2017504 h 6858000"/>
              <a:gd name="connsiteX168" fmla="*/ 0 w 12191999"/>
              <a:gd name="connsiteY168" fmla="*/ 0 h 6858000"/>
              <a:gd name="connsiteX169" fmla="*/ 5329115 w 12191999"/>
              <a:gd name="connsiteY169" fmla="*/ 0 h 6858000"/>
              <a:gd name="connsiteX170" fmla="*/ 5332434 w 12191999"/>
              <a:gd name="connsiteY170" fmla="*/ 5729 h 6858000"/>
              <a:gd name="connsiteX171" fmla="*/ 5334132 w 12191999"/>
              <a:gd name="connsiteY171" fmla="*/ 27166 h 6858000"/>
              <a:gd name="connsiteX172" fmla="*/ 5332910 w 12191999"/>
              <a:gd name="connsiteY172" fmla="*/ 227517 h 6858000"/>
              <a:gd name="connsiteX173" fmla="*/ 5346347 w 12191999"/>
              <a:gd name="connsiteY173" fmla="*/ 276382 h 6858000"/>
              <a:gd name="connsiteX174" fmla="*/ 5402544 w 12191999"/>
              <a:gd name="connsiteY174" fmla="*/ 277604 h 6858000"/>
              <a:gd name="connsiteX175" fmla="*/ 5582127 w 12191999"/>
              <a:gd name="connsiteY175" fmla="*/ 317919 h 6858000"/>
              <a:gd name="connsiteX176" fmla="*/ 5523486 w 12191999"/>
              <a:gd name="connsiteY176" fmla="*/ 501165 h 6858000"/>
              <a:gd name="connsiteX177" fmla="*/ 5411097 w 12191999"/>
              <a:gd name="connsiteY177" fmla="*/ 481620 h 6858000"/>
              <a:gd name="connsiteX178" fmla="*/ 5369558 w 12191999"/>
              <a:gd name="connsiteY178" fmla="*/ 453522 h 6858000"/>
              <a:gd name="connsiteX179" fmla="*/ 5332910 w 12191999"/>
              <a:gd name="connsiteY179" fmla="*/ 514605 h 6858000"/>
              <a:gd name="connsiteX180" fmla="*/ 5334132 w 12191999"/>
              <a:gd name="connsiteY180" fmla="*/ 719841 h 6858000"/>
              <a:gd name="connsiteX181" fmla="*/ 5295041 w 12191999"/>
              <a:gd name="connsiteY181" fmla="*/ 760156 h 6858000"/>
              <a:gd name="connsiteX182" fmla="*/ 5094692 w 12191999"/>
              <a:gd name="connsiteY182" fmla="*/ 758935 h 6858000"/>
              <a:gd name="connsiteX183" fmla="*/ 5045820 w 12191999"/>
              <a:gd name="connsiteY183" fmla="*/ 772373 h 6858000"/>
              <a:gd name="connsiteX184" fmla="*/ 5043379 w 12191999"/>
              <a:gd name="connsiteY184" fmla="*/ 831012 h 6858000"/>
              <a:gd name="connsiteX185" fmla="*/ 5031161 w 12191999"/>
              <a:gd name="connsiteY185" fmla="*/ 997156 h 6858000"/>
              <a:gd name="connsiteX186" fmla="*/ 4818594 w 12191999"/>
              <a:gd name="connsiteY186" fmla="*/ 949511 h 6858000"/>
              <a:gd name="connsiteX187" fmla="*/ 4840582 w 12191999"/>
              <a:gd name="connsiteY187" fmla="*/ 837120 h 6858000"/>
              <a:gd name="connsiteX188" fmla="*/ 4866234 w 12191999"/>
              <a:gd name="connsiteY188" fmla="*/ 793140 h 6858000"/>
              <a:gd name="connsiteX189" fmla="*/ 4808822 w 12191999"/>
              <a:gd name="connsiteY189" fmla="*/ 758935 h 6858000"/>
              <a:gd name="connsiteX190" fmla="*/ 4595032 w 12191999"/>
              <a:gd name="connsiteY190" fmla="*/ 760156 h 6858000"/>
              <a:gd name="connsiteX191" fmla="*/ 4573923 w 12191999"/>
              <a:gd name="connsiteY191" fmla="*/ 757192 h 6858000"/>
              <a:gd name="connsiteX192" fmla="*/ 4572290 w 12191999"/>
              <a:gd name="connsiteY192" fmla="*/ 755075 h 6858000"/>
              <a:gd name="connsiteX193" fmla="*/ 4542110 w 12191999"/>
              <a:gd name="connsiteY193" fmla="*/ 755075 h 6858000"/>
              <a:gd name="connsiteX194" fmla="*/ 4532620 w 12191999"/>
              <a:gd name="connsiteY194" fmla="*/ 757803 h 6858000"/>
              <a:gd name="connsiteX195" fmla="*/ 4318830 w 12191999"/>
              <a:gd name="connsiteY195" fmla="*/ 757803 h 6858000"/>
              <a:gd name="connsiteX196" fmla="*/ 4252861 w 12191999"/>
              <a:gd name="connsiteY196" fmla="*/ 727261 h 6858000"/>
              <a:gd name="connsiteX197" fmla="*/ 4257749 w 12191999"/>
              <a:gd name="connsiteY197" fmla="*/ 652741 h 6858000"/>
              <a:gd name="connsiteX198" fmla="*/ 4298063 w 12191999"/>
              <a:gd name="connsiteY198" fmla="*/ 570889 h 6858000"/>
              <a:gd name="connsiteX199" fmla="*/ 4205214 w 12191999"/>
              <a:gd name="connsiteY199" fmla="*/ 501255 h 6858000"/>
              <a:gd name="connsiteX200" fmla="*/ 4087942 w 12191999"/>
              <a:gd name="connsiteY200" fmla="*/ 535462 h 6858000"/>
              <a:gd name="connsiteX201" fmla="*/ 4094050 w 12191999"/>
              <a:gd name="connsiteY201" fmla="*/ 644189 h 6858000"/>
              <a:gd name="connsiteX202" fmla="*/ 4127035 w 12191999"/>
              <a:gd name="connsiteY202" fmla="*/ 700384 h 6858000"/>
              <a:gd name="connsiteX203" fmla="*/ 4057400 w 12191999"/>
              <a:gd name="connsiteY203" fmla="*/ 757803 h 6858000"/>
              <a:gd name="connsiteX204" fmla="*/ 3819179 w 12191999"/>
              <a:gd name="connsiteY204" fmla="*/ 759023 h 6858000"/>
              <a:gd name="connsiteX205" fmla="*/ 3813849 w 12191999"/>
              <a:gd name="connsiteY205" fmla="*/ 756900 h 6858000"/>
              <a:gd name="connsiteX206" fmla="*/ 3810549 w 12191999"/>
              <a:gd name="connsiteY206" fmla="*/ 758781 h 6858000"/>
              <a:gd name="connsiteX207" fmla="*/ 3815750 w 12191999"/>
              <a:gd name="connsiteY207" fmla="*/ 768157 h 6858000"/>
              <a:gd name="connsiteX208" fmla="*/ 3817238 w 12191999"/>
              <a:gd name="connsiteY208" fmla="*/ 788353 h 6858000"/>
              <a:gd name="connsiteX209" fmla="*/ 3816018 w 12191999"/>
              <a:gd name="connsiteY209" fmla="*/ 983816 h 6858000"/>
              <a:gd name="connsiteX210" fmla="*/ 3789144 w 12191999"/>
              <a:gd name="connsiteY210" fmla="*/ 1057116 h 6858000"/>
              <a:gd name="connsiteX211" fmla="*/ 3708516 w 12191999"/>
              <a:gd name="connsiteY211" fmla="*/ 1053451 h 6858000"/>
              <a:gd name="connsiteX212" fmla="*/ 3635219 w 12191999"/>
              <a:gd name="connsiteY212" fmla="*/ 1014358 h 6858000"/>
              <a:gd name="connsiteX213" fmla="*/ 3560696 w 12191999"/>
              <a:gd name="connsiteY213" fmla="*/ 1098651 h 6858000"/>
              <a:gd name="connsiteX214" fmla="*/ 3603457 w 12191999"/>
              <a:gd name="connsiteY214" fmla="*/ 1235477 h 6858000"/>
              <a:gd name="connsiteX215" fmla="*/ 3697521 w 12191999"/>
              <a:gd name="connsiteY215" fmla="*/ 1226924 h 6858000"/>
              <a:gd name="connsiteX216" fmla="*/ 3759825 w 12191999"/>
              <a:gd name="connsiteY216" fmla="*/ 1190276 h 6858000"/>
              <a:gd name="connsiteX217" fmla="*/ 3816018 w 12191999"/>
              <a:gd name="connsiteY217" fmla="*/ 1270905 h 6858000"/>
              <a:gd name="connsiteX218" fmla="*/ 3817238 w 12191999"/>
              <a:gd name="connsiteY218" fmla="*/ 1489580 h 6858000"/>
              <a:gd name="connsiteX219" fmla="*/ 3811589 w 12191999"/>
              <a:gd name="connsiteY219" fmla="*/ 1511264 h 6858000"/>
              <a:gd name="connsiteX220" fmla="*/ 3801031 w 12191999"/>
              <a:gd name="connsiteY220" fmla="*/ 1513846 h 6858000"/>
              <a:gd name="connsiteX221" fmla="*/ 3806488 w 12191999"/>
              <a:gd name="connsiteY221" fmla="*/ 1516917 h 6858000"/>
              <a:gd name="connsiteX222" fmla="*/ 3807926 w 12191999"/>
              <a:gd name="connsiteY222" fmla="*/ 1520360 h 6858000"/>
              <a:gd name="connsiteX223" fmla="*/ 3814241 w 12191999"/>
              <a:gd name="connsiteY223" fmla="*/ 1520360 h 6858000"/>
              <a:gd name="connsiteX224" fmla="*/ 3829058 w 12191999"/>
              <a:gd name="connsiteY224" fmla="*/ 1502514 h 6858000"/>
              <a:gd name="connsiteX225" fmla="*/ 3863824 w 12191999"/>
              <a:gd name="connsiteY225" fmla="*/ 1499658 h 6858000"/>
              <a:gd name="connsiteX226" fmla="*/ 4049516 w 12191999"/>
              <a:gd name="connsiteY226" fmla="*/ 1500879 h 6858000"/>
              <a:gd name="connsiteX227" fmla="*/ 4117929 w 12191999"/>
              <a:gd name="connsiteY227" fmla="*/ 1460565 h 6858000"/>
              <a:gd name="connsiteX228" fmla="*/ 4084945 w 12191999"/>
              <a:gd name="connsiteY228" fmla="*/ 1416587 h 6858000"/>
              <a:gd name="connsiteX229" fmla="*/ 4070285 w 12191999"/>
              <a:gd name="connsiteY229" fmla="*/ 1306638 h 6858000"/>
              <a:gd name="connsiteX230" fmla="*/ 4178554 w 12191999"/>
              <a:gd name="connsiteY230" fmla="*/ 1241127 h 6858000"/>
              <a:gd name="connsiteX231" fmla="*/ 4298729 w 12191999"/>
              <a:gd name="connsiteY231" fmla="*/ 1277318 h 6858000"/>
              <a:gd name="connsiteX232" fmla="*/ 4293841 w 12191999"/>
              <a:gd name="connsiteY232" fmla="*/ 1427580 h 6858000"/>
              <a:gd name="connsiteX233" fmla="*/ 4295062 w 12191999"/>
              <a:gd name="connsiteY233" fmla="*/ 1487441 h 6858000"/>
              <a:gd name="connsiteX234" fmla="*/ 4348815 w 12191999"/>
              <a:gd name="connsiteY234" fmla="*/ 1502101 h 6858000"/>
              <a:gd name="connsiteX235" fmla="*/ 4554055 w 12191999"/>
              <a:gd name="connsiteY235" fmla="*/ 1502101 h 6858000"/>
              <a:gd name="connsiteX236" fmla="*/ 4580339 w 12191999"/>
              <a:gd name="connsiteY236" fmla="*/ 1513955 h 6858000"/>
              <a:gd name="connsiteX237" fmla="*/ 4580382 w 12191999"/>
              <a:gd name="connsiteY237" fmla="*/ 1514287 h 6858000"/>
              <a:gd name="connsiteX238" fmla="*/ 4581432 w 12191999"/>
              <a:gd name="connsiteY238" fmla="*/ 1513558 h 6858000"/>
              <a:gd name="connsiteX239" fmla="*/ 4598057 w 12191999"/>
              <a:gd name="connsiteY239" fmla="*/ 1511994 h 6858000"/>
              <a:gd name="connsiteX240" fmla="*/ 4811845 w 12191999"/>
              <a:gd name="connsiteY240" fmla="*/ 1513216 h 6858000"/>
              <a:gd name="connsiteX241" fmla="*/ 4894918 w 12191999"/>
              <a:gd name="connsiteY241" fmla="*/ 1571855 h 6858000"/>
              <a:gd name="connsiteX242" fmla="*/ 4859491 w 12191999"/>
              <a:gd name="connsiteY242" fmla="*/ 1630493 h 6858000"/>
              <a:gd name="connsiteX243" fmla="*/ 4853383 w 12191999"/>
              <a:gd name="connsiteY243" fmla="*/ 1731891 h 6858000"/>
              <a:gd name="connsiteX244" fmla="*/ 4969438 w 12191999"/>
              <a:gd name="connsiteY244" fmla="*/ 1770984 h 6858000"/>
              <a:gd name="connsiteX245" fmla="*/ 5069614 w 12191999"/>
              <a:gd name="connsiteY245" fmla="*/ 1696462 h 6858000"/>
              <a:gd name="connsiteX246" fmla="*/ 5025634 w 12191999"/>
              <a:gd name="connsiteY246" fmla="*/ 1617055 h 6858000"/>
              <a:gd name="connsiteX247" fmla="*/ 5020749 w 12191999"/>
              <a:gd name="connsiteY247" fmla="*/ 1548643 h 6858000"/>
              <a:gd name="connsiteX248" fmla="*/ 5094050 w 12191999"/>
              <a:gd name="connsiteY248" fmla="*/ 1513216 h 6858000"/>
              <a:gd name="connsiteX249" fmla="*/ 5302949 w 12191999"/>
              <a:gd name="connsiteY249" fmla="*/ 1513216 h 6858000"/>
              <a:gd name="connsiteX250" fmla="*/ 5335935 w 12191999"/>
              <a:gd name="connsiteY250" fmla="*/ 1548643 h 6858000"/>
              <a:gd name="connsiteX251" fmla="*/ 5335935 w 12191999"/>
              <a:gd name="connsiteY251" fmla="*/ 1648817 h 6858000"/>
              <a:gd name="connsiteX252" fmla="*/ 5335935 w 12191999"/>
              <a:gd name="connsiteY252" fmla="*/ 1706237 h 6858000"/>
              <a:gd name="connsiteX253" fmla="*/ 5335935 w 12191999"/>
              <a:gd name="connsiteY253" fmla="*/ 1768539 h 6858000"/>
              <a:gd name="connsiteX254" fmla="*/ 5279741 w 12191999"/>
              <a:gd name="connsiteY254" fmla="*/ 1844283 h 6858000"/>
              <a:gd name="connsiteX255" fmla="*/ 5219879 w 12191999"/>
              <a:gd name="connsiteY255" fmla="*/ 1808854 h 6858000"/>
              <a:gd name="connsiteX256" fmla="*/ 5122147 w 12191999"/>
              <a:gd name="connsiteY256" fmla="*/ 1799081 h 6858000"/>
              <a:gd name="connsiteX257" fmla="*/ 5080610 w 12191999"/>
              <a:gd name="connsiteY257" fmla="*/ 1935906 h 6858000"/>
              <a:gd name="connsiteX258" fmla="*/ 5156351 w 12191999"/>
              <a:gd name="connsiteY258" fmla="*/ 2018979 h 6858000"/>
              <a:gd name="connsiteX259" fmla="*/ 5229651 w 12191999"/>
              <a:gd name="connsiteY259" fmla="*/ 1978665 h 6858000"/>
              <a:gd name="connsiteX260" fmla="*/ 5311502 w 12191999"/>
              <a:gd name="connsiteY260" fmla="*/ 1977443 h 6858000"/>
              <a:gd name="connsiteX261" fmla="*/ 5335935 w 12191999"/>
              <a:gd name="connsiteY261" fmla="*/ 2047077 h 6858000"/>
              <a:gd name="connsiteX262" fmla="*/ 5335935 w 12191999"/>
              <a:gd name="connsiteY262" fmla="*/ 2247429 h 6858000"/>
              <a:gd name="connsiteX263" fmla="*/ 5300506 w 12191999"/>
              <a:gd name="connsiteY263" fmla="*/ 2284079 h 6858000"/>
              <a:gd name="connsiteX264" fmla="*/ 5091606 w 12191999"/>
              <a:gd name="connsiteY264" fmla="*/ 2282856 h 6858000"/>
              <a:gd name="connsiteX265" fmla="*/ 5030522 w 12191999"/>
              <a:gd name="connsiteY265" fmla="*/ 2320726 h 6858000"/>
              <a:gd name="connsiteX266" fmla="*/ 5058619 w 12191999"/>
              <a:gd name="connsiteY266" fmla="*/ 2362263 h 6858000"/>
              <a:gd name="connsiteX267" fmla="*/ 5070837 w 12191999"/>
              <a:gd name="connsiteY267" fmla="*/ 2486872 h 6858000"/>
              <a:gd name="connsiteX268" fmla="*/ 4926682 w 12191999"/>
              <a:gd name="connsiteY268" fmla="*/ 2539402 h 6858000"/>
              <a:gd name="connsiteX269" fmla="*/ 4813067 w 12191999"/>
              <a:gd name="connsiteY269" fmla="*/ 2452666 h 6858000"/>
              <a:gd name="connsiteX270" fmla="*/ 4855825 w 12191999"/>
              <a:gd name="connsiteY270" fmla="*/ 2352491 h 6858000"/>
              <a:gd name="connsiteX271" fmla="*/ 4853383 w 12191999"/>
              <a:gd name="connsiteY271" fmla="*/ 2296294 h 6858000"/>
              <a:gd name="connsiteX272" fmla="*/ 4799629 w 12191999"/>
              <a:gd name="connsiteY272" fmla="*/ 2281634 h 6858000"/>
              <a:gd name="connsiteX273" fmla="*/ 4633486 w 12191999"/>
              <a:gd name="connsiteY273" fmla="*/ 2281634 h 6858000"/>
              <a:gd name="connsiteX274" fmla="*/ 4568545 w 12191999"/>
              <a:gd name="connsiteY274" fmla="*/ 2254834 h 6858000"/>
              <a:gd name="connsiteX275" fmla="*/ 4568533 w 12191999"/>
              <a:gd name="connsiteY275" fmla="*/ 2254378 h 6858000"/>
              <a:gd name="connsiteX276" fmla="*/ 4567644 w 12191999"/>
              <a:gd name="connsiteY276" fmla="*/ 2255861 h 6858000"/>
              <a:gd name="connsiteX277" fmla="*/ 4544720 w 12191999"/>
              <a:gd name="connsiteY277" fmla="*/ 2264404 h 6858000"/>
              <a:gd name="connsiteX278" fmla="*/ 4554906 w 12191999"/>
              <a:gd name="connsiteY278" fmla="*/ 2264379 h 6858000"/>
              <a:gd name="connsiteX279" fmla="*/ 4573231 w 12191999"/>
              <a:gd name="connsiteY279" fmla="*/ 2293699 h 6858000"/>
              <a:gd name="connsiteX280" fmla="*/ 4573231 w 12191999"/>
              <a:gd name="connsiteY280" fmla="*/ 2494050 h 6858000"/>
              <a:gd name="connsiteX281" fmla="*/ 4590334 w 12191999"/>
              <a:gd name="connsiteY281" fmla="*/ 2551467 h 6858000"/>
              <a:gd name="connsiteX282" fmla="*/ 4646530 w 12191999"/>
              <a:gd name="connsiteY282" fmla="*/ 2551467 h 6858000"/>
              <a:gd name="connsiteX283" fmla="*/ 4815115 w 12191999"/>
              <a:gd name="connsiteY283" fmla="*/ 2567347 h 6858000"/>
              <a:gd name="connsiteX284" fmla="*/ 4778466 w 12191999"/>
              <a:gd name="connsiteY284" fmla="*/ 2768920 h 6858000"/>
              <a:gd name="connsiteX285" fmla="*/ 4657524 w 12191999"/>
              <a:gd name="connsiteY285" fmla="*/ 2757926 h 6858000"/>
              <a:gd name="connsiteX286" fmla="*/ 4612323 w 12191999"/>
              <a:gd name="connsiteY286" fmla="*/ 2728606 h 6858000"/>
              <a:gd name="connsiteX287" fmla="*/ 4575675 w 12191999"/>
              <a:gd name="connsiteY287" fmla="*/ 2790910 h 6858000"/>
              <a:gd name="connsiteX288" fmla="*/ 4576894 w 12191999"/>
              <a:gd name="connsiteY288" fmla="*/ 2991261 h 6858000"/>
              <a:gd name="connsiteX289" fmla="*/ 4570481 w 12191999"/>
              <a:gd name="connsiteY289" fmla="*/ 3024856 h 6858000"/>
              <a:gd name="connsiteX290" fmla="*/ 4561944 w 12191999"/>
              <a:gd name="connsiteY290" fmla="*/ 3029609 h 6858000"/>
              <a:gd name="connsiteX291" fmla="*/ 4568608 w 12191999"/>
              <a:gd name="connsiteY291" fmla="*/ 3030206 h 6858000"/>
              <a:gd name="connsiteX292" fmla="*/ 4578857 w 12191999"/>
              <a:gd name="connsiteY292" fmla="*/ 3036715 h 6858000"/>
              <a:gd name="connsiteX293" fmla="*/ 4581540 w 12191999"/>
              <a:gd name="connsiteY293" fmla="*/ 3051267 h 6858000"/>
              <a:gd name="connsiteX294" fmla="*/ 4595169 w 12191999"/>
              <a:gd name="connsiteY294" fmla="*/ 3045892 h 6858000"/>
              <a:gd name="connsiteX295" fmla="*/ 4620385 w 12191999"/>
              <a:gd name="connsiteY295" fmla="*/ 3045454 h 6858000"/>
              <a:gd name="connsiteX296" fmla="*/ 4806076 w 12191999"/>
              <a:gd name="connsiteY296" fmla="*/ 3046674 h 6858000"/>
              <a:gd name="connsiteX297" fmla="*/ 4874487 w 12191999"/>
              <a:gd name="connsiteY297" fmla="*/ 3006359 h 6858000"/>
              <a:gd name="connsiteX298" fmla="*/ 4841504 w 12191999"/>
              <a:gd name="connsiteY298" fmla="*/ 2962382 h 6858000"/>
              <a:gd name="connsiteX299" fmla="*/ 4826843 w 12191999"/>
              <a:gd name="connsiteY299" fmla="*/ 2852433 h 6858000"/>
              <a:gd name="connsiteX300" fmla="*/ 5055294 w 12191999"/>
              <a:gd name="connsiteY300" fmla="*/ 2823113 h 6858000"/>
              <a:gd name="connsiteX301" fmla="*/ 5050406 w 12191999"/>
              <a:gd name="connsiteY301" fmla="*/ 2973375 h 6858000"/>
              <a:gd name="connsiteX302" fmla="*/ 5051628 w 12191999"/>
              <a:gd name="connsiteY302" fmla="*/ 3033236 h 6858000"/>
              <a:gd name="connsiteX303" fmla="*/ 5105382 w 12191999"/>
              <a:gd name="connsiteY303" fmla="*/ 3047896 h 6858000"/>
              <a:gd name="connsiteX304" fmla="*/ 5310620 w 12191999"/>
              <a:gd name="connsiteY304" fmla="*/ 3047896 h 6858000"/>
              <a:gd name="connsiteX305" fmla="*/ 5338715 w 12191999"/>
              <a:gd name="connsiteY305" fmla="*/ 3073551 h 6858000"/>
              <a:gd name="connsiteX306" fmla="*/ 5337493 w 12191999"/>
              <a:gd name="connsiteY306" fmla="*/ 3297112 h 6858000"/>
              <a:gd name="connsiteX307" fmla="*/ 5278853 w 12191999"/>
              <a:gd name="connsiteY307" fmla="*/ 3375299 h 6858000"/>
              <a:gd name="connsiteX308" fmla="*/ 5221435 w 12191999"/>
              <a:gd name="connsiteY308" fmla="*/ 3339871 h 6858000"/>
              <a:gd name="connsiteX309" fmla="*/ 5123706 w 12191999"/>
              <a:gd name="connsiteY309" fmla="*/ 3330097 h 6858000"/>
              <a:gd name="connsiteX310" fmla="*/ 5079725 w 12191999"/>
              <a:gd name="connsiteY310" fmla="*/ 3443711 h 6858000"/>
              <a:gd name="connsiteX311" fmla="*/ 5153026 w 12191999"/>
              <a:gd name="connsiteY311" fmla="*/ 3549995 h 6858000"/>
              <a:gd name="connsiteX312" fmla="*/ 5233655 w 12191999"/>
              <a:gd name="connsiteY312" fmla="*/ 3507238 h 6858000"/>
              <a:gd name="connsiteX313" fmla="*/ 5305732 w 12191999"/>
              <a:gd name="connsiteY313" fmla="*/ 3503573 h 6858000"/>
              <a:gd name="connsiteX314" fmla="*/ 5337493 w 12191999"/>
              <a:gd name="connsiteY314" fmla="*/ 3574428 h 6858000"/>
              <a:gd name="connsiteX315" fmla="*/ 5337493 w 12191999"/>
              <a:gd name="connsiteY315" fmla="*/ 3707588 h 6858000"/>
              <a:gd name="connsiteX316" fmla="*/ 5231209 w 12191999"/>
              <a:gd name="connsiteY316" fmla="*/ 3815093 h 6858000"/>
              <a:gd name="connsiteX317" fmla="*/ 5088277 w 12191999"/>
              <a:gd name="connsiteY317" fmla="*/ 3815093 h 6858000"/>
              <a:gd name="connsiteX318" fmla="*/ 5032081 w 12191999"/>
              <a:gd name="connsiteY318" fmla="*/ 3852965 h 6858000"/>
              <a:gd name="connsiteX319" fmla="*/ 5060180 w 12191999"/>
              <a:gd name="connsiteY319" fmla="*/ 3894500 h 6858000"/>
              <a:gd name="connsiteX320" fmla="*/ 5079725 w 12191999"/>
              <a:gd name="connsiteY320" fmla="*/ 4006891 h 6858000"/>
              <a:gd name="connsiteX321" fmla="*/ 4909915 w 12191999"/>
              <a:gd name="connsiteY321" fmla="*/ 4069196 h 6858000"/>
              <a:gd name="connsiteX322" fmla="*/ 4812184 w 12191999"/>
              <a:gd name="connsiteY322" fmla="*/ 3976351 h 6858000"/>
              <a:gd name="connsiteX323" fmla="*/ 4857383 w 12191999"/>
              <a:gd name="connsiteY323" fmla="*/ 3885949 h 6858000"/>
              <a:gd name="connsiteX324" fmla="*/ 4856163 w 12191999"/>
              <a:gd name="connsiteY324" fmla="*/ 3829753 h 6858000"/>
              <a:gd name="connsiteX325" fmla="*/ 4802409 w 12191999"/>
              <a:gd name="connsiteY325" fmla="*/ 3815093 h 6858000"/>
              <a:gd name="connsiteX326" fmla="*/ 4606946 w 12191999"/>
              <a:gd name="connsiteY326" fmla="*/ 3816315 h 6858000"/>
              <a:gd name="connsiteX327" fmla="*/ 4581843 w 12191999"/>
              <a:gd name="connsiteY327" fmla="*/ 3811533 h 6858000"/>
              <a:gd name="connsiteX328" fmla="*/ 4581798 w 12191999"/>
              <a:gd name="connsiteY328" fmla="*/ 3821095 h 6858000"/>
              <a:gd name="connsiteX329" fmla="*/ 4581798 w 12191999"/>
              <a:gd name="connsiteY329" fmla="*/ 4049544 h 6858000"/>
              <a:gd name="connsiteX330" fmla="*/ 4528044 w 12191999"/>
              <a:gd name="connsiteY330" fmla="*/ 4121621 h 6858000"/>
              <a:gd name="connsiteX331" fmla="*/ 4468182 w 12191999"/>
              <a:gd name="connsiteY331" fmla="*/ 4089859 h 6858000"/>
              <a:gd name="connsiteX332" fmla="*/ 4364344 w 12191999"/>
              <a:gd name="connsiteY332" fmla="*/ 4081306 h 6858000"/>
              <a:gd name="connsiteX333" fmla="*/ 4360678 w 12191999"/>
              <a:gd name="connsiteY333" fmla="*/ 4271879 h 6858000"/>
              <a:gd name="connsiteX334" fmla="*/ 4469406 w 12191999"/>
              <a:gd name="connsiteY334" fmla="*/ 4266992 h 6858000"/>
              <a:gd name="connsiteX335" fmla="*/ 4529266 w 12191999"/>
              <a:gd name="connsiteY335" fmla="*/ 4235230 h 6858000"/>
              <a:gd name="connsiteX336" fmla="*/ 4583017 w 12191999"/>
              <a:gd name="connsiteY336" fmla="*/ 4312195 h 6858000"/>
              <a:gd name="connsiteX337" fmla="*/ 4585462 w 12191999"/>
              <a:gd name="connsiteY337" fmla="*/ 4420922 h 6858000"/>
              <a:gd name="connsiteX338" fmla="*/ 4585462 w 12191999"/>
              <a:gd name="connsiteY338" fmla="*/ 4535755 h 6858000"/>
              <a:gd name="connsiteX339" fmla="*/ 4580270 w 12191999"/>
              <a:gd name="connsiteY339" fmla="*/ 4556981 h 6858000"/>
              <a:gd name="connsiteX340" fmla="*/ 4558623 w 12191999"/>
              <a:gd name="connsiteY340" fmla="*/ 4562623 h 6858000"/>
              <a:gd name="connsiteX341" fmla="*/ 4558623 w 12191999"/>
              <a:gd name="connsiteY341" fmla="*/ 4566440 h 6858000"/>
              <a:gd name="connsiteX342" fmla="*/ 4573343 w 12191999"/>
              <a:gd name="connsiteY342" fmla="*/ 4568280 h 6858000"/>
              <a:gd name="connsiteX343" fmla="*/ 4583997 w 12191999"/>
              <a:gd name="connsiteY343" fmla="*/ 4582238 h 6858000"/>
              <a:gd name="connsiteX344" fmla="*/ 4584236 w 12191999"/>
              <a:gd name="connsiteY344" fmla="*/ 4584622 h 6858000"/>
              <a:gd name="connsiteX345" fmla="*/ 4590467 w 12191999"/>
              <a:gd name="connsiteY345" fmla="*/ 4573843 h 6858000"/>
              <a:gd name="connsiteX346" fmla="*/ 4626810 w 12191999"/>
              <a:gd name="connsiteY346" fmla="*/ 4567125 h 6858000"/>
              <a:gd name="connsiteX347" fmla="*/ 4827160 w 12191999"/>
              <a:gd name="connsiteY347" fmla="*/ 4567125 h 6858000"/>
              <a:gd name="connsiteX348" fmla="*/ 4890685 w 12191999"/>
              <a:gd name="connsiteY348" fmla="*/ 4591556 h 6858000"/>
              <a:gd name="connsiteX349" fmla="*/ 4887021 w 12191999"/>
              <a:gd name="connsiteY349" fmla="*/ 4672186 h 6858000"/>
              <a:gd name="connsiteX350" fmla="*/ 4847929 w 12191999"/>
              <a:gd name="connsiteY350" fmla="*/ 4741820 h 6858000"/>
              <a:gd name="connsiteX351" fmla="*/ 4920006 w 12191999"/>
              <a:gd name="connsiteY351" fmla="*/ 4817562 h 6858000"/>
              <a:gd name="connsiteX352" fmla="*/ 5064161 w 12191999"/>
              <a:gd name="connsiteY352" fmla="*/ 4784578 h 6858000"/>
              <a:gd name="connsiteX353" fmla="*/ 5056831 w 12191999"/>
              <a:gd name="connsiteY353" fmla="*/ 4679516 h 6858000"/>
              <a:gd name="connsiteX354" fmla="*/ 5022625 w 12191999"/>
              <a:gd name="connsiteY354" fmla="*/ 4624541 h 6858000"/>
              <a:gd name="connsiteX355" fmla="*/ 5092258 w 12191999"/>
              <a:gd name="connsiteY355" fmla="*/ 4568344 h 6858000"/>
              <a:gd name="connsiteX356" fmla="*/ 5330479 w 12191999"/>
              <a:gd name="connsiteY356" fmla="*/ 4567125 h 6858000"/>
              <a:gd name="connsiteX357" fmla="*/ 5353691 w 12191999"/>
              <a:gd name="connsiteY357" fmla="*/ 4597667 h 6858000"/>
              <a:gd name="connsiteX358" fmla="*/ 5353691 w 12191999"/>
              <a:gd name="connsiteY358" fmla="*/ 4802902 h 6858000"/>
              <a:gd name="connsiteX359" fmla="*/ 5372016 w 12191999"/>
              <a:gd name="connsiteY359" fmla="*/ 4859100 h 6858000"/>
              <a:gd name="connsiteX360" fmla="*/ 5422104 w 12191999"/>
              <a:gd name="connsiteY360" fmla="*/ 4856655 h 6858000"/>
              <a:gd name="connsiteX361" fmla="*/ 5512505 w 12191999"/>
              <a:gd name="connsiteY361" fmla="*/ 4809011 h 6858000"/>
              <a:gd name="connsiteX362" fmla="*/ 5607793 w 12191999"/>
              <a:gd name="connsiteY362" fmla="*/ 4905522 h 6858000"/>
              <a:gd name="connsiteX363" fmla="*/ 5562593 w 12191999"/>
              <a:gd name="connsiteY363" fmla="*/ 5065559 h 6858000"/>
              <a:gd name="connsiteX364" fmla="*/ 5430656 w 12191999"/>
              <a:gd name="connsiteY364" fmla="*/ 5057007 h 6858000"/>
              <a:gd name="connsiteX365" fmla="*/ 5392783 w 12191999"/>
              <a:gd name="connsiteY365" fmla="*/ 5030132 h 6858000"/>
              <a:gd name="connsiteX366" fmla="*/ 5354913 w 12191999"/>
              <a:gd name="connsiteY366" fmla="*/ 5085106 h 6858000"/>
              <a:gd name="connsiteX367" fmla="*/ 5356135 w 12191999"/>
              <a:gd name="connsiteY367" fmla="*/ 5294008 h 6858000"/>
              <a:gd name="connsiteX368" fmla="*/ 5350738 w 12191999"/>
              <a:gd name="connsiteY368" fmla="*/ 5321930 h 6858000"/>
              <a:gd name="connsiteX369" fmla="*/ 5371287 w 12191999"/>
              <a:gd name="connsiteY369" fmla="*/ 5318874 h 6858000"/>
              <a:gd name="connsiteX370" fmla="*/ 5585072 w 12191999"/>
              <a:gd name="connsiteY370" fmla="*/ 5318874 h 6858000"/>
              <a:gd name="connsiteX371" fmla="*/ 5651043 w 12191999"/>
              <a:gd name="connsiteY371" fmla="*/ 5349416 h 6858000"/>
              <a:gd name="connsiteX372" fmla="*/ 5646155 w 12191999"/>
              <a:gd name="connsiteY372" fmla="*/ 5421493 h 6858000"/>
              <a:gd name="connsiteX373" fmla="*/ 5603399 w 12191999"/>
              <a:gd name="connsiteY373" fmla="*/ 5498458 h 6858000"/>
              <a:gd name="connsiteX374" fmla="*/ 5692578 w 12191999"/>
              <a:gd name="connsiteY374" fmla="*/ 5574200 h 6858000"/>
              <a:gd name="connsiteX375" fmla="*/ 5812299 w 12191999"/>
              <a:gd name="connsiteY375" fmla="*/ 5544881 h 6858000"/>
              <a:gd name="connsiteX376" fmla="*/ 5808637 w 12191999"/>
              <a:gd name="connsiteY376" fmla="*/ 5430047 h 6858000"/>
              <a:gd name="connsiteX377" fmla="*/ 5778092 w 12191999"/>
              <a:gd name="connsiteY377" fmla="*/ 5378737 h 6858000"/>
              <a:gd name="connsiteX378" fmla="*/ 5837954 w 12191999"/>
              <a:gd name="connsiteY378" fmla="*/ 5323761 h 6858000"/>
              <a:gd name="connsiteX379" fmla="*/ 6089611 w 12191999"/>
              <a:gd name="connsiteY379" fmla="*/ 5320096 h 6858000"/>
              <a:gd name="connsiteX380" fmla="*/ 6106714 w 12191999"/>
              <a:gd name="connsiteY380" fmla="*/ 5345752 h 6858000"/>
              <a:gd name="connsiteX381" fmla="*/ 6106714 w 12191999"/>
              <a:gd name="connsiteY381" fmla="*/ 5574200 h 6858000"/>
              <a:gd name="connsiteX382" fmla="*/ 6052963 w 12191999"/>
              <a:gd name="connsiteY382" fmla="*/ 5646278 h 6858000"/>
              <a:gd name="connsiteX383" fmla="*/ 5993101 w 12191999"/>
              <a:gd name="connsiteY383" fmla="*/ 5614516 h 6858000"/>
              <a:gd name="connsiteX384" fmla="*/ 5889264 w 12191999"/>
              <a:gd name="connsiteY384" fmla="*/ 5605962 h 6858000"/>
              <a:gd name="connsiteX385" fmla="*/ 5885598 w 12191999"/>
              <a:gd name="connsiteY385" fmla="*/ 5796541 h 6858000"/>
              <a:gd name="connsiteX386" fmla="*/ 5994323 w 12191999"/>
              <a:gd name="connsiteY386" fmla="*/ 5791654 h 6858000"/>
              <a:gd name="connsiteX387" fmla="*/ 6054184 w 12191999"/>
              <a:gd name="connsiteY387" fmla="*/ 5759891 h 6858000"/>
              <a:gd name="connsiteX388" fmla="*/ 6107935 w 12191999"/>
              <a:gd name="connsiteY388" fmla="*/ 5836855 h 6858000"/>
              <a:gd name="connsiteX389" fmla="*/ 6110381 w 12191999"/>
              <a:gd name="connsiteY389" fmla="*/ 5945582 h 6858000"/>
              <a:gd name="connsiteX390" fmla="*/ 6110381 w 12191999"/>
              <a:gd name="connsiteY390" fmla="*/ 6060417 h 6858000"/>
              <a:gd name="connsiteX391" fmla="*/ 6106055 w 12191999"/>
              <a:gd name="connsiteY391" fmla="*/ 6078094 h 6858000"/>
              <a:gd name="connsiteX392" fmla="*/ 6108059 w 12191999"/>
              <a:gd name="connsiteY392" fmla="*/ 6078201 h 6858000"/>
              <a:gd name="connsiteX393" fmla="*/ 6121268 w 12191999"/>
              <a:gd name="connsiteY393" fmla="*/ 6085837 h 6858000"/>
              <a:gd name="connsiteX394" fmla="*/ 6125405 w 12191999"/>
              <a:gd name="connsiteY394" fmla="*/ 6096044 h 6858000"/>
              <a:gd name="connsiteX395" fmla="*/ 6126156 w 12191999"/>
              <a:gd name="connsiteY395" fmla="*/ 6094323 h 6858000"/>
              <a:gd name="connsiteX396" fmla="*/ 6161736 w 12191999"/>
              <a:gd name="connsiteY396" fmla="*/ 6086077 h 6858000"/>
              <a:gd name="connsiteX397" fmla="*/ 6366973 w 12191999"/>
              <a:gd name="connsiteY397" fmla="*/ 6086077 h 6858000"/>
              <a:gd name="connsiteX398" fmla="*/ 6439050 w 12191999"/>
              <a:gd name="connsiteY398" fmla="*/ 6125170 h 6858000"/>
              <a:gd name="connsiteX399" fmla="*/ 6431720 w 12191999"/>
              <a:gd name="connsiteY399" fmla="*/ 6186252 h 6858000"/>
              <a:gd name="connsiteX400" fmla="*/ 6388963 w 12191999"/>
              <a:gd name="connsiteY400" fmla="*/ 6279097 h 6858000"/>
              <a:gd name="connsiteX401" fmla="*/ 6524567 w 12191999"/>
              <a:gd name="connsiteY401" fmla="*/ 6343846 h 6858000"/>
              <a:gd name="connsiteX402" fmla="*/ 6624741 w 12191999"/>
              <a:gd name="connsiteY402" fmla="*/ 6260772 h 6858000"/>
              <a:gd name="connsiteX403" fmla="*/ 6589314 w 12191999"/>
              <a:gd name="connsiteY403" fmla="*/ 6197247 h 6858000"/>
              <a:gd name="connsiteX404" fmla="*/ 6559994 w 12191999"/>
              <a:gd name="connsiteY404" fmla="*/ 6139830 h 6858000"/>
              <a:gd name="connsiteX405" fmla="*/ 6622298 w 12191999"/>
              <a:gd name="connsiteY405" fmla="*/ 6087298 h 6858000"/>
              <a:gd name="connsiteX406" fmla="*/ 6870294 w 12191999"/>
              <a:gd name="connsiteY406" fmla="*/ 6086077 h 6858000"/>
              <a:gd name="connsiteX407" fmla="*/ 6878000 w 12191999"/>
              <a:gd name="connsiteY407" fmla="*/ 6089431 h 6858000"/>
              <a:gd name="connsiteX408" fmla="*/ 6879007 w 12191999"/>
              <a:gd name="connsiteY408" fmla="*/ 6086924 h 6858000"/>
              <a:gd name="connsiteX409" fmla="*/ 6877557 w 12191999"/>
              <a:gd name="connsiteY409" fmla="*/ 6084401 h 6858000"/>
              <a:gd name="connsiteX410" fmla="*/ 6876069 w 12191999"/>
              <a:gd name="connsiteY410" fmla="*/ 6064396 h 6858000"/>
              <a:gd name="connsiteX411" fmla="*/ 6877291 w 12191999"/>
              <a:gd name="connsiteY411" fmla="*/ 5860381 h 6858000"/>
              <a:gd name="connsiteX412" fmla="*/ 6835754 w 12191999"/>
              <a:gd name="connsiteY412" fmla="*/ 5796854 h 6858000"/>
              <a:gd name="connsiteX413" fmla="*/ 6794219 w 12191999"/>
              <a:gd name="connsiteY413" fmla="*/ 5827396 h 6858000"/>
              <a:gd name="connsiteX414" fmla="*/ 6672053 w 12191999"/>
              <a:gd name="connsiteY414" fmla="*/ 5838391 h 6858000"/>
              <a:gd name="connsiteX415" fmla="*/ 6618301 w 12191999"/>
              <a:gd name="connsiteY415" fmla="*/ 5690570 h 6858000"/>
              <a:gd name="connsiteX416" fmla="*/ 6707480 w 12191999"/>
              <a:gd name="connsiteY416" fmla="*/ 5578181 h 6858000"/>
              <a:gd name="connsiteX417" fmla="*/ 6806435 w 12191999"/>
              <a:gd name="connsiteY417" fmla="*/ 5623380 h 6858000"/>
              <a:gd name="connsiteX418" fmla="*/ 6856522 w 12191999"/>
              <a:gd name="connsiteY418" fmla="*/ 5623380 h 6858000"/>
              <a:gd name="connsiteX419" fmla="*/ 6876069 w 12191999"/>
              <a:gd name="connsiteY419" fmla="*/ 5567184 h 6858000"/>
              <a:gd name="connsiteX420" fmla="*/ 6874847 w 12191999"/>
              <a:gd name="connsiteY420" fmla="*/ 5371720 h 6858000"/>
              <a:gd name="connsiteX421" fmla="*/ 6912719 w 12191999"/>
              <a:gd name="connsiteY421" fmla="*/ 5332627 h 6858000"/>
              <a:gd name="connsiteX422" fmla="*/ 7113069 w 12191999"/>
              <a:gd name="connsiteY422" fmla="*/ 5333849 h 6858000"/>
              <a:gd name="connsiteX423" fmla="*/ 7179039 w 12191999"/>
              <a:gd name="connsiteY423" fmla="*/ 5295978 h 6858000"/>
              <a:gd name="connsiteX424" fmla="*/ 7147275 w 12191999"/>
              <a:gd name="connsiteY424" fmla="*/ 5250776 h 6858000"/>
              <a:gd name="connsiteX425" fmla="*/ 7136280 w 12191999"/>
              <a:gd name="connsiteY425" fmla="*/ 5133498 h 6858000"/>
              <a:gd name="connsiteX426" fmla="*/ 7292651 w 12191999"/>
              <a:gd name="connsiteY426" fmla="*/ 5078525 h 6858000"/>
              <a:gd name="connsiteX427" fmla="*/ 7400157 w 12191999"/>
              <a:gd name="connsiteY427" fmla="*/ 5167705 h 6858000"/>
              <a:gd name="connsiteX428" fmla="*/ 7354955 w 12191999"/>
              <a:gd name="connsiteY428" fmla="*/ 5264216 h 6858000"/>
              <a:gd name="connsiteX429" fmla="*/ 7357398 w 12191999"/>
              <a:gd name="connsiteY429" fmla="*/ 5319191 h 6858000"/>
              <a:gd name="connsiteX430" fmla="*/ 7409930 w 12191999"/>
              <a:gd name="connsiteY430" fmla="*/ 5335071 h 6858000"/>
              <a:gd name="connsiteX431" fmla="*/ 7615166 w 12191999"/>
              <a:gd name="connsiteY431" fmla="*/ 5333849 h 6858000"/>
              <a:gd name="connsiteX432" fmla="*/ 7644486 w 12191999"/>
              <a:gd name="connsiteY432" fmla="*/ 5363168 h 6858000"/>
              <a:gd name="connsiteX433" fmla="*/ 7644486 w 12191999"/>
              <a:gd name="connsiteY433" fmla="*/ 5581843 h 6858000"/>
              <a:gd name="connsiteX434" fmla="*/ 7588291 w 12191999"/>
              <a:gd name="connsiteY434" fmla="*/ 5661252 h 6858000"/>
              <a:gd name="connsiteX435" fmla="*/ 7529651 w 12191999"/>
              <a:gd name="connsiteY435" fmla="*/ 5627045 h 6858000"/>
              <a:gd name="connsiteX436" fmla="*/ 7428255 w 12191999"/>
              <a:gd name="connsiteY436" fmla="*/ 5619716 h 6858000"/>
              <a:gd name="connsiteX437" fmla="*/ 7390383 w 12191999"/>
              <a:gd name="connsiteY437" fmla="*/ 5754097 h 6858000"/>
              <a:gd name="connsiteX438" fmla="*/ 7466127 w 12191999"/>
              <a:gd name="connsiteY438" fmla="*/ 5837169 h 6858000"/>
              <a:gd name="connsiteX439" fmla="*/ 7538204 w 12191999"/>
              <a:gd name="connsiteY439" fmla="*/ 5795633 h 6858000"/>
              <a:gd name="connsiteX440" fmla="*/ 7617611 w 12191999"/>
              <a:gd name="connsiteY440" fmla="*/ 5791968 h 6858000"/>
              <a:gd name="connsiteX441" fmla="*/ 7644486 w 12191999"/>
              <a:gd name="connsiteY441" fmla="*/ 5855493 h 6858000"/>
              <a:gd name="connsiteX442" fmla="*/ 7644486 w 12191999"/>
              <a:gd name="connsiteY442" fmla="*/ 5960555 h 6858000"/>
              <a:gd name="connsiteX443" fmla="*/ 7645708 w 12191999"/>
              <a:gd name="connsiteY443" fmla="*/ 6072947 h 6858000"/>
              <a:gd name="connsiteX444" fmla="*/ 7643676 w 12191999"/>
              <a:gd name="connsiteY444" fmla="*/ 6091527 h 6858000"/>
              <a:gd name="connsiteX445" fmla="*/ 7645318 w 12191999"/>
              <a:gd name="connsiteY445" fmla="*/ 6082343 h 6858000"/>
              <a:gd name="connsiteX446" fmla="*/ 7677538 w 12191999"/>
              <a:gd name="connsiteY446" fmla="*/ 6073639 h 6858000"/>
              <a:gd name="connsiteX447" fmla="*/ 7886441 w 12191999"/>
              <a:gd name="connsiteY447" fmla="*/ 6074861 h 6858000"/>
              <a:gd name="connsiteX448" fmla="*/ 7956073 w 12191999"/>
              <a:gd name="connsiteY448" fmla="*/ 6107844 h 6858000"/>
              <a:gd name="connsiteX449" fmla="*/ 7949965 w 12191999"/>
              <a:gd name="connsiteY449" fmla="*/ 6176258 h 6858000"/>
              <a:gd name="connsiteX450" fmla="*/ 7905986 w 12191999"/>
              <a:gd name="connsiteY450" fmla="*/ 6256885 h 6858000"/>
              <a:gd name="connsiteX451" fmla="*/ 8002497 w 12191999"/>
              <a:gd name="connsiteY451" fmla="*/ 6331407 h 6858000"/>
              <a:gd name="connsiteX452" fmla="*/ 8110001 w 12191999"/>
              <a:gd name="connsiteY452" fmla="*/ 6304530 h 6858000"/>
              <a:gd name="connsiteX453" fmla="*/ 8110001 w 12191999"/>
              <a:gd name="connsiteY453" fmla="*/ 6183586 h 6858000"/>
              <a:gd name="connsiteX454" fmla="*/ 8079461 w 12191999"/>
              <a:gd name="connsiteY454" fmla="*/ 6135943 h 6858000"/>
              <a:gd name="connsiteX455" fmla="*/ 8141764 w 12191999"/>
              <a:gd name="connsiteY455" fmla="*/ 6077304 h 6858000"/>
              <a:gd name="connsiteX456" fmla="*/ 8393425 w 12191999"/>
              <a:gd name="connsiteY456" fmla="*/ 6074861 h 6858000"/>
              <a:gd name="connsiteX457" fmla="*/ 8406729 w 12191999"/>
              <a:gd name="connsiteY457" fmla="*/ 6078106 h 6858000"/>
              <a:gd name="connsiteX458" fmla="*/ 8410249 w 12191999"/>
              <a:gd name="connsiteY458" fmla="*/ 6084768 h 6858000"/>
              <a:gd name="connsiteX459" fmla="*/ 8414744 w 12191999"/>
              <a:gd name="connsiteY459" fmla="*/ 6080797 h 6858000"/>
              <a:gd name="connsiteX460" fmla="*/ 8436581 w 12191999"/>
              <a:gd name="connsiteY460" fmla="*/ 6079422 h 6858000"/>
              <a:gd name="connsiteX461" fmla="*/ 8641819 w 12191999"/>
              <a:gd name="connsiteY461" fmla="*/ 6079422 h 6858000"/>
              <a:gd name="connsiteX462" fmla="*/ 8690684 w 12191999"/>
              <a:gd name="connsiteY462" fmla="*/ 6065984 h 6858000"/>
              <a:gd name="connsiteX463" fmla="*/ 8693127 w 12191999"/>
              <a:gd name="connsiteY463" fmla="*/ 6003680 h 6858000"/>
              <a:gd name="connsiteX464" fmla="*/ 8688242 w 12191999"/>
              <a:gd name="connsiteY464" fmla="*/ 5855861 h 6858000"/>
              <a:gd name="connsiteX465" fmla="*/ 8909360 w 12191999"/>
              <a:gd name="connsiteY465" fmla="*/ 5870521 h 6858000"/>
              <a:gd name="connsiteX466" fmla="*/ 8900808 w 12191999"/>
              <a:gd name="connsiteY466" fmla="*/ 5998795 h 6858000"/>
              <a:gd name="connsiteX467" fmla="*/ 8873933 w 12191999"/>
              <a:gd name="connsiteY467" fmla="*/ 6041552 h 6858000"/>
              <a:gd name="connsiteX468" fmla="*/ 8931350 w 12191999"/>
              <a:gd name="connsiteY468" fmla="*/ 6078202 h 6858000"/>
              <a:gd name="connsiteX469" fmla="*/ 9136587 w 12191999"/>
              <a:gd name="connsiteY469" fmla="*/ 6076979 h 6858000"/>
              <a:gd name="connsiteX470" fmla="*/ 9159416 w 12191999"/>
              <a:gd name="connsiteY470" fmla="*/ 6078201 h 6858000"/>
              <a:gd name="connsiteX471" fmla="*/ 9160395 w 12191999"/>
              <a:gd name="connsiteY471" fmla="*/ 6078767 h 6858000"/>
              <a:gd name="connsiteX472" fmla="*/ 9159383 w 12191999"/>
              <a:gd name="connsiteY472" fmla="*/ 6065178 h 6858000"/>
              <a:gd name="connsiteX473" fmla="*/ 9160606 w 12191999"/>
              <a:gd name="connsiteY473" fmla="*/ 5856275 h 6858000"/>
              <a:gd name="connsiteX474" fmla="*/ 9125178 w 12191999"/>
              <a:gd name="connsiteY474" fmla="*/ 5798859 h 6858000"/>
              <a:gd name="connsiteX475" fmla="*/ 9083641 w 12191999"/>
              <a:gd name="connsiteY475" fmla="*/ 5825735 h 6858000"/>
              <a:gd name="connsiteX476" fmla="*/ 8954147 w 12191999"/>
              <a:gd name="connsiteY476" fmla="*/ 5835507 h 6858000"/>
              <a:gd name="connsiteX477" fmla="*/ 8901615 w 12191999"/>
              <a:gd name="connsiteY477" fmla="*/ 5764652 h 6858000"/>
              <a:gd name="connsiteX478" fmla="*/ 8902838 w 12191999"/>
              <a:gd name="connsiteY478" fmla="*/ 5668142 h 6858000"/>
              <a:gd name="connsiteX479" fmla="*/ 9099523 w 12191999"/>
              <a:gd name="connsiteY479" fmla="*/ 5630271 h 6858000"/>
              <a:gd name="connsiteX480" fmla="*/ 9132508 w 12191999"/>
              <a:gd name="connsiteY480" fmla="*/ 5633936 h 6858000"/>
              <a:gd name="connsiteX481" fmla="*/ 9161828 w 12191999"/>
              <a:gd name="connsiteY481" fmla="*/ 5572855 h 6858000"/>
              <a:gd name="connsiteX482" fmla="*/ 9160606 w 12191999"/>
              <a:gd name="connsiteY482" fmla="*/ 5382276 h 6858000"/>
              <a:gd name="connsiteX483" fmla="*/ 9213137 w 12191999"/>
              <a:gd name="connsiteY483" fmla="*/ 5332188 h 6858000"/>
              <a:gd name="connsiteX484" fmla="*/ 9398827 w 12191999"/>
              <a:gd name="connsiteY484" fmla="*/ 5333410 h 6858000"/>
              <a:gd name="connsiteX485" fmla="*/ 9467240 w 12191999"/>
              <a:gd name="connsiteY485" fmla="*/ 5293094 h 6858000"/>
              <a:gd name="connsiteX486" fmla="*/ 9434256 w 12191999"/>
              <a:gd name="connsiteY486" fmla="*/ 5249118 h 6858000"/>
              <a:gd name="connsiteX487" fmla="*/ 9419596 w 12191999"/>
              <a:gd name="connsiteY487" fmla="*/ 5139169 h 6858000"/>
              <a:gd name="connsiteX488" fmla="*/ 9648044 w 12191999"/>
              <a:gd name="connsiteY488" fmla="*/ 5109848 h 6858000"/>
              <a:gd name="connsiteX489" fmla="*/ 9643157 w 12191999"/>
              <a:gd name="connsiteY489" fmla="*/ 5260110 h 6858000"/>
              <a:gd name="connsiteX490" fmla="*/ 9644379 w 12191999"/>
              <a:gd name="connsiteY490" fmla="*/ 5319971 h 6858000"/>
              <a:gd name="connsiteX491" fmla="*/ 9698131 w 12191999"/>
              <a:gd name="connsiteY491" fmla="*/ 5334631 h 6858000"/>
              <a:gd name="connsiteX492" fmla="*/ 9903370 w 12191999"/>
              <a:gd name="connsiteY492" fmla="*/ 5334631 h 6858000"/>
              <a:gd name="connsiteX493" fmla="*/ 9929654 w 12191999"/>
              <a:gd name="connsiteY493" fmla="*/ 5346485 h 6858000"/>
              <a:gd name="connsiteX494" fmla="*/ 9930724 w 12191999"/>
              <a:gd name="connsiteY494" fmla="*/ 5354628 h 6858000"/>
              <a:gd name="connsiteX495" fmla="*/ 9932264 w 12191999"/>
              <a:gd name="connsiteY495" fmla="*/ 5354628 h 6858000"/>
              <a:gd name="connsiteX496" fmla="*/ 9932800 w 12191999"/>
              <a:gd name="connsiteY496" fmla="*/ 5349644 h 6858000"/>
              <a:gd name="connsiteX497" fmla="*/ 9947918 w 12191999"/>
              <a:gd name="connsiteY497" fmla="*/ 5337597 h 6858000"/>
              <a:gd name="connsiteX498" fmla="*/ 9951318 w 12191999"/>
              <a:gd name="connsiteY498" fmla="*/ 5337347 h 6858000"/>
              <a:gd name="connsiteX499" fmla="*/ 9952291 w 12191999"/>
              <a:gd name="connsiteY499" fmla="*/ 5335521 h 6858000"/>
              <a:gd name="connsiteX500" fmla="*/ 9934946 w 12191999"/>
              <a:gd name="connsiteY500" fmla="*/ 5330599 h 6858000"/>
              <a:gd name="connsiteX501" fmla="*/ 9930821 w 12191999"/>
              <a:gd name="connsiteY501" fmla="*/ 5309831 h 6858000"/>
              <a:gd name="connsiteX502" fmla="*/ 9930821 w 12191999"/>
              <a:gd name="connsiteY502" fmla="*/ 5086269 h 6858000"/>
              <a:gd name="connsiteX503" fmla="*/ 9976023 w 12191999"/>
              <a:gd name="connsiteY503" fmla="*/ 5012969 h 6858000"/>
              <a:gd name="connsiteX504" fmla="*/ 10026111 w 12191999"/>
              <a:gd name="connsiteY504" fmla="*/ 5020300 h 6858000"/>
              <a:gd name="connsiteX505" fmla="*/ 10151942 w 12191999"/>
              <a:gd name="connsiteY505" fmla="*/ 5045954 h 6858000"/>
              <a:gd name="connsiteX506" fmla="*/ 10160492 w 12191999"/>
              <a:gd name="connsiteY506" fmla="*/ 4868816 h 6858000"/>
              <a:gd name="connsiteX507" fmla="*/ 10039550 w 12191999"/>
              <a:gd name="connsiteY507" fmla="*/ 4867593 h 6858000"/>
              <a:gd name="connsiteX508" fmla="*/ 9987018 w 12191999"/>
              <a:gd name="connsiteY508" fmla="*/ 4895690 h 6858000"/>
              <a:gd name="connsiteX509" fmla="*/ 9932044 w 12191999"/>
              <a:gd name="connsiteY509" fmla="*/ 4830943 h 6858000"/>
              <a:gd name="connsiteX510" fmla="*/ 9929601 w 12191999"/>
              <a:gd name="connsiteY510" fmla="*/ 4587835 h 6858000"/>
              <a:gd name="connsiteX511" fmla="*/ 9957699 w 12191999"/>
              <a:gd name="connsiteY511" fmla="*/ 4568288 h 6858000"/>
              <a:gd name="connsiteX512" fmla="*/ 10158050 w 12191999"/>
              <a:gd name="connsiteY512" fmla="*/ 4568288 h 6858000"/>
              <a:gd name="connsiteX513" fmla="*/ 10204472 w 12191999"/>
              <a:gd name="connsiteY513" fmla="*/ 4560959 h 6858000"/>
              <a:gd name="connsiteX514" fmla="*/ 10213024 w 12191999"/>
              <a:gd name="connsiteY514" fmla="*/ 4493768 h 6858000"/>
              <a:gd name="connsiteX515" fmla="*/ 10209359 w 12191999"/>
              <a:gd name="connsiteY515" fmla="*/ 4345948 h 6858000"/>
              <a:gd name="connsiteX516" fmla="*/ 10325263 w 12191999"/>
              <a:gd name="connsiteY516" fmla="*/ 4307925 h 6858000"/>
              <a:gd name="connsiteX517" fmla="*/ 10432920 w 12191999"/>
              <a:gd name="connsiteY517" fmla="*/ 4364272 h 6858000"/>
              <a:gd name="connsiteX518" fmla="*/ 10423148 w 12191999"/>
              <a:gd name="connsiteY518" fmla="*/ 4486437 h 6858000"/>
              <a:gd name="connsiteX519" fmla="*/ 10393828 w 12191999"/>
              <a:gd name="connsiteY519" fmla="*/ 4531639 h 6858000"/>
              <a:gd name="connsiteX520" fmla="*/ 10459798 w 12191999"/>
              <a:gd name="connsiteY520" fmla="*/ 4569509 h 6858000"/>
              <a:gd name="connsiteX521" fmla="*/ 10660149 w 12191999"/>
              <a:gd name="connsiteY521" fmla="*/ 4568288 h 6858000"/>
              <a:gd name="connsiteX522" fmla="*/ 10700463 w 12191999"/>
              <a:gd name="connsiteY522" fmla="*/ 4607381 h 6858000"/>
              <a:gd name="connsiteX523" fmla="*/ 10699241 w 12191999"/>
              <a:gd name="connsiteY523" fmla="*/ 4802845 h 6858000"/>
              <a:gd name="connsiteX524" fmla="*/ 10672366 w 12191999"/>
              <a:gd name="connsiteY524" fmla="*/ 4876145 h 6858000"/>
              <a:gd name="connsiteX525" fmla="*/ 10591736 w 12191999"/>
              <a:gd name="connsiteY525" fmla="*/ 4872480 h 6858000"/>
              <a:gd name="connsiteX526" fmla="*/ 10518437 w 12191999"/>
              <a:gd name="connsiteY526" fmla="*/ 4833387 h 6858000"/>
              <a:gd name="connsiteX527" fmla="*/ 10443915 w 12191999"/>
              <a:gd name="connsiteY527" fmla="*/ 4917681 h 6858000"/>
              <a:gd name="connsiteX528" fmla="*/ 10486675 w 12191999"/>
              <a:gd name="connsiteY528" fmla="*/ 5054507 h 6858000"/>
              <a:gd name="connsiteX529" fmla="*/ 10580742 w 12191999"/>
              <a:gd name="connsiteY529" fmla="*/ 5045954 h 6858000"/>
              <a:gd name="connsiteX530" fmla="*/ 10643046 w 12191999"/>
              <a:gd name="connsiteY530" fmla="*/ 5009304 h 6858000"/>
              <a:gd name="connsiteX531" fmla="*/ 10699241 w 12191999"/>
              <a:gd name="connsiteY531" fmla="*/ 5089935 h 6858000"/>
              <a:gd name="connsiteX532" fmla="*/ 10700463 w 12191999"/>
              <a:gd name="connsiteY532" fmla="*/ 5308610 h 6858000"/>
              <a:gd name="connsiteX533" fmla="*/ 10695953 w 12191999"/>
              <a:gd name="connsiteY533" fmla="*/ 5325919 h 6858000"/>
              <a:gd name="connsiteX534" fmla="*/ 10695953 w 12191999"/>
              <a:gd name="connsiteY534" fmla="*/ 5342506 h 6858000"/>
              <a:gd name="connsiteX535" fmla="*/ 10697005 w 12191999"/>
              <a:gd name="connsiteY535" fmla="*/ 5340688 h 6858000"/>
              <a:gd name="connsiteX536" fmla="*/ 10739305 w 12191999"/>
              <a:gd name="connsiteY536" fmla="*/ 5333510 h 6858000"/>
              <a:gd name="connsiteX537" fmla="*/ 10924995 w 12191999"/>
              <a:gd name="connsiteY537" fmla="*/ 5334732 h 6858000"/>
              <a:gd name="connsiteX538" fmla="*/ 10993408 w 12191999"/>
              <a:gd name="connsiteY538" fmla="*/ 5294417 h 6858000"/>
              <a:gd name="connsiteX539" fmla="*/ 10960424 w 12191999"/>
              <a:gd name="connsiteY539" fmla="*/ 5250439 h 6858000"/>
              <a:gd name="connsiteX540" fmla="*/ 10945764 w 12191999"/>
              <a:gd name="connsiteY540" fmla="*/ 5140490 h 6858000"/>
              <a:gd name="connsiteX541" fmla="*/ 11174212 w 12191999"/>
              <a:gd name="connsiteY541" fmla="*/ 5111172 h 6858000"/>
              <a:gd name="connsiteX542" fmla="*/ 11169325 w 12191999"/>
              <a:gd name="connsiteY542" fmla="*/ 5261432 h 6858000"/>
              <a:gd name="connsiteX543" fmla="*/ 11170547 w 12191999"/>
              <a:gd name="connsiteY543" fmla="*/ 5321293 h 6858000"/>
              <a:gd name="connsiteX544" fmla="*/ 11224299 w 12191999"/>
              <a:gd name="connsiteY544" fmla="*/ 5335954 h 6858000"/>
              <a:gd name="connsiteX545" fmla="*/ 11429538 w 12191999"/>
              <a:gd name="connsiteY545" fmla="*/ 5335954 h 6858000"/>
              <a:gd name="connsiteX546" fmla="*/ 11457635 w 12191999"/>
              <a:gd name="connsiteY546" fmla="*/ 5361608 h 6858000"/>
              <a:gd name="connsiteX547" fmla="*/ 11456413 w 12191999"/>
              <a:gd name="connsiteY547" fmla="*/ 5585169 h 6858000"/>
              <a:gd name="connsiteX548" fmla="*/ 11397773 w 12191999"/>
              <a:gd name="connsiteY548" fmla="*/ 5663355 h 6858000"/>
              <a:gd name="connsiteX549" fmla="*/ 11340356 w 12191999"/>
              <a:gd name="connsiteY549" fmla="*/ 5627928 h 6858000"/>
              <a:gd name="connsiteX550" fmla="*/ 11242624 w 12191999"/>
              <a:gd name="connsiteY550" fmla="*/ 5618154 h 6858000"/>
              <a:gd name="connsiteX551" fmla="*/ 11198645 w 12191999"/>
              <a:gd name="connsiteY551" fmla="*/ 5731767 h 6858000"/>
              <a:gd name="connsiteX552" fmla="*/ 11271944 w 12191999"/>
              <a:gd name="connsiteY552" fmla="*/ 5838051 h 6858000"/>
              <a:gd name="connsiteX553" fmla="*/ 11352573 w 12191999"/>
              <a:gd name="connsiteY553" fmla="*/ 5795294 h 6858000"/>
              <a:gd name="connsiteX554" fmla="*/ 11424650 w 12191999"/>
              <a:gd name="connsiteY554" fmla="*/ 5791629 h 6858000"/>
              <a:gd name="connsiteX555" fmla="*/ 11456413 w 12191999"/>
              <a:gd name="connsiteY555" fmla="*/ 5862484 h 6858000"/>
              <a:gd name="connsiteX556" fmla="*/ 11456413 w 12191999"/>
              <a:gd name="connsiteY556" fmla="*/ 5995645 h 6858000"/>
              <a:gd name="connsiteX557" fmla="*/ 11450808 w 12191999"/>
              <a:gd name="connsiteY557" fmla="*/ 6076903 h 6858000"/>
              <a:gd name="connsiteX558" fmla="*/ 11443434 w 12191999"/>
              <a:gd name="connsiteY558" fmla="*/ 6089200 h 6858000"/>
              <a:gd name="connsiteX559" fmla="*/ 11447629 w 12191999"/>
              <a:gd name="connsiteY559" fmla="*/ 6089179 h 6858000"/>
              <a:gd name="connsiteX560" fmla="*/ 11460380 w 12191999"/>
              <a:gd name="connsiteY560" fmla="*/ 6094729 h 6858000"/>
              <a:gd name="connsiteX561" fmla="*/ 11461414 w 12191999"/>
              <a:gd name="connsiteY561" fmla="*/ 6089396 h 6858000"/>
              <a:gd name="connsiteX562" fmla="*/ 11491039 w 12191999"/>
              <a:gd name="connsiteY562" fmla="*/ 6081456 h 6858000"/>
              <a:gd name="connsiteX563" fmla="*/ 11686503 w 12191999"/>
              <a:gd name="connsiteY563" fmla="*/ 6082676 h 6858000"/>
              <a:gd name="connsiteX564" fmla="*/ 11732927 w 12191999"/>
              <a:gd name="connsiteY564" fmla="*/ 6074124 h 6858000"/>
              <a:gd name="connsiteX565" fmla="*/ 11741477 w 12191999"/>
              <a:gd name="connsiteY565" fmla="*/ 6008156 h 6858000"/>
              <a:gd name="connsiteX566" fmla="*/ 11698720 w 12191999"/>
              <a:gd name="connsiteY566" fmla="*/ 5923862 h 6858000"/>
              <a:gd name="connsiteX567" fmla="*/ 11785457 w 12191999"/>
              <a:gd name="connsiteY567" fmla="*/ 5829795 h 6858000"/>
              <a:gd name="connsiteX568" fmla="*/ 11834763 w 12191999"/>
              <a:gd name="connsiteY568" fmla="*/ 5820594 h 6858000"/>
              <a:gd name="connsiteX569" fmla="*/ 11961375 w 12191999"/>
              <a:gd name="connsiteY569" fmla="*/ 5878660 h 6858000"/>
              <a:gd name="connsiteX570" fmla="*/ 11949158 w 12191999"/>
              <a:gd name="connsiteY570" fmla="*/ 6003269 h 6858000"/>
              <a:gd name="connsiteX571" fmla="*/ 11922283 w 12191999"/>
              <a:gd name="connsiteY571" fmla="*/ 6046026 h 6858000"/>
              <a:gd name="connsiteX572" fmla="*/ 11983365 w 12191999"/>
              <a:gd name="connsiteY572" fmla="*/ 6082676 h 6858000"/>
              <a:gd name="connsiteX573" fmla="*/ 12183716 w 12191999"/>
              <a:gd name="connsiteY573" fmla="*/ 6081456 h 6858000"/>
              <a:gd name="connsiteX574" fmla="*/ 12191999 w 12191999"/>
              <a:gd name="connsiteY574" fmla="*/ 6083007 h 6858000"/>
              <a:gd name="connsiteX575" fmla="*/ 12191999 w 12191999"/>
              <a:gd name="connsiteY575" fmla="*/ 6858000 h 6858000"/>
              <a:gd name="connsiteX576" fmla="*/ 0 w 12191999"/>
              <a:gd name="connsiteY57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</a:cxnLst>
            <a:rect l="l" t="t" r="r" b="b"/>
            <a:pathLst>
              <a:path w="12191999" h="6858000">
                <a:moveTo>
                  <a:pt x="10699779" y="6099402"/>
                </a:moveTo>
                <a:lnTo>
                  <a:pt x="10700365" y="6104567"/>
                </a:lnTo>
                <a:lnTo>
                  <a:pt x="10702406" y="6099903"/>
                </a:lnTo>
                <a:close/>
                <a:moveTo>
                  <a:pt x="9177921" y="6098901"/>
                </a:moveTo>
                <a:lnTo>
                  <a:pt x="9178505" y="6100344"/>
                </a:lnTo>
                <a:lnTo>
                  <a:pt x="9178605" y="6102927"/>
                </a:lnTo>
                <a:lnTo>
                  <a:pt x="9183635" y="6102927"/>
                </a:lnTo>
                <a:lnTo>
                  <a:pt x="9185303" y="6100308"/>
                </a:lnTo>
                <a:close/>
                <a:moveTo>
                  <a:pt x="5342410" y="5330181"/>
                </a:moveTo>
                <a:lnTo>
                  <a:pt x="5338269" y="5332661"/>
                </a:lnTo>
                <a:lnTo>
                  <a:pt x="5322064" y="5334006"/>
                </a:lnTo>
                <a:lnTo>
                  <a:pt x="5335111" y="5336578"/>
                </a:lnTo>
                <a:lnTo>
                  <a:pt x="5337848" y="5340523"/>
                </a:lnTo>
                <a:lnTo>
                  <a:pt x="5338130" y="5335883"/>
                </a:lnTo>
                <a:close/>
                <a:moveTo>
                  <a:pt x="11820900" y="4311166"/>
                </a:moveTo>
                <a:cubicBezTo>
                  <a:pt x="11873927" y="4308131"/>
                  <a:pt x="11925923" y="4331037"/>
                  <a:pt x="11955244" y="4373182"/>
                </a:cubicBezTo>
                <a:cubicBezTo>
                  <a:pt x="11985785" y="4418384"/>
                  <a:pt x="11980898" y="4451368"/>
                  <a:pt x="11941805" y="4490463"/>
                </a:cubicBezTo>
                <a:cubicBezTo>
                  <a:pt x="11929590" y="4502678"/>
                  <a:pt x="11901490" y="4507563"/>
                  <a:pt x="11911265" y="4531997"/>
                </a:cubicBezTo>
                <a:cubicBezTo>
                  <a:pt x="11922260" y="4557650"/>
                  <a:pt x="11944250" y="4573534"/>
                  <a:pt x="11974790" y="4572310"/>
                </a:cubicBezTo>
                <a:cubicBezTo>
                  <a:pt x="12041982" y="4571090"/>
                  <a:pt x="12107951" y="4573534"/>
                  <a:pt x="12175141" y="4571090"/>
                </a:cubicBezTo>
                <a:lnTo>
                  <a:pt x="12191999" y="4574294"/>
                </a:lnTo>
                <a:lnTo>
                  <a:pt x="12191999" y="5337457"/>
                </a:lnTo>
                <a:lnTo>
                  <a:pt x="12177584" y="5340730"/>
                </a:lnTo>
                <a:cubicBezTo>
                  <a:pt x="12112836" y="5338287"/>
                  <a:pt x="12048089" y="5339507"/>
                  <a:pt x="11982120" y="5339507"/>
                </a:cubicBezTo>
                <a:cubicBezTo>
                  <a:pt x="11962574" y="5339507"/>
                  <a:pt x="11944250" y="5340730"/>
                  <a:pt x="11928367" y="5354166"/>
                </a:cubicBezTo>
                <a:cubicBezTo>
                  <a:pt x="11908820" y="5372491"/>
                  <a:pt x="11896605" y="5388373"/>
                  <a:pt x="11927145" y="5409142"/>
                </a:cubicBezTo>
                <a:cubicBezTo>
                  <a:pt x="11960130" y="5432354"/>
                  <a:pt x="11987007" y="5462893"/>
                  <a:pt x="11971125" y="5504430"/>
                </a:cubicBezTo>
                <a:cubicBezTo>
                  <a:pt x="11955244" y="5548410"/>
                  <a:pt x="11924702" y="5582614"/>
                  <a:pt x="11873393" y="5592389"/>
                </a:cubicBezTo>
                <a:cubicBezTo>
                  <a:pt x="11795208" y="5608269"/>
                  <a:pt x="11739011" y="5587502"/>
                  <a:pt x="11703584" y="5530084"/>
                </a:cubicBezTo>
                <a:cubicBezTo>
                  <a:pt x="11676707" y="5486105"/>
                  <a:pt x="11682816" y="5456786"/>
                  <a:pt x="11723129" y="5417694"/>
                </a:cubicBezTo>
                <a:cubicBezTo>
                  <a:pt x="11735346" y="5406699"/>
                  <a:pt x="11763444" y="5401812"/>
                  <a:pt x="11751228" y="5374936"/>
                </a:cubicBezTo>
                <a:cubicBezTo>
                  <a:pt x="11739011" y="5350502"/>
                  <a:pt x="11718244" y="5338287"/>
                  <a:pt x="11690146" y="5338287"/>
                </a:cubicBezTo>
                <a:cubicBezTo>
                  <a:pt x="11622955" y="5338287"/>
                  <a:pt x="11556985" y="5335842"/>
                  <a:pt x="11489795" y="5339507"/>
                </a:cubicBezTo>
                <a:cubicBezTo>
                  <a:pt x="11453145" y="5341952"/>
                  <a:pt x="11443371" y="5329735"/>
                  <a:pt x="11447036" y="5295528"/>
                </a:cubicBezTo>
                <a:cubicBezTo>
                  <a:pt x="11451923" y="5266207"/>
                  <a:pt x="11449481" y="5234446"/>
                  <a:pt x="11449481" y="5202683"/>
                </a:cubicBezTo>
                <a:cubicBezTo>
                  <a:pt x="11449481" y="5166034"/>
                  <a:pt x="11450701" y="5129384"/>
                  <a:pt x="11449481" y="5092735"/>
                </a:cubicBezTo>
                <a:cubicBezTo>
                  <a:pt x="11448258" y="5058528"/>
                  <a:pt x="11466583" y="5036539"/>
                  <a:pt x="11492238" y="5018215"/>
                </a:cubicBezTo>
                <a:cubicBezTo>
                  <a:pt x="11511785" y="5004774"/>
                  <a:pt x="11528888" y="5007220"/>
                  <a:pt x="11545990" y="5025544"/>
                </a:cubicBezTo>
                <a:cubicBezTo>
                  <a:pt x="11608295" y="5089069"/>
                  <a:pt x="11622955" y="5091513"/>
                  <a:pt x="11668156" y="5051198"/>
                </a:cubicBezTo>
                <a:cubicBezTo>
                  <a:pt x="11713357" y="5010884"/>
                  <a:pt x="11720686" y="4925368"/>
                  <a:pt x="11682816" y="4877723"/>
                </a:cubicBezTo>
                <a:cubicBezTo>
                  <a:pt x="11638837" y="4822748"/>
                  <a:pt x="11602187" y="4821529"/>
                  <a:pt x="11555765" y="4874058"/>
                </a:cubicBezTo>
                <a:cubicBezTo>
                  <a:pt x="11543547" y="4887496"/>
                  <a:pt x="11536218" y="4913152"/>
                  <a:pt x="11508120" y="4902158"/>
                </a:cubicBezTo>
                <a:cubicBezTo>
                  <a:pt x="11477578" y="4891162"/>
                  <a:pt x="11451923" y="4871616"/>
                  <a:pt x="11450701" y="4839852"/>
                </a:cubicBezTo>
                <a:cubicBezTo>
                  <a:pt x="11447036" y="4758002"/>
                  <a:pt x="11449481" y="4674930"/>
                  <a:pt x="11448258" y="4591857"/>
                </a:cubicBezTo>
                <a:cubicBezTo>
                  <a:pt x="11448258" y="4567425"/>
                  <a:pt x="11465361" y="4573534"/>
                  <a:pt x="11477578" y="4573534"/>
                </a:cubicBezTo>
                <a:cubicBezTo>
                  <a:pt x="11544768" y="4573534"/>
                  <a:pt x="11610737" y="4573534"/>
                  <a:pt x="11677929" y="4573534"/>
                </a:cubicBezTo>
                <a:cubicBezTo>
                  <a:pt x="11695032" y="4573534"/>
                  <a:pt x="11713357" y="4574756"/>
                  <a:pt x="11728016" y="4562539"/>
                </a:cubicBezTo>
                <a:cubicBezTo>
                  <a:pt x="11751228" y="4544213"/>
                  <a:pt x="11769553" y="4529553"/>
                  <a:pt x="11735346" y="4500233"/>
                </a:cubicBezTo>
                <a:cubicBezTo>
                  <a:pt x="11666934" y="4441595"/>
                  <a:pt x="11682816" y="4358522"/>
                  <a:pt x="11768331" y="4323095"/>
                </a:cubicBezTo>
                <a:cubicBezTo>
                  <a:pt x="11785434" y="4316070"/>
                  <a:pt x="11803224" y="4312177"/>
                  <a:pt x="11820900" y="4311166"/>
                </a:cubicBezTo>
                <a:close/>
                <a:moveTo>
                  <a:pt x="5742911" y="3557222"/>
                </a:moveTo>
                <a:cubicBezTo>
                  <a:pt x="5785237" y="3561738"/>
                  <a:pt x="5826597" y="3581666"/>
                  <a:pt x="5851336" y="3613963"/>
                </a:cubicBezTo>
                <a:cubicBezTo>
                  <a:pt x="5884320" y="3659163"/>
                  <a:pt x="5880655" y="3697035"/>
                  <a:pt x="5840341" y="3736128"/>
                </a:cubicBezTo>
                <a:cubicBezTo>
                  <a:pt x="5828123" y="3748345"/>
                  <a:pt x="5795140" y="3750787"/>
                  <a:pt x="5811021" y="3780107"/>
                </a:cubicBezTo>
                <a:cubicBezTo>
                  <a:pt x="5823239" y="3804540"/>
                  <a:pt x="5844004" y="3815534"/>
                  <a:pt x="5873327" y="3815534"/>
                </a:cubicBezTo>
                <a:cubicBezTo>
                  <a:pt x="5942958" y="3814314"/>
                  <a:pt x="6012594" y="3816757"/>
                  <a:pt x="6082230" y="3814314"/>
                </a:cubicBezTo>
                <a:cubicBezTo>
                  <a:pt x="6102386" y="3813398"/>
                  <a:pt x="6112234" y="3817291"/>
                  <a:pt x="6115900" y="3831149"/>
                </a:cubicBezTo>
                <a:lnTo>
                  <a:pt x="6116334" y="3835442"/>
                </a:lnTo>
                <a:lnTo>
                  <a:pt x="6135367" y="3820781"/>
                </a:lnTo>
                <a:cubicBezTo>
                  <a:pt x="6143326" y="3819255"/>
                  <a:pt x="6153251" y="3819407"/>
                  <a:pt x="6165468" y="3821240"/>
                </a:cubicBezTo>
                <a:cubicBezTo>
                  <a:pt x="6193565" y="3826127"/>
                  <a:pt x="6221664" y="3822462"/>
                  <a:pt x="6250984" y="3822462"/>
                </a:cubicBezTo>
                <a:cubicBezTo>
                  <a:pt x="6286411" y="3822462"/>
                  <a:pt x="6320618" y="3823685"/>
                  <a:pt x="6356045" y="3822462"/>
                </a:cubicBezTo>
                <a:cubicBezTo>
                  <a:pt x="6393917" y="3821240"/>
                  <a:pt x="6419570" y="3842009"/>
                  <a:pt x="6434230" y="3873772"/>
                </a:cubicBezTo>
                <a:cubicBezTo>
                  <a:pt x="6451333" y="3907977"/>
                  <a:pt x="6419570" y="3920194"/>
                  <a:pt x="6401245" y="3938519"/>
                </a:cubicBezTo>
                <a:cubicBezTo>
                  <a:pt x="6362153" y="3975168"/>
                  <a:pt x="6359710" y="3998381"/>
                  <a:pt x="6395138" y="4039916"/>
                </a:cubicBezTo>
                <a:cubicBezTo>
                  <a:pt x="6437895" y="4090005"/>
                  <a:pt x="6527076" y="4097333"/>
                  <a:pt x="6574721" y="4054576"/>
                </a:cubicBezTo>
                <a:cubicBezTo>
                  <a:pt x="6628473" y="4008153"/>
                  <a:pt x="6628473" y="3977611"/>
                  <a:pt x="6575941" y="3931189"/>
                </a:cubicBezTo>
                <a:cubicBezTo>
                  <a:pt x="6562504" y="3918974"/>
                  <a:pt x="6538071" y="3910422"/>
                  <a:pt x="6547844" y="3883545"/>
                </a:cubicBezTo>
                <a:cubicBezTo>
                  <a:pt x="6558839" y="3853004"/>
                  <a:pt x="6578386" y="3827349"/>
                  <a:pt x="6610148" y="3826127"/>
                </a:cubicBezTo>
                <a:cubicBezTo>
                  <a:pt x="6691998" y="3822462"/>
                  <a:pt x="6775070" y="3824905"/>
                  <a:pt x="6856921" y="3823685"/>
                </a:cubicBezTo>
                <a:cubicBezTo>
                  <a:pt x="6881354" y="3823685"/>
                  <a:pt x="6875246" y="3840787"/>
                  <a:pt x="6875246" y="3853004"/>
                </a:cubicBezTo>
                <a:cubicBezTo>
                  <a:pt x="6875246" y="3920194"/>
                  <a:pt x="6875246" y="3986164"/>
                  <a:pt x="6875246" y="4053355"/>
                </a:cubicBezTo>
                <a:cubicBezTo>
                  <a:pt x="6875246" y="4074123"/>
                  <a:pt x="6877689" y="4093668"/>
                  <a:pt x="6892348" y="4110773"/>
                </a:cubicBezTo>
                <a:cubicBezTo>
                  <a:pt x="6911895" y="4132762"/>
                  <a:pt x="6926555" y="4137648"/>
                  <a:pt x="6948545" y="4110773"/>
                </a:cubicBezTo>
                <a:cubicBezTo>
                  <a:pt x="7005962" y="4043581"/>
                  <a:pt x="7068267" y="4049690"/>
                  <a:pt x="7117131" y="4126653"/>
                </a:cubicBezTo>
                <a:cubicBezTo>
                  <a:pt x="7155003" y="4186514"/>
                  <a:pt x="7136679" y="4286688"/>
                  <a:pt x="7080482" y="4328224"/>
                </a:cubicBezTo>
                <a:cubicBezTo>
                  <a:pt x="7034060" y="4362430"/>
                  <a:pt x="6999854" y="4357545"/>
                  <a:pt x="6959540" y="4317229"/>
                </a:cubicBezTo>
                <a:cubicBezTo>
                  <a:pt x="6947323" y="4305014"/>
                  <a:pt x="6942436" y="4273250"/>
                  <a:pt x="6914338" y="4287910"/>
                </a:cubicBezTo>
                <a:cubicBezTo>
                  <a:pt x="6891126" y="4300127"/>
                  <a:pt x="6877689" y="4320896"/>
                  <a:pt x="6877689" y="4350213"/>
                </a:cubicBezTo>
                <a:cubicBezTo>
                  <a:pt x="6878911" y="4417403"/>
                  <a:pt x="6876468" y="4483374"/>
                  <a:pt x="6878911" y="4550565"/>
                </a:cubicBezTo>
                <a:cubicBezTo>
                  <a:pt x="6880133" y="4582327"/>
                  <a:pt x="6874024" y="4594544"/>
                  <a:pt x="6838596" y="4592100"/>
                </a:cubicBezTo>
                <a:cubicBezTo>
                  <a:pt x="6775070" y="4588436"/>
                  <a:pt x="6711545" y="4590880"/>
                  <a:pt x="6648020" y="4590880"/>
                </a:cubicBezTo>
                <a:cubicBezTo>
                  <a:pt x="6628473" y="4590880"/>
                  <a:pt x="6610148" y="4592100"/>
                  <a:pt x="6594266" y="4604318"/>
                </a:cubicBezTo>
                <a:cubicBezTo>
                  <a:pt x="6571056" y="4623864"/>
                  <a:pt x="6562504" y="4638522"/>
                  <a:pt x="6591823" y="4662956"/>
                </a:cubicBezTo>
                <a:cubicBezTo>
                  <a:pt x="6655348" y="4715488"/>
                  <a:pt x="6652905" y="4766796"/>
                  <a:pt x="6589381" y="4819328"/>
                </a:cubicBezTo>
                <a:cubicBezTo>
                  <a:pt x="6530741" y="4866973"/>
                  <a:pt x="6422015" y="4855979"/>
                  <a:pt x="6375592" y="4796116"/>
                </a:cubicBezTo>
                <a:cubicBezTo>
                  <a:pt x="6338943" y="4749693"/>
                  <a:pt x="6342608" y="4711821"/>
                  <a:pt x="6385365" y="4670287"/>
                </a:cubicBezTo>
                <a:cubicBezTo>
                  <a:pt x="6397580" y="4658070"/>
                  <a:pt x="6425680" y="4653182"/>
                  <a:pt x="6415905" y="4628749"/>
                </a:cubicBezTo>
                <a:cubicBezTo>
                  <a:pt x="6404910" y="4603096"/>
                  <a:pt x="6381700" y="4588436"/>
                  <a:pt x="6351158" y="4589658"/>
                </a:cubicBezTo>
                <a:cubicBezTo>
                  <a:pt x="6283968" y="4590880"/>
                  <a:pt x="6217999" y="4587214"/>
                  <a:pt x="6150809" y="4590880"/>
                </a:cubicBezTo>
                <a:cubicBezTo>
                  <a:pt x="6133707" y="4591491"/>
                  <a:pt x="6123322" y="4589047"/>
                  <a:pt x="6117367" y="4582327"/>
                </a:cubicBezTo>
                <a:lnTo>
                  <a:pt x="6114197" y="4575109"/>
                </a:lnTo>
                <a:lnTo>
                  <a:pt x="6109104" y="4582272"/>
                </a:lnTo>
                <a:cubicBezTo>
                  <a:pt x="6104218" y="4585785"/>
                  <a:pt x="6096888" y="4586396"/>
                  <a:pt x="6087114" y="4586396"/>
                </a:cubicBezTo>
                <a:cubicBezTo>
                  <a:pt x="6012594" y="4585175"/>
                  <a:pt x="5938072" y="4586396"/>
                  <a:pt x="5863552" y="4586396"/>
                </a:cubicBezTo>
                <a:cubicBezTo>
                  <a:pt x="5837898" y="4586396"/>
                  <a:pt x="5818351" y="4572957"/>
                  <a:pt x="5802472" y="4555854"/>
                </a:cubicBezTo>
                <a:cubicBezTo>
                  <a:pt x="5778036" y="4528977"/>
                  <a:pt x="5774373" y="4504545"/>
                  <a:pt x="5807356" y="4480114"/>
                </a:cubicBezTo>
                <a:cubicBezTo>
                  <a:pt x="5833011" y="4461788"/>
                  <a:pt x="5863552" y="4441018"/>
                  <a:pt x="5847670" y="4403148"/>
                </a:cubicBezTo>
                <a:cubicBezTo>
                  <a:pt x="5830567" y="4361611"/>
                  <a:pt x="5801250" y="4332291"/>
                  <a:pt x="5752384" y="4329849"/>
                </a:cubicBezTo>
                <a:cubicBezTo>
                  <a:pt x="5704740" y="4327406"/>
                  <a:pt x="5660758" y="4329849"/>
                  <a:pt x="5628995" y="4372606"/>
                </a:cubicBezTo>
                <a:cubicBezTo>
                  <a:pt x="5599676" y="4412923"/>
                  <a:pt x="5600896" y="4436133"/>
                  <a:pt x="5638769" y="4470339"/>
                </a:cubicBezTo>
                <a:cubicBezTo>
                  <a:pt x="5655874" y="4486221"/>
                  <a:pt x="5688856" y="4493550"/>
                  <a:pt x="5674197" y="4527758"/>
                </a:cubicBezTo>
                <a:cubicBezTo>
                  <a:pt x="5659538" y="4564408"/>
                  <a:pt x="5632660" y="4586396"/>
                  <a:pt x="5591125" y="4586396"/>
                </a:cubicBezTo>
                <a:cubicBezTo>
                  <a:pt x="5520269" y="4586396"/>
                  <a:pt x="5448192" y="4585175"/>
                  <a:pt x="5377337" y="4586396"/>
                </a:cubicBezTo>
                <a:cubicBezTo>
                  <a:pt x="5350458" y="4587617"/>
                  <a:pt x="5346796" y="4576623"/>
                  <a:pt x="5346796" y="4553411"/>
                </a:cubicBezTo>
                <a:cubicBezTo>
                  <a:pt x="5348016" y="4486221"/>
                  <a:pt x="5346796" y="4420251"/>
                  <a:pt x="5348016" y="4353059"/>
                </a:cubicBezTo>
                <a:cubicBezTo>
                  <a:pt x="5348016" y="4329849"/>
                  <a:pt x="5344352" y="4309081"/>
                  <a:pt x="5327249" y="4291978"/>
                </a:cubicBezTo>
                <a:cubicBezTo>
                  <a:pt x="5310145" y="4274875"/>
                  <a:pt x="5295486" y="4267544"/>
                  <a:pt x="5278383" y="4293199"/>
                </a:cubicBezTo>
                <a:cubicBezTo>
                  <a:pt x="5253948" y="4328628"/>
                  <a:pt x="5222185" y="4357946"/>
                  <a:pt x="5174543" y="4337181"/>
                </a:cubicBezTo>
                <a:cubicBezTo>
                  <a:pt x="5125677" y="4315189"/>
                  <a:pt x="5092692" y="4279761"/>
                  <a:pt x="5089026" y="4221122"/>
                </a:cubicBezTo>
                <a:cubicBezTo>
                  <a:pt x="5085363" y="4164927"/>
                  <a:pt x="5093914" y="4113618"/>
                  <a:pt x="5144002" y="4078190"/>
                </a:cubicBezTo>
                <a:cubicBezTo>
                  <a:pt x="5191646" y="4043983"/>
                  <a:pt x="5224631" y="4046428"/>
                  <a:pt x="5264946" y="4087965"/>
                </a:cubicBezTo>
                <a:cubicBezTo>
                  <a:pt x="5277159" y="4101402"/>
                  <a:pt x="5283271" y="4130722"/>
                  <a:pt x="5311367" y="4117283"/>
                </a:cubicBezTo>
                <a:cubicBezTo>
                  <a:pt x="5335801" y="4105067"/>
                  <a:pt x="5346796" y="4083077"/>
                  <a:pt x="5346796" y="4054980"/>
                </a:cubicBezTo>
                <a:cubicBezTo>
                  <a:pt x="5346796" y="3986566"/>
                  <a:pt x="5348016" y="3918154"/>
                  <a:pt x="5345574" y="3849742"/>
                </a:cubicBezTo>
                <a:cubicBezTo>
                  <a:pt x="5344352" y="3821644"/>
                  <a:pt x="5349236" y="3809427"/>
                  <a:pt x="5381003" y="3811870"/>
                </a:cubicBezTo>
                <a:cubicBezTo>
                  <a:pt x="5416429" y="3817979"/>
                  <a:pt x="5451858" y="3815534"/>
                  <a:pt x="5486063" y="3815534"/>
                </a:cubicBezTo>
                <a:cubicBezTo>
                  <a:pt x="5522713" y="3815534"/>
                  <a:pt x="5559361" y="3814314"/>
                  <a:pt x="5596012" y="3815534"/>
                </a:cubicBezTo>
                <a:cubicBezTo>
                  <a:pt x="5624110" y="3816757"/>
                  <a:pt x="5641213" y="3799654"/>
                  <a:pt x="5650984" y="3777664"/>
                </a:cubicBezTo>
                <a:cubicBezTo>
                  <a:pt x="5660758" y="3755674"/>
                  <a:pt x="5636325" y="3748345"/>
                  <a:pt x="5625329" y="3738570"/>
                </a:cubicBezTo>
                <a:cubicBezTo>
                  <a:pt x="5567914" y="3684820"/>
                  <a:pt x="5576466" y="3622514"/>
                  <a:pt x="5649765" y="3576091"/>
                </a:cubicBezTo>
                <a:cubicBezTo>
                  <a:pt x="5665035" y="3566624"/>
                  <a:pt x="5682520" y="3560668"/>
                  <a:pt x="5700845" y="3557958"/>
                </a:cubicBezTo>
                <a:cubicBezTo>
                  <a:pt x="5714588" y="3555925"/>
                  <a:pt x="5728804" y="3555718"/>
                  <a:pt x="5742911" y="3557222"/>
                </a:cubicBezTo>
                <a:close/>
                <a:moveTo>
                  <a:pt x="5726517" y="2017504"/>
                </a:moveTo>
                <a:cubicBezTo>
                  <a:pt x="5769733" y="2023154"/>
                  <a:pt x="5810962" y="2045754"/>
                  <a:pt x="5834786" y="2083015"/>
                </a:cubicBezTo>
                <a:cubicBezTo>
                  <a:pt x="5861661" y="2124551"/>
                  <a:pt x="5855555" y="2157535"/>
                  <a:pt x="5820126" y="2192965"/>
                </a:cubicBezTo>
                <a:cubicBezTo>
                  <a:pt x="5806689" y="2206402"/>
                  <a:pt x="5777368" y="2210067"/>
                  <a:pt x="5787140" y="2236943"/>
                </a:cubicBezTo>
                <a:cubicBezTo>
                  <a:pt x="5798136" y="2266262"/>
                  <a:pt x="5823790" y="2277258"/>
                  <a:pt x="5855555" y="2277258"/>
                </a:cubicBezTo>
                <a:cubicBezTo>
                  <a:pt x="5917857" y="2276037"/>
                  <a:pt x="5978941" y="2279702"/>
                  <a:pt x="6041243" y="2276037"/>
                </a:cubicBezTo>
                <a:cubicBezTo>
                  <a:pt x="6080338" y="2273592"/>
                  <a:pt x="6097440" y="2280923"/>
                  <a:pt x="6093775" y="2326124"/>
                </a:cubicBezTo>
                <a:cubicBezTo>
                  <a:pt x="6088888" y="2389649"/>
                  <a:pt x="6093775" y="2453175"/>
                  <a:pt x="6092553" y="2516703"/>
                </a:cubicBezTo>
                <a:cubicBezTo>
                  <a:pt x="6092553" y="2543577"/>
                  <a:pt x="6101105" y="2561902"/>
                  <a:pt x="6121873" y="2577785"/>
                </a:cubicBezTo>
                <a:cubicBezTo>
                  <a:pt x="6134090" y="2586335"/>
                  <a:pt x="6142641" y="2585115"/>
                  <a:pt x="6154856" y="2574120"/>
                </a:cubicBezTo>
                <a:cubicBezTo>
                  <a:pt x="6241593" y="2494711"/>
                  <a:pt x="6290460" y="2503263"/>
                  <a:pt x="6351542" y="2611990"/>
                </a:cubicBezTo>
                <a:cubicBezTo>
                  <a:pt x="6352764" y="2644975"/>
                  <a:pt x="6352764" y="2676738"/>
                  <a:pt x="6352764" y="2708501"/>
                </a:cubicBezTo>
                <a:cubicBezTo>
                  <a:pt x="6338104" y="2734156"/>
                  <a:pt x="6325887" y="2761033"/>
                  <a:pt x="6300232" y="2779356"/>
                </a:cubicBezTo>
                <a:cubicBezTo>
                  <a:pt x="6251367" y="2817228"/>
                  <a:pt x="6212273" y="2813563"/>
                  <a:pt x="6170739" y="2769584"/>
                </a:cubicBezTo>
                <a:cubicBezTo>
                  <a:pt x="6159745" y="2757366"/>
                  <a:pt x="6154856" y="2729269"/>
                  <a:pt x="6129202" y="2742708"/>
                </a:cubicBezTo>
                <a:cubicBezTo>
                  <a:pt x="6107212" y="2753701"/>
                  <a:pt x="6093775" y="2772026"/>
                  <a:pt x="6093775" y="2800124"/>
                </a:cubicBezTo>
                <a:cubicBezTo>
                  <a:pt x="6094997" y="2869758"/>
                  <a:pt x="6092553" y="2939392"/>
                  <a:pt x="6094997" y="3009027"/>
                </a:cubicBezTo>
                <a:cubicBezTo>
                  <a:pt x="6096218" y="3042011"/>
                  <a:pt x="6085222" y="3048121"/>
                  <a:pt x="6054683" y="3046899"/>
                </a:cubicBezTo>
                <a:cubicBezTo>
                  <a:pt x="5989937" y="3044455"/>
                  <a:pt x="5923966" y="3045676"/>
                  <a:pt x="5859220" y="3045676"/>
                </a:cubicBezTo>
                <a:cubicBezTo>
                  <a:pt x="5839672" y="3045676"/>
                  <a:pt x="5821349" y="3046899"/>
                  <a:pt x="5805467" y="3060336"/>
                </a:cubicBezTo>
                <a:cubicBezTo>
                  <a:pt x="5785921" y="3078662"/>
                  <a:pt x="5774925" y="3095764"/>
                  <a:pt x="5804246" y="3116533"/>
                </a:cubicBezTo>
                <a:cubicBezTo>
                  <a:pt x="5834786" y="3138522"/>
                  <a:pt x="5861661" y="3165399"/>
                  <a:pt x="5849445" y="3206935"/>
                </a:cubicBezTo>
                <a:cubicBezTo>
                  <a:pt x="5834786" y="3254578"/>
                  <a:pt x="5803023" y="3288785"/>
                  <a:pt x="5751713" y="3299780"/>
                </a:cubicBezTo>
                <a:cubicBezTo>
                  <a:pt x="5674750" y="3315662"/>
                  <a:pt x="5616113" y="3293673"/>
                  <a:pt x="5581905" y="3237475"/>
                </a:cubicBezTo>
                <a:cubicBezTo>
                  <a:pt x="5555029" y="3193496"/>
                  <a:pt x="5561135" y="3162956"/>
                  <a:pt x="5601451" y="3125084"/>
                </a:cubicBezTo>
                <a:cubicBezTo>
                  <a:pt x="5613669" y="3114088"/>
                  <a:pt x="5640546" y="3109203"/>
                  <a:pt x="5629551" y="3083549"/>
                </a:cubicBezTo>
                <a:cubicBezTo>
                  <a:pt x="5619775" y="3059114"/>
                  <a:pt x="5599008" y="3046899"/>
                  <a:pt x="5573353" y="3045676"/>
                </a:cubicBezTo>
                <a:cubicBezTo>
                  <a:pt x="5525708" y="3044455"/>
                  <a:pt x="5478065" y="3045676"/>
                  <a:pt x="5430421" y="3045676"/>
                </a:cubicBezTo>
                <a:cubicBezTo>
                  <a:pt x="5324139" y="3045676"/>
                  <a:pt x="5324139" y="3045676"/>
                  <a:pt x="5324139" y="2938172"/>
                </a:cubicBezTo>
                <a:cubicBezTo>
                  <a:pt x="5324139" y="2894192"/>
                  <a:pt x="5325358" y="2848990"/>
                  <a:pt x="5324139" y="2805010"/>
                </a:cubicBezTo>
                <a:cubicBezTo>
                  <a:pt x="5322917" y="2775691"/>
                  <a:pt x="5335133" y="2752481"/>
                  <a:pt x="5355900" y="2734156"/>
                </a:cubicBezTo>
                <a:cubicBezTo>
                  <a:pt x="5380332" y="2712165"/>
                  <a:pt x="5403544" y="2707279"/>
                  <a:pt x="5427977" y="2737821"/>
                </a:cubicBezTo>
                <a:cubicBezTo>
                  <a:pt x="5447526" y="2763474"/>
                  <a:pt x="5467069" y="2795238"/>
                  <a:pt x="5508607" y="2780578"/>
                </a:cubicBezTo>
                <a:cubicBezTo>
                  <a:pt x="5552586" y="2765919"/>
                  <a:pt x="5579462" y="2724383"/>
                  <a:pt x="5581905" y="2674294"/>
                </a:cubicBezTo>
                <a:cubicBezTo>
                  <a:pt x="5584348" y="2629092"/>
                  <a:pt x="5577018" y="2590001"/>
                  <a:pt x="5537926" y="2560681"/>
                </a:cubicBezTo>
                <a:cubicBezTo>
                  <a:pt x="5497612" y="2530140"/>
                  <a:pt x="5475621" y="2532583"/>
                  <a:pt x="5440195" y="2570454"/>
                </a:cubicBezTo>
                <a:cubicBezTo>
                  <a:pt x="5424312" y="2587558"/>
                  <a:pt x="5418205" y="2619320"/>
                  <a:pt x="5382779" y="2605882"/>
                </a:cubicBezTo>
                <a:cubicBezTo>
                  <a:pt x="5347348" y="2591221"/>
                  <a:pt x="5325358" y="2565567"/>
                  <a:pt x="5324139" y="2527695"/>
                </a:cubicBezTo>
                <a:cubicBezTo>
                  <a:pt x="5322917" y="2453175"/>
                  <a:pt x="5324139" y="2378654"/>
                  <a:pt x="5322917" y="2304134"/>
                </a:cubicBezTo>
                <a:cubicBezTo>
                  <a:pt x="5322917" y="2280923"/>
                  <a:pt x="5332689" y="2278479"/>
                  <a:pt x="5351016" y="2278479"/>
                </a:cubicBezTo>
                <a:cubicBezTo>
                  <a:pt x="5419427" y="2279702"/>
                  <a:pt x="5487839" y="2278479"/>
                  <a:pt x="5556254" y="2278479"/>
                </a:cubicBezTo>
                <a:cubicBezTo>
                  <a:pt x="5575797" y="2278479"/>
                  <a:pt x="5594120" y="2277258"/>
                  <a:pt x="5610003" y="2263820"/>
                </a:cubicBezTo>
                <a:cubicBezTo>
                  <a:pt x="5631992" y="2244274"/>
                  <a:pt x="5641767" y="2228392"/>
                  <a:pt x="5611225" y="2203958"/>
                </a:cubicBezTo>
                <a:cubicBezTo>
                  <a:pt x="5547698" y="2152649"/>
                  <a:pt x="5548920" y="2108671"/>
                  <a:pt x="5606337" y="2053696"/>
                </a:cubicBezTo>
                <a:cubicBezTo>
                  <a:pt x="5638102" y="2023155"/>
                  <a:pt x="5683302" y="2011854"/>
                  <a:pt x="5726517" y="2017504"/>
                </a:cubicBezTo>
                <a:close/>
                <a:moveTo>
                  <a:pt x="0" y="0"/>
                </a:moveTo>
                <a:lnTo>
                  <a:pt x="5329115" y="0"/>
                </a:lnTo>
                <a:lnTo>
                  <a:pt x="5332434" y="5729"/>
                </a:lnTo>
                <a:cubicBezTo>
                  <a:pt x="5333904" y="11284"/>
                  <a:pt x="5334438" y="18309"/>
                  <a:pt x="5334132" y="27166"/>
                </a:cubicBezTo>
                <a:cubicBezTo>
                  <a:pt x="5331688" y="93135"/>
                  <a:pt x="5332910" y="160325"/>
                  <a:pt x="5332910" y="227517"/>
                </a:cubicBezTo>
                <a:cubicBezTo>
                  <a:pt x="5332910" y="245842"/>
                  <a:pt x="5334132" y="262944"/>
                  <a:pt x="5346347" y="276382"/>
                </a:cubicBezTo>
                <a:cubicBezTo>
                  <a:pt x="5364674" y="295929"/>
                  <a:pt x="5378111" y="304481"/>
                  <a:pt x="5402544" y="277604"/>
                </a:cubicBezTo>
                <a:cubicBezTo>
                  <a:pt x="5463627" y="204305"/>
                  <a:pt x="5551584" y="225072"/>
                  <a:pt x="5582127" y="317919"/>
                </a:cubicBezTo>
                <a:cubicBezTo>
                  <a:pt x="5606557" y="392438"/>
                  <a:pt x="5583346" y="463295"/>
                  <a:pt x="5523486" y="501165"/>
                </a:cubicBezTo>
                <a:cubicBezTo>
                  <a:pt x="5479508" y="529263"/>
                  <a:pt x="5450188" y="523155"/>
                  <a:pt x="5411097" y="481620"/>
                </a:cubicBezTo>
                <a:cubicBezTo>
                  <a:pt x="5398879" y="469403"/>
                  <a:pt x="5393991" y="441305"/>
                  <a:pt x="5369558" y="453522"/>
                </a:cubicBezTo>
                <a:cubicBezTo>
                  <a:pt x="5345127" y="464516"/>
                  <a:pt x="5332910" y="485285"/>
                  <a:pt x="5332910" y="514605"/>
                </a:cubicBezTo>
                <a:cubicBezTo>
                  <a:pt x="5334132" y="583017"/>
                  <a:pt x="5331688" y="651429"/>
                  <a:pt x="5334132" y="719841"/>
                </a:cubicBezTo>
                <a:cubicBezTo>
                  <a:pt x="5335356" y="750383"/>
                  <a:pt x="5328023" y="761378"/>
                  <a:pt x="5295041" y="760156"/>
                </a:cubicBezTo>
                <a:cubicBezTo>
                  <a:pt x="5229072" y="757713"/>
                  <a:pt x="5161881" y="758935"/>
                  <a:pt x="5094692" y="758935"/>
                </a:cubicBezTo>
                <a:cubicBezTo>
                  <a:pt x="5077586" y="758935"/>
                  <a:pt x="5060482" y="758935"/>
                  <a:pt x="5045820" y="772373"/>
                </a:cubicBezTo>
                <a:cubicBezTo>
                  <a:pt x="5025053" y="791918"/>
                  <a:pt x="5011616" y="805357"/>
                  <a:pt x="5043379" y="831012"/>
                </a:cubicBezTo>
                <a:cubicBezTo>
                  <a:pt x="5109351" y="883542"/>
                  <a:pt x="5102018" y="948291"/>
                  <a:pt x="5031161" y="997156"/>
                </a:cubicBezTo>
                <a:cubicBezTo>
                  <a:pt x="4963969" y="1042356"/>
                  <a:pt x="4861351" y="1019146"/>
                  <a:pt x="4818594" y="949511"/>
                </a:cubicBezTo>
                <a:cubicBezTo>
                  <a:pt x="4791718" y="905532"/>
                  <a:pt x="4797826" y="878656"/>
                  <a:pt x="4840582" y="837120"/>
                </a:cubicBezTo>
                <a:cubicBezTo>
                  <a:pt x="4852797" y="824903"/>
                  <a:pt x="4879674" y="818795"/>
                  <a:pt x="4866234" y="793140"/>
                </a:cubicBezTo>
                <a:cubicBezTo>
                  <a:pt x="4854020" y="772373"/>
                  <a:pt x="4836918" y="757713"/>
                  <a:pt x="4808822" y="758935"/>
                </a:cubicBezTo>
                <a:cubicBezTo>
                  <a:pt x="4737964" y="760156"/>
                  <a:pt x="4665887" y="758935"/>
                  <a:pt x="4595032" y="760156"/>
                </a:cubicBezTo>
                <a:cubicBezTo>
                  <a:pt x="4585870" y="760156"/>
                  <a:pt x="4578942" y="759469"/>
                  <a:pt x="4573923" y="757192"/>
                </a:cubicBezTo>
                <a:lnTo>
                  <a:pt x="4572290" y="755075"/>
                </a:lnTo>
                <a:lnTo>
                  <a:pt x="4542110" y="755075"/>
                </a:lnTo>
                <a:lnTo>
                  <a:pt x="4532620" y="757803"/>
                </a:lnTo>
                <a:cubicBezTo>
                  <a:pt x="4461765" y="756580"/>
                  <a:pt x="4389688" y="756580"/>
                  <a:pt x="4318830" y="757803"/>
                </a:cubicBezTo>
                <a:cubicBezTo>
                  <a:pt x="4291954" y="757803"/>
                  <a:pt x="4269964" y="746808"/>
                  <a:pt x="4252861" y="727261"/>
                </a:cubicBezTo>
                <a:cubicBezTo>
                  <a:pt x="4230872" y="701606"/>
                  <a:pt x="4222318" y="677173"/>
                  <a:pt x="4257749" y="652741"/>
                </a:cubicBezTo>
                <a:cubicBezTo>
                  <a:pt x="4284626" y="633194"/>
                  <a:pt x="4315164" y="611204"/>
                  <a:pt x="4298063" y="570889"/>
                </a:cubicBezTo>
                <a:cubicBezTo>
                  <a:pt x="4280960" y="531797"/>
                  <a:pt x="4251638" y="503698"/>
                  <a:pt x="4205214" y="501255"/>
                </a:cubicBezTo>
                <a:cubicBezTo>
                  <a:pt x="4161241" y="498812"/>
                  <a:pt x="4119705" y="498812"/>
                  <a:pt x="4087942" y="535462"/>
                </a:cubicBezTo>
                <a:cubicBezTo>
                  <a:pt x="4050070" y="578219"/>
                  <a:pt x="4051293" y="606317"/>
                  <a:pt x="4094050" y="644189"/>
                </a:cubicBezTo>
                <a:cubicBezTo>
                  <a:pt x="4111153" y="658848"/>
                  <a:pt x="4138030" y="669843"/>
                  <a:pt x="4127035" y="700384"/>
                </a:cubicBezTo>
                <a:cubicBezTo>
                  <a:pt x="4114818" y="732148"/>
                  <a:pt x="4090385" y="756580"/>
                  <a:pt x="4057400" y="757803"/>
                </a:cubicBezTo>
                <a:cubicBezTo>
                  <a:pt x="3977993" y="761467"/>
                  <a:pt x="3898585" y="759023"/>
                  <a:pt x="3819179" y="759023"/>
                </a:cubicBezTo>
                <a:lnTo>
                  <a:pt x="3813849" y="756900"/>
                </a:lnTo>
                <a:lnTo>
                  <a:pt x="3810549" y="758781"/>
                </a:lnTo>
                <a:lnTo>
                  <a:pt x="3815750" y="768157"/>
                </a:lnTo>
                <a:cubicBezTo>
                  <a:pt x="3817087" y="773464"/>
                  <a:pt x="3817545" y="780106"/>
                  <a:pt x="3817238" y="788353"/>
                </a:cubicBezTo>
                <a:cubicBezTo>
                  <a:pt x="3814797" y="853100"/>
                  <a:pt x="3816018" y="919069"/>
                  <a:pt x="3816018" y="983816"/>
                </a:cubicBezTo>
                <a:cubicBezTo>
                  <a:pt x="3816018" y="1011914"/>
                  <a:pt x="3809910" y="1036348"/>
                  <a:pt x="3789144" y="1057116"/>
                </a:cubicBezTo>
                <a:cubicBezTo>
                  <a:pt x="3757381" y="1088878"/>
                  <a:pt x="3737836" y="1087658"/>
                  <a:pt x="3708516" y="1053451"/>
                </a:cubicBezTo>
                <a:cubicBezTo>
                  <a:pt x="3688971" y="1031461"/>
                  <a:pt x="3670645" y="1000919"/>
                  <a:pt x="3635219" y="1014358"/>
                </a:cubicBezTo>
                <a:cubicBezTo>
                  <a:pt x="3596125" y="1029018"/>
                  <a:pt x="3566806" y="1054673"/>
                  <a:pt x="3560696" y="1098651"/>
                </a:cubicBezTo>
                <a:cubicBezTo>
                  <a:pt x="3553368" y="1151183"/>
                  <a:pt x="3555811" y="1200050"/>
                  <a:pt x="3603457" y="1235477"/>
                </a:cubicBezTo>
                <a:cubicBezTo>
                  <a:pt x="3642548" y="1264796"/>
                  <a:pt x="3664539" y="1262352"/>
                  <a:pt x="3697521" y="1226924"/>
                </a:cubicBezTo>
                <a:cubicBezTo>
                  <a:pt x="3714624" y="1208600"/>
                  <a:pt x="3724397" y="1174394"/>
                  <a:pt x="3759825" y="1190276"/>
                </a:cubicBezTo>
                <a:cubicBezTo>
                  <a:pt x="3794029" y="1204935"/>
                  <a:pt x="3814797" y="1233032"/>
                  <a:pt x="3816018" y="1270905"/>
                </a:cubicBezTo>
                <a:cubicBezTo>
                  <a:pt x="3817238" y="1344204"/>
                  <a:pt x="3816018" y="1417503"/>
                  <a:pt x="3817238" y="1489580"/>
                </a:cubicBezTo>
                <a:cubicBezTo>
                  <a:pt x="3817238" y="1499964"/>
                  <a:pt x="3815711" y="1506988"/>
                  <a:pt x="3811589" y="1511264"/>
                </a:cubicBezTo>
                <a:lnTo>
                  <a:pt x="3801031" y="1513846"/>
                </a:lnTo>
                <a:lnTo>
                  <a:pt x="3806488" y="1516917"/>
                </a:lnTo>
                <a:lnTo>
                  <a:pt x="3807926" y="1520360"/>
                </a:lnTo>
                <a:lnTo>
                  <a:pt x="3814241" y="1520360"/>
                </a:lnTo>
                <a:lnTo>
                  <a:pt x="3829058" y="1502514"/>
                </a:lnTo>
                <a:cubicBezTo>
                  <a:pt x="3837597" y="1499199"/>
                  <a:pt x="3849165" y="1498742"/>
                  <a:pt x="3863824" y="1499658"/>
                </a:cubicBezTo>
                <a:cubicBezTo>
                  <a:pt x="3926128" y="1503323"/>
                  <a:pt x="3987214" y="1499658"/>
                  <a:pt x="4049516" y="1500879"/>
                </a:cubicBezTo>
                <a:cubicBezTo>
                  <a:pt x="4081280" y="1500879"/>
                  <a:pt x="4106935" y="1489884"/>
                  <a:pt x="4117929" y="1460565"/>
                </a:cubicBezTo>
                <a:cubicBezTo>
                  <a:pt x="4127702" y="1433689"/>
                  <a:pt x="4098382" y="1430024"/>
                  <a:pt x="4084945" y="1416587"/>
                </a:cubicBezTo>
                <a:cubicBezTo>
                  <a:pt x="4049516" y="1381158"/>
                  <a:pt x="4043408" y="1348173"/>
                  <a:pt x="4070285" y="1306638"/>
                </a:cubicBezTo>
                <a:cubicBezTo>
                  <a:pt x="4094107" y="1269377"/>
                  <a:pt x="4135338" y="1246777"/>
                  <a:pt x="4178554" y="1241127"/>
                </a:cubicBezTo>
                <a:cubicBezTo>
                  <a:pt x="4221764" y="1235476"/>
                  <a:pt x="4266966" y="1246777"/>
                  <a:pt x="4298729" y="1277318"/>
                </a:cubicBezTo>
                <a:cubicBezTo>
                  <a:pt x="4356145" y="1332293"/>
                  <a:pt x="4357369" y="1376272"/>
                  <a:pt x="4293841" y="1427580"/>
                </a:cubicBezTo>
                <a:cubicBezTo>
                  <a:pt x="4263300" y="1452014"/>
                  <a:pt x="4273074" y="1467896"/>
                  <a:pt x="4295062" y="1487441"/>
                </a:cubicBezTo>
                <a:cubicBezTo>
                  <a:pt x="4310947" y="1500879"/>
                  <a:pt x="4329269" y="1502101"/>
                  <a:pt x="4348815" y="1502101"/>
                </a:cubicBezTo>
                <a:cubicBezTo>
                  <a:pt x="4417231" y="1502101"/>
                  <a:pt x="4485641" y="1503323"/>
                  <a:pt x="4554055" y="1502101"/>
                </a:cubicBezTo>
                <a:cubicBezTo>
                  <a:pt x="4567798" y="1502101"/>
                  <a:pt x="4576731" y="1503475"/>
                  <a:pt x="4580339" y="1513955"/>
                </a:cubicBezTo>
                <a:lnTo>
                  <a:pt x="4580382" y="1514287"/>
                </a:lnTo>
                <a:lnTo>
                  <a:pt x="4581432" y="1513558"/>
                </a:lnTo>
                <a:cubicBezTo>
                  <a:pt x="4585612" y="1512222"/>
                  <a:pt x="4591033" y="1511688"/>
                  <a:pt x="4598057" y="1511994"/>
                </a:cubicBezTo>
                <a:cubicBezTo>
                  <a:pt x="4668913" y="1514436"/>
                  <a:pt x="4740990" y="1513216"/>
                  <a:pt x="4811845" y="1513216"/>
                </a:cubicBezTo>
                <a:cubicBezTo>
                  <a:pt x="4853383" y="1513216"/>
                  <a:pt x="4880258" y="1535205"/>
                  <a:pt x="4894918" y="1571855"/>
                </a:cubicBezTo>
                <a:cubicBezTo>
                  <a:pt x="4908357" y="1606060"/>
                  <a:pt x="4876594" y="1614613"/>
                  <a:pt x="4859491" y="1630493"/>
                </a:cubicBezTo>
                <a:cubicBezTo>
                  <a:pt x="4821621" y="1665922"/>
                  <a:pt x="4820399" y="1690354"/>
                  <a:pt x="4853383" y="1731891"/>
                </a:cubicBezTo>
                <a:cubicBezTo>
                  <a:pt x="4883921" y="1769762"/>
                  <a:pt x="4925460" y="1772204"/>
                  <a:pt x="4969438" y="1770984"/>
                </a:cubicBezTo>
                <a:cubicBezTo>
                  <a:pt x="5020749" y="1768539"/>
                  <a:pt x="5052511" y="1740442"/>
                  <a:pt x="5069614" y="1696462"/>
                </a:cubicBezTo>
                <a:cubicBezTo>
                  <a:pt x="5085496" y="1656148"/>
                  <a:pt x="5051292" y="1636602"/>
                  <a:pt x="5025634" y="1617055"/>
                </a:cubicBezTo>
                <a:cubicBezTo>
                  <a:pt x="4997537" y="1595065"/>
                  <a:pt x="5001201" y="1573075"/>
                  <a:pt x="5020749" y="1548643"/>
                </a:cubicBezTo>
                <a:cubicBezTo>
                  <a:pt x="5039074" y="1525431"/>
                  <a:pt x="5062283" y="1513216"/>
                  <a:pt x="5094050" y="1513216"/>
                </a:cubicBezTo>
                <a:cubicBezTo>
                  <a:pt x="5163683" y="1514436"/>
                  <a:pt x="5233316" y="1515658"/>
                  <a:pt x="5302949" y="1513216"/>
                </a:cubicBezTo>
                <a:cubicBezTo>
                  <a:pt x="5332270" y="1511994"/>
                  <a:pt x="5337157" y="1524210"/>
                  <a:pt x="5335935" y="1548643"/>
                </a:cubicBezTo>
                <a:cubicBezTo>
                  <a:pt x="5334713" y="1581628"/>
                  <a:pt x="5335935" y="1615833"/>
                  <a:pt x="5335935" y="1648817"/>
                </a:cubicBezTo>
                <a:cubicBezTo>
                  <a:pt x="5337157" y="1668364"/>
                  <a:pt x="5337157" y="1686689"/>
                  <a:pt x="5335935" y="1706237"/>
                </a:cubicBezTo>
                <a:cubicBezTo>
                  <a:pt x="5335935" y="1727004"/>
                  <a:pt x="5337157" y="1747772"/>
                  <a:pt x="5335935" y="1768539"/>
                </a:cubicBezTo>
                <a:cubicBezTo>
                  <a:pt x="5333492" y="1805189"/>
                  <a:pt x="5312721" y="1830844"/>
                  <a:pt x="5279741" y="1844283"/>
                </a:cubicBezTo>
                <a:cubicBezTo>
                  <a:pt x="5246756" y="1857721"/>
                  <a:pt x="5235760" y="1827179"/>
                  <a:pt x="5219879" y="1808854"/>
                </a:cubicBezTo>
                <a:cubicBezTo>
                  <a:pt x="5185675" y="1770984"/>
                  <a:pt x="5161239" y="1768539"/>
                  <a:pt x="5122147" y="1799081"/>
                </a:cubicBezTo>
                <a:cubicBezTo>
                  <a:pt x="5074501" y="1834509"/>
                  <a:pt x="5070837" y="1883375"/>
                  <a:pt x="5080610" y="1935906"/>
                </a:cubicBezTo>
                <a:cubicBezTo>
                  <a:pt x="5087938" y="1979885"/>
                  <a:pt x="5117259" y="2005540"/>
                  <a:pt x="5156351" y="2018979"/>
                </a:cubicBezTo>
                <a:cubicBezTo>
                  <a:pt x="5193002" y="2029974"/>
                  <a:pt x="5210105" y="2000654"/>
                  <a:pt x="5229651" y="1978665"/>
                </a:cubicBezTo>
                <a:cubicBezTo>
                  <a:pt x="5260193" y="1945680"/>
                  <a:pt x="5278517" y="1945680"/>
                  <a:pt x="5311502" y="1977443"/>
                </a:cubicBezTo>
                <a:cubicBezTo>
                  <a:pt x="5331048" y="1996989"/>
                  <a:pt x="5335935" y="2020200"/>
                  <a:pt x="5335935" y="2047077"/>
                </a:cubicBezTo>
                <a:cubicBezTo>
                  <a:pt x="5334713" y="2114267"/>
                  <a:pt x="5333492" y="2181459"/>
                  <a:pt x="5335935" y="2247429"/>
                </a:cubicBezTo>
                <a:cubicBezTo>
                  <a:pt x="5337157" y="2275526"/>
                  <a:pt x="5331048" y="2285299"/>
                  <a:pt x="5300506" y="2284079"/>
                </a:cubicBezTo>
                <a:cubicBezTo>
                  <a:pt x="5230872" y="2281634"/>
                  <a:pt x="5161239" y="2282856"/>
                  <a:pt x="5091606" y="2282856"/>
                </a:cubicBezTo>
                <a:cubicBezTo>
                  <a:pt x="5062283" y="2282856"/>
                  <a:pt x="5041516" y="2297516"/>
                  <a:pt x="5030522" y="2320726"/>
                </a:cubicBezTo>
                <a:cubicBezTo>
                  <a:pt x="5018307" y="2346381"/>
                  <a:pt x="5046403" y="2351268"/>
                  <a:pt x="5058619" y="2362263"/>
                </a:cubicBezTo>
                <a:cubicBezTo>
                  <a:pt x="5102599" y="2402578"/>
                  <a:pt x="5106265" y="2439228"/>
                  <a:pt x="5070837" y="2486872"/>
                </a:cubicBezTo>
                <a:cubicBezTo>
                  <a:pt x="5034186" y="2535737"/>
                  <a:pt x="4982875" y="2543067"/>
                  <a:pt x="4926682" y="2539402"/>
                </a:cubicBezTo>
                <a:cubicBezTo>
                  <a:pt x="4869262" y="2535737"/>
                  <a:pt x="4833836" y="2501532"/>
                  <a:pt x="4813067" y="2452666"/>
                </a:cubicBezTo>
                <a:cubicBezTo>
                  <a:pt x="4793521" y="2406242"/>
                  <a:pt x="4822840" y="2376923"/>
                  <a:pt x="4855825" y="2352491"/>
                </a:cubicBezTo>
                <a:cubicBezTo>
                  <a:pt x="4886368" y="2329278"/>
                  <a:pt x="4872928" y="2313396"/>
                  <a:pt x="4853383" y="2296294"/>
                </a:cubicBezTo>
                <a:cubicBezTo>
                  <a:pt x="4837499" y="2282856"/>
                  <a:pt x="4819176" y="2281634"/>
                  <a:pt x="4799629" y="2281634"/>
                </a:cubicBezTo>
                <a:cubicBezTo>
                  <a:pt x="4744656" y="2281634"/>
                  <a:pt x="4688460" y="2281634"/>
                  <a:pt x="4633486" y="2281634"/>
                </a:cubicBezTo>
                <a:cubicBezTo>
                  <a:pt x="4584009" y="2281634"/>
                  <a:pt x="4571638" y="2281634"/>
                  <a:pt x="4568545" y="2254834"/>
                </a:cubicBezTo>
                <a:lnTo>
                  <a:pt x="4568533" y="2254378"/>
                </a:lnTo>
                <a:lnTo>
                  <a:pt x="4567644" y="2255861"/>
                </a:lnTo>
                <a:lnTo>
                  <a:pt x="4544720" y="2264404"/>
                </a:lnTo>
                <a:lnTo>
                  <a:pt x="4554906" y="2264379"/>
                </a:lnTo>
                <a:cubicBezTo>
                  <a:pt x="4579338" y="2264379"/>
                  <a:pt x="4573231" y="2281482"/>
                  <a:pt x="4573231" y="2293699"/>
                </a:cubicBezTo>
                <a:cubicBezTo>
                  <a:pt x="4573231" y="2360888"/>
                  <a:pt x="4573231" y="2426858"/>
                  <a:pt x="4573231" y="2494050"/>
                </a:cubicBezTo>
                <a:cubicBezTo>
                  <a:pt x="4573231" y="2514817"/>
                  <a:pt x="4575675" y="2534362"/>
                  <a:pt x="4590334" y="2551467"/>
                </a:cubicBezTo>
                <a:cubicBezTo>
                  <a:pt x="4609880" y="2573457"/>
                  <a:pt x="4624541" y="2578342"/>
                  <a:pt x="4646530" y="2551467"/>
                </a:cubicBezTo>
                <a:cubicBezTo>
                  <a:pt x="4703946" y="2484275"/>
                  <a:pt x="4766251" y="2490385"/>
                  <a:pt x="4815115" y="2567347"/>
                </a:cubicBezTo>
                <a:cubicBezTo>
                  <a:pt x="4852987" y="2627209"/>
                  <a:pt x="4834663" y="2727384"/>
                  <a:pt x="4778466" y="2768920"/>
                </a:cubicBezTo>
                <a:cubicBezTo>
                  <a:pt x="4732044" y="2803126"/>
                  <a:pt x="4697840" y="2798240"/>
                  <a:pt x="4657524" y="2757926"/>
                </a:cubicBezTo>
                <a:cubicBezTo>
                  <a:pt x="4645308" y="2745708"/>
                  <a:pt x="4640420" y="2713946"/>
                  <a:pt x="4612323" y="2728606"/>
                </a:cubicBezTo>
                <a:cubicBezTo>
                  <a:pt x="4589112" y="2740822"/>
                  <a:pt x="4575675" y="2761591"/>
                  <a:pt x="4575675" y="2790910"/>
                </a:cubicBezTo>
                <a:cubicBezTo>
                  <a:pt x="4576894" y="2858100"/>
                  <a:pt x="4574453" y="2924070"/>
                  <a:pt x="4576894" y="2991261"/>
                </a:cubicBezTo>
                <a:cubicBezTo>
                  <a:pt x="4577506" y="3007143"/>
                  <a:pt x="4576286" y="3018138"/>
                  <a:pt x="4570481" y="3024856"/>
                </a:cubicBezTo>
                <a:lnTo>
                  <a:pt x="4561944" y="3029609"/>
                </a:lnTo>
                <a:lnTo>
                  <a:pt x="4568608" y="3030206"/>
                </a:lnTo>
                <a:cubicBezTo>
                  <a:pt x="4573170" y="3031561"/>
                  <a:pt x="4576490" y="3033737"/>
                  <a:pt x="4578857" y="3036715"/>
                </a:cubicBezTo>
                <a:lnTo>
                  <a:pt x="4581540" y="3051267"/>
                </a:lnTo>
                <a:lnTo>
                  <a:pt x="4595169" y="3045892"/>
                </a:lnTo>
                <a:cubicBezTo>
                  <a:pt x="4602213" y="3044843"/>
                  <a:pt x="4610614" y="3044843"/>
                  <a:pt x="4620385" y="3045454"/>
                </a:cubicBezTo>
                <a:cubicBezTo>
                  <a:pt x="4682688" y="3049119"/>
                  <a:pt x="4743775" y="3045454"/>
                  <a:pt x="4806076" y="3046674"/>
                </a:cubicBezTo>
                <a:cubicBezTo>
                  <a:pt x="4837839" y="3046674"/>
                  <a:pt x="4863493" y="3035679"/>
                  <a:pt x="4874487" y="3006359"/>
                </a:cubicBezTo>
                <a:cubicBezTo>
                  <a:pt x="4884260" y="2979484"/>
                  <a:pt x="4854941" y="2975819"/>
                  <a:pt x="4841504" y="2962382"/>
                </a:cubicBezTo>
                <a:cubicBezTo>
                  <a:pt x="4806076" y="2926952"/>
                  <a:pt x="4799966" y="2893968"/>
                  <a:pt x="4826843" y="2852433"/>
                </a:cubicBezTo>
                <a:cubicBezTo>
                  <a:pt x="4874487" y="2777911"/>
                  <a:pt x="4991766" y="2762031"/>
                  <a:pt x="5055294" y="2823113"/>
                </a:cubicBezTo>
                <a:cubicBezTo>
                  <a:pt x="5112710" y="2878088"/>
                  <a:pt x="5113934" y="2922067"/>
                  <a:pt x="5050406" y="2973375"/>
                </a:cubicBezTo>
                <a:cubicBezTo>
                  <a:pt x="5019863" y="2997809"/>
                  <a:pt x="5029637" y="3013691"/>
                  <a:pt x="5051628" y="3033236"/>
                </a:cubicBezTo>
                <a:cubicBezTo>
                  <a:pt x="5067509" y="3046674"/>
                  <a:pt x="5085834" y="3047896"/>
                  <a:pt x="5105382" y="3047896"/>
                </a:cubicBezTo>
                <a:cubicBezTo>
                  <a:pt x="5173793" y="3047896"/>
                  <a:pt x="5242205" y="3049119"/>
                  <a:pt x="5310620" y="3047896"/>
                </a:cubicBezTo>
                <a:cubicBezTo>
                  <a:pt x="5328943" y="3047896"/>
                  <a:pt x="5338715" y="3050340"/>
                  <a:pt x="5338715" y="3073551"/>
                </a:cubicBezTo>
                <a:cubicBezTo>
                  <a:pt x="5337493" y="3148071"/>
                  <a:pt x="5338715" y="3222592"/>
                  <a:pt x="5337493" y="3297112"/>
                </a:cubicBezTo>
                <a:cubicBezTo>
                  <a:pt x="5336275" y="3334984"/>
                  <a:pt x="5314284" y="3360640"/>
                  <a:pt x="5278853" y="3375299"/>
                </a:cubicBezTo>
                <a:cubicBezTo>
                  <a:pt x="5243424" y="3388737"/>
                  <a:pt x="5237318" y="3356974"/>
                  <a:pt x="5221435" y="3339871"/>
                </a:cubicBezTo>
                <a:cubicBezTo>
                  <a:pt x="5186011" y="3302000"/>
                  <a:pt x="5164019" y="3299557"/>
                  <a:pt x="5123706" y="3330097"/>
                </a:cubicBezTo>
                <a:cubicBezTo>
                  <a:pt x="5084613" y="3359419"/>
                  <a:pt x="5077283" y="3398509"/>
                  <a:pt x="5079725" y="3443711"/>
                </a:cubicBezTo>
                <a:cubicBezTo>
                  <a:pt x="5082171" y="3493800"/>
                  <a:pt x="5109045" y="3535335"/>
                  <a:pt x="5153026" y="3549995"/>
                </a:cubicBezTo>
                <a:cubicBezTo>
                  <a:pt x="5194561" y="3564655"/>
                  <a:pt x="5214107" y="3532891"/>
                  <a:pt x="5233655" y="3507238"/>
                </a:cubicBezTo>
                <a:cubicBezTo>
                  <a:pt x="5258085" y="3476696"/>
                  <a:pt x="5281299" y="3481583"/>
                  <a:pt x="5305732" y="3503573"/>
                </a:cubicBezTo>
                <a:cubicBezTo>
                  <a:pt x="5326497" y="3521897"/>
                  <a:pt x="5338715" y="3545108"/>
                  <a:pt x="5337493" y="3574428"/>
                </a:cubicBezTo>
                <a:cubicBezTo>
                  <a:pt x="5336275" y="3618407"/>
                  <a:pt x="5337493" y="3663609"/>
                  <a:pt x="5337493" y="3707588"/>
                </a:cubicBezTo>
                <a:cubicBezTo>
                  <a:pt x="5337493" y="3815093"/>
                  <a:pt x="5337493" y="3815093"/>
                  <a:pt x="5231209" y="3815093"/>
                </a:cubicBezTo>
                <a:cubicBezTo>
                  <a:pt x="5183567" y="3815093"/>
                  <a:pt x="5135923" y="3813871"/>
                  <a:pt x="5088277" y="3815093"/>
                </a:cubicBezTo>
                <a:cubicBezTo>
                  <a:pt x="5062622" y="3816315"/>
                  <a:pt x="5041855" y="3828531"/>
                  <a:pt x="5032081" y="3852965"/>
                </a:cubicBezTo>
                <a:cubicBezTo>
                  <a:pt x="5021087" y="3878619"/>
                  <a:pt x="5047962" y="3883505"/>
                  <a:pt x="5060180" y="3894500"/>
                </a:cubicBezTo>
                <a:cubicBezTo>
                  <a:pt x="5100495" y="3932372"/>
                  <a:pt x="5106604" y="3962912"/>
                  <a:pt x="5079725" y="4006891"/>
                </a:cubicBezTo>
                <a:cubicBezTo>
                  <a:pt x="5045520" y="4063088"/>
                  <a:pt x="4986880" y="4085078"/>
                  <a:pt x="4909915" y="4069196"/>
                </a:cubicBezTo>
                <a:cubicBezTo>
                  <a:pt x="4858608" y="4058201"/>
                  <a:pt x="4826843" y="4023994"/>
                  <a:pt x="4812184" y="3976351"/>
                </a:cubicBezTo>
                <a:cubicBezTo>
                  <a:pt x="4799966" y="3934814"/>
                  <a:pt x="4826843" y="3907938"/>
                  <a:pt x="4857383" y="3885949"/>
                </a:cubicBezTo>
                <a:cubicBezTo>
                  <a:pt x="4886704" y="3865180"/>
                  <a:pt x="4875708" y="3848078"/>
                  <a:pt x="4856163" y="3829753"/>
                </a:cubicBezTo>
                <a:cubicBezTo>
                  <a:pt x="4840282" y="3816315"/>
                  <a:pt x="4821956" y="3815093"/>
                  <a:pt x="4802409" y="3815093"/>
                </a:cubicBezTo>
                <a:cubicBezTo>
                  <a:pt x="4737662" y="3815093"/>
                  <a:pt x="4671692" y="3813871"/>
                  <a:pt x="4606946" y="3816315"/>
                </a:cubicBezTo>
                <a:lnTo>
                  <a:pt x="4581843" y="3811533"/>
                </a:lnTo>
                <a:lnTo>
                  <a:pt x="4581798" y="3821095"/>
                </a:lnTo>
                <a:cubicBezTo>
                  <a:pt x="4581798" y="3896838"/>
                  <a:pt x="4583017" y="3973802"/>
                  <a:pt x="4581798" y="4049544"/>
                </a:cubicBezTo>
                <a:cubicBezTo>
                  <a:pt x="4581798" y="4084971"/>
                  <a:pt x="4558584" y="4106962"/>
                  <a:pt x="4528044" y="4121621"/>
                </a:cubicBezTo>
                <a:cubicBezTo>
                  <a:pt x="4495059" y="4137504"/>
                  <a:pt x="4484065" y="4106962"/>
                  <a:pt x="4468182" y="4089859"/>
                </a:cubicBezTo>
                <a:cubicBezTo>
                  <a:pt x="4430311" y="4047102"/>
                  <a:pt x="4407103" y="4045879"/>
                  <a:pt x="4364344" y="4081306"/>
                </a:cubicBezTo>
                <a:cubicBezTo>
                  <a:pt x="4309368" y="4127729"/>
                  <a:pt x="4306924" y="4223012"/>
                  <a:pt x="4360678" y="4271879"/>
                </a:cubicBezTo>
                <a:cubicBezTo>
                  <a:pt x="4403437" y="4310973"/>
                  <a:pt x="4430311" y="4309750"/>
                  <a:pt x="4469406" y="4266992"/>
                </a:cubicBezTo>
                <a:cubicBezTo>
                  <a:pt x="4485284" y="4249889"/>
                  <a:pt x="4496280" y="4219348"/>
                  <a:pt x="4529266" y="4235230"/>
                </a:cubicBezTo>
                <a:cubicBezTo>
                  <a:pt x="4561028" y="4249889"/>
                  <a:pt x="4583017" y="4273100"/>
                  <a:pt x="4583017" y="4312195"/>
                </a:cubicBezTo>
                <a:cubicBezTo>
                  <a:pt x="4585462" y="4347622"/>
                  <a:pt x="4585462" y="4384273"/>
                  <a:pt x="4585462" y="4420922"/>
                </a:cubicBezTo>
                <a:cubicBezTo>
                  <a:pt x="4585462" y="4458793"/>
                  <a:pt x="4584239" y="4496664"/>
                  <a:pt x="4585462" y="4535755"/>
                </a:cubicBezTo>
                <a:cubicBezTo>
                  <a:pt x="4586072" y="4546140"/>
                  <a:pt x="4584544" y="4552858"/>
                  <a:pt x="4580270" y="4556981"/>
                </a:cubicBezTo>
                <a:lnTo>
                  <a:pt x="4558623" y="4562623"/>
                </a:lnTo>
                <a:lnTo>
                  <a:pt x="4558623" y="4566440"/>
                </a:lnTo>
                <a:lnTo>
                  <a:pt x="4573343" y="4568280"/>
                </a:lnTo>
                <a:cubicBezTo>
                  <a:pt x="4578783" y="4570870"/>
                  <a:pt x="4582162" y="4575308"/>
                  <a:pt x="4583997" y="4582238"/>
                </a:cubicBezTo>
                <a:lnTo>
                  <a:pt x="4584236" y="4584622"/>
                </a:lnTo>
                <a:lnTo>
                  <a:pt x="4590467" y="4573843"/>
                </a:lnTo>
                <a:cubicBezTo>
                  <a:pt x="4597795" y="4567736"/>
                  <a:pt x="4609706" y="4566514"/>
                  <a:pt x="4626810" y="4567125"/>
                </a:cubicBezTo>
                <a:cubicBezTo>
                  <a:pt x="4692779" y="4569566"/>
                  <a:pt x="4759971" y="4568344"/>
                  <a:pt x="4827160" y="4567125"/>
                </a:cubicBezTo>
                <a:cubicBezTo>
                  <a:pt x="4852815" y="4567125"/>
                  <a:pt x="4873581" y="4573232"/>
                  <a:pt x="4890685" y="4591556"/>
                </a:cubicBezTo>
                <a:cubicBezTo>
                  <a:pt x="4922450" y="4624541"/>
                  <a:pt x="4922450" y="4641643"/>
                  <a:pt x="4887021" y="4672186"/>
                </a:cubicBezTo>
                <a:cubicBezTo>
                  <a:pt x="4865031" y="4690510"/>
                  <a:pt x="4839376" y="4707614"/>
                  <a:pt x="4847929" y="4741820"/>
                </a:cubicBezTo>
                <a:cubicBezTo>
                  <a:pt x="4857700" y="4779693"/>
                  <a:pt x="4882136" y="4806567"/>
                  <a:pt x="4920006" y="4817562"/>
                </a:cubicBezTo>
                <a:cubicBezTo>
                  <a:pt x="4973756" y="4832222"/>
                  <a:pt x="5023846" y="4829780"/>
                  <a:pt x="5064161" y="4784578"/>
                </a:cubicBezTo>
                <a:cubicBezTo>
                  <a:pt x="5100811" y="4744263"/>
                  <a:pt x="5098367" y="4714943"/>
                  <a:pt x="5056831" y="4679516"/>
                </a:cubicBezTo>
                <a:cubicBezTo>
                  <a:pt x="5039730" y="4664857"/>
                  <a:pt x="5011629" y="4653861"/>
                  <a:pt x="5022625" y="4624541"/>
                </a:cubicBezTo>
                <a:cubicBezTo>
                  <a:pt x="5034842" y="4592778"/>
                  <a:pt x="5056831" y="4568344"/>
                  <a:pt x="5092258" y="4568344"/>
                </a:cubicBezTo>
                <a:cubicBezTo>
                  <a:pt x="5171666" y="4567125"/>
                  <a:pt x="5251073" y="4568344"/>
                  <a:pt x="5330479" y="4567125"/>
                </a:cubicBezTo>
                <a:cubicBezTo>
                  <a:pt x="5354913" y="4567125"/>
                  <a:pt x="5353691" y="4581784"/>
                  <a:pt x="5353691" y="4597667"/>
                </a:cubicBezTo>
                <a:cubicBezTo>
                  <a:pt x="5353691" y="4666079"/>
                  <a:pt x="5353691" y="4734491"/>
                  <a:pt x="5353691" y="4802902"/>
                </a:cubicBezTo>
                <a:cubicBezTo>
                  <a:pt x="5353691" y="4823671"/>
                  <a:pt x="5354913" y="4843218"/>
                  <a:pt x="5372016" y="4859100"/>
                </a:cubicBezTo>
                <a:cubicBezTo>
                  <a:pt x="5390340" y="4876203"/>
                  <a:pt x="5404999" y="4881089"/>
                  <a:pt x="5422104" y="4856655"/>
                </a:cubicBezTo>
                <a:cubicBezTo>
                  <a:pt x="5444093" y="4826114"/>
                  <a:pt x="5470970" y="4796794"/>
                  <a:pt x="5512505" y="4809011"/>
                </a:cubicBezTo>
                <a:cubicBezTo>
                  <a:pt x="5560149" y="4822449"/>
                  <a:pt x="5596799" y="4854213"/>
                  <a:pt x="5607793" y="4905522"/>
                </a:cubicBezTo>
                <a:cubicBezTo>
                  <a:pt x="5620010" y="4965383"/>
                  <a:pt x="5615124" y="5021578"/>
                  <a:pt x="5562593" y="5065559"/>
                </a:cubicBezTo>
                <a:cubicBezTo>
                  <a:pt x="5512505" y="5105874"/>
                  <a:pt x="5473414" y="5103431"/>
                  <a:pt x="5430656" y="5057007"/>
                </a:cubicBezTo>
                <a:cubicBezTo>
                  <a:pt x="5419660" y="5046011"/>
                  <a:pt x="5414773" y="5020357"/>
                  <a:pt x="5392783" y="5030132"/>
                </a:cubicBezTo>
                <a:cubicBezTo>
                  <a:pt x="5370794" y="5039903"/>
                  <a:pt x="5354913" y="5058228"/>
                  <a:pt x="5354913" y="5085106"/>
                </a:cubicBezTo>
                <a:cubicBezTo>
                  <a:pt x="5354913" y="5154739"/>
                  <a:pt x="5353691" y="5224372"/>
                  <a:pt x="5356135" y="5294008"/>
                </a:cubicBezTo>
                <a:lnTo>
                  <a:pt x="5350738" y="5321930"/>
                </a:lnTo>
                <a:lnTo>
                  <a:pt x="5371287" y="5318874"/>
                </a:lnTo>
                <a:cubicBezTo>
                  <a:pt x="5442143" y="5320096"/>
                  <a:pt x="5514220" y="5320096"/>
                  <a:pt x="5585072" y="5318874"/>
                </a:cubicBezTo>
                <a:cubicBezTo>
                  <a:pt x="5613173" y="5318874"/>
                  <a:pt x="5633940" y="5328648"/>
                  <a:pt x="5651043" y="5349416"/>
                </a:cubicBezTo>
                <a:cubicBezTo>
                  <a:pt x="5673032" y="5375071"/>
                  <a:pt x="5677919" y="5398281"/>
                  <a:pt x="5646155" y="5421493"/>
                </a:cubicBezTo>
                <a:cubicBezTo>
                  <a:pt x="5620503" y="5439818"/>
                  <a:pt x="5591181" y="5460587"/>
                  <a:pt x="5603399" y="5498458"/>
                </a:cubicBezTo>
                <a:cubicBezTo>
                  <a:pt x="5616836" y="5539994"/>
                  <a:pt x="5647378" y="5568092"/>
                  <a:pt x="5692578" y="5574200"/>
                </a:cubicBezTo>
                <a:cubicBezTo>
                  <a:pt x="5736560" y="5580308"/>
                  <a:pt x="5778092" y="5577865"/>
                  <a:pt x="5812299" y="5544881"/>
                </a:cubicBezTo>
                <a:cubicBezTo>
                  <a:pt x="5855056" y="5502123"/>
                  <a:pt x="5853835" y="5469139"/>
                  <a:pt x="5808637" y="5430047"/>
                </a:cubicBezTo>
                <a:cubicBezTo>
                  <a:pt x="5792754" y="5416606"/>
                  <a:pt x="5765877" y="5408054"/>
                  <a:pt x="5778092" y="5378737"/>
                </a:cubicBezTo>
                <a:cubicBezTo>
                  <a:pt x="5789088" y="5351860"/>
                  <a:pt x="5807412" y="5324983"/>
                  <a:pt x="5837954" y="5323761"/>
                </a:cubicBezTo>
                <a:cubicBezTo>
                  <a:pt x="5922246" y="5320096"/>
                  <a:pt x="6006538" y="5321318"/>
                  <a:pt x="6089611" y="5320096"/>
                </a:cubicBezTo>
                <a:cubicBezTo>
                  <a:pt x="6110381" y="5320096"/>
                  <a:pt x="6106714" y="5333534"/>
                  <a:pt x="6106714" y="5345752"/>
                </a:cubicBezTo>
                <a:cubicBezTo>
                  <a:pt x="6106714" y="5421493"/>
                  <a:pt x="6107935" y="5498458"/>
                  <a:pt x="6106714" y="5574200"/>
                </a:cubicBezTo>
                <a:cubicBezTo>
                  <a:pt x="6106714" y="5609627"/>
                  <a:pt x="6083502" y="5631617"/>
                  <a:pt x="6052963" y="5646278"/>
                </a:cubicBezTo>
                <a:cubicBezTo>
                  <a:pt x="6019978" y="5662160"/>
                  <a:pt x="6008982" y="5631617"/>
                  <a:pt x="5993101" y="5614516"/>
                </a:cubicBezTo>
                <a:cubicBezTo>
                  <a:pt x="5955231" y="5571758"/>
                  <a:pt x="5932020" y="5570536"/>
                  <a:pt x="5889264" y="5605962"/>
                </a:cubicBezTo>
                <a:cubicBezTo>
                  <a:pt x="5834290" y="5652387"/>
                  <a:pt x="5831845" y="5747674"/>
                  <a:pt x="5885598" y="5796541"/>
                </a:cubicBezTo>
                <a:cubicBezTo>
                  <a:pt x="5928355" y="5835633"/>
                  <a:pt x="5955231" y="5834411"/>
                  <a:pt x="5994323" y="5791654"/>
                </a:cubicBezTo>
                <a:cubicBezTo>
                  <a:pt x="6010204" y="5774551"/>
                  <a:pt x="6021199" y="5744009"/>
                  <a:pt x="6054184" y="5759891"/>
                </a:cubicBezTo>
                <a:cubicBezTo>
                  <a:pt x="6085947" y="5774551"/>
                  <a:pt x="6107935" y="5797761"/>
                  <a:pt x="6107935" y="5836855"/>
                </a:cubicBezTo>
                <a:cubicBezTo>
                  <a:pt x="6110381" y="5872283"/>
                  <a:pt x="6110381" y="5908933"/>
                  <a:pt x="6110381" y="5945582"/>
                </a:cubicBezTo>
                <a:cubicBezTo>
                  <a:pt x="6110381" y="5983452"/>
                  <a:pt x="6109158" y="6021324"/>
                  <a:pt x="6110381" y="6060417"/>
                </a:cubicBezTo>
                <a:lnTo>
                  <a:pt x="6106055" y="6078094"/>
                </a:lnTo>
                <a:lnTo>
                  <a:pt x="6108059" y="6078201"/>
                </a:lnTo>
                <a:cubicBezTo>
                  <a:pt x="6113937" y="6079652"/>
                  <a:pt x="6118214" y="6082172"/>
                  <a:pt x="6121268" y="6085837"/>
                </a:cubicBezTo>
                <a:lnTo>
                  <a:pt x="6125405" y="6096044"/>
                </a:lnTo>
                <a:lnTo>
                  <a:pt x="6126156" y="6094323"/>
                </a:lnTo>
                <a:cubicBezTo>
                  <a:pt x="6132418" y="6087298"/>
                  <a:pt x="6143413" y="6084855"/>
                  <a:pt x="6161736" y="6086077"/>
                </a:cubicBezTo>
                <a:cubicBezTo>
                  <a:pt x="6230149" y="6089740"/>
                  <a:pt x="6298561" y="6088520"/>
                  <a:pt x="6366973" y="6086077"/>
                </a:cubicBezTo>
                <a:cubicBezTo>
                  <a:pt x="6399958" y="6084855"/>
                  <a:pt x="6420725" y="6100737"/>
                  <a:pt x="6439050" y="6125170"/>
                </a:cubicBezTo>
                <a:cubicBezTo>
                  <a:pt x="6454932" y="6147159"/>
                  <a:pt x="6456154" y="6166707"/>
                  <a:pt x="6431720" y="6186252"/>
                </a:cubicBezTo>
                <a:cubicBezTo>
                  <a:pt x="6403623" y="6209464"/>
                  <a:pt x="6364530" y="6230232"/>
                  <a:pt x="6388963" y="6279097"/>
                </a:cubicBezTo>
                <a:cubicBezTo>
                  <a:pt x="6413395" y="6327963"/>
                  <a:pt x="6463484" y="6351176"/>
                  <a:pt x="6524567" y="6343846"/>
                </a:cubicBezTo>
                <a:cubicBezTo>
                  <a:pt x="6570989" y="6337738"/>
                  <a:pt x="6618633" y="6299866"/>
                  <a:pt x="6624741" y="6260772"/>
                </a:cubicBezTo>
                <a:cubicBezTo>
                  <a:pt x="6629628" y="6231454"/>
                  <a:pt x="6608861" y="6214349"/>
                  <a:pt x="6589314" y="6197247"/>
                </a:cubicBezTo>
                <a:cubicBezTo>
                  <a:pt x="6572211" y="6182587"/>
                  <a:pt x="6546556" y="6170372"/>
                  <a:pt x="6559994" y="6139830"/>
                </a:cubicBezTo>
                <a:cubicBezTo>
                  <a:pt x="6572211" y="6112953"/>
                  <a:pt x="6590536" y="6088520"/>
                  <a:pt x="6622298" y="6087298"/>
                </a:cubicBezTo>
                <a:cubicBezTo>
                  <a:pt x="6705370" y="6084855"/>
                  <a:pt x="6787220" y="6086077"/>
                  <a:pt x="6870294" y="6086077"/>
                </a:cubicBezTo>
                <a:lnTo>
                  <a:pt x="6878000" y="6089431"/>
                </a:lnTo>
                <a:lnTo>
                  <a:pt x="6879007" y="6086924"/>
                </a:lnTo>
                <a:lnTo>
                  <a:pt x="6877557" y="6084401"/>
                </a:lnTo>
                <a:cubicBezTo>
                  <a:pt x="6876221" y="6079209"/>
                  <a:pt x="6875763" y="6072642"/>
                  <a:pt x="6876069" y="6064396"/>
                </a:cubicBezTo>
                <a:cubicBezTo>
                  <a:pt x="6879734" y="5997205"/>
                  <a:pt x="6877291" y="5928793"/>
                  <a:pt x="6877291" y="5860381"/>
                </a:cubicBezTo>
                <a:cubicBezTo>
                  <a:pt x="6877291" y="5829839"/>
                  <a:pt x="6861409" y="5807849"/>
                  <a:pt x="6835754" y="5796854"/>
                </a:cubicBezTo>
                <a:cubicBezTo>
                  <a:pt x="6812542" y="5787081"/>
                  <a:pt x="6806435" y="5815179"/>
                  <a:pt x="6794219" y="5827396"/>
                </a:cubicBezTo>
                <a:cubicBezTo>
                  <a:pt x="6753903" y="5867710"/>
                  <a:pt x="6717253" y="5871375"/>
                  <a:pt x="6672053" y="5838391"/>
                </a:cubicBezTo>
                <a:cubicBezTo>
                  <a:pt x="6620744" y="5800519"/>
                  <a:pt x="6613414" y="5749211"/>
                  <a:pt x="6618301" y="5690570"/>
                </a:cubicBezTo>
                <a:cubicBezTo>
                  <a:pt x="6623188" y="5633153"/>
                  <a:pt x="6657393" y="5597725"/>
                  <a:pt x="6707480" y="5578181"/>
                </a:cubicBezTo>
                <a:cubicBezTo>
                  <a:pt x="6753903" y="5559855"/>
                  <a:pt x="6782002" y="5590395"/>
                  <a:pt x="6806435" y="5623380"/>
                </a:cubicBezTo>
                <a:cubicBezTo>
                  <a:pt x="6824759" y="5647814"/>
                  <a:pt x="6839419" y="5640484"/>
                  <a:pt x="6856522" y="5623380"/>
                </a:cubicBezTo>
                <a:cubicBezTo>
                  <a:pt x="6871182" y="5607498"/>
                  <a:pt x="6876069" y="5589174"/>
                  <a:pt x="6876069" y="5567184"/>
                </a:cubicBezTo>
                <a:cubicBezTo>
                  <a:pt x="6874847" y="5501214"/>
                  <a:pt x="6877291" y="5436468"/>
                  <a:pt x="6874847" y="5371720"/>
                </a:cubicBezTo>
                <a:cubicBezTo>
                  <a:pt x="6873626" y="5342401"/>
                  <a:pt x="6879734" y="5331406"/>
                  <a:pt x="6912719" y="5332627"/>
                </a:cubicBezTo>
                <a:cubicBezTo>
                  <a:pt x="6979908" y="5335071"/>
                  <a:pt x="7045878" y="5332627"/>
                  <a:pt x="7113069" y="5333849"/>
                </a:cubicBezTo>
                <a:cubicBezTo>
                  <a:pt x="7143610" y="5333849"/>
                  <a:pt x="7166822" y="5321632"/>
                  <a:pt x="7179039" y="5295978"/>
                </a:cubicBezTo>
                <a:cubicBezTo>
                  <a:pt x="7191254" y="5269101"/>
                  <a:pt x="7159492" y="5264216"/>
                  <a:pt x="7147275" y="5250776"/>
                </a:cubicBezTo>
                <a:cubicBezTo>
                  <a:pt x="7109404" y="5212905"/>
                  <a:pt x="7104517" y="5178699"/>
                  <a:pt x="7136280" y="5133498"/>
                </a:cubicBezTo>
                <a:cubicBezTo>
                  <a:pt x="7175372" y="5077303"/>
                  <a:pt x="7231569" y="5072416"/>
                  <a:pt x="7292651" y="5078525"/>
                </a:cubicBezTo>
                <a:cubicBezTo>
                  <a:pt x="7337853" y="5083410"/>
                  <a:pt x="7389162" y="5124946"/>
                  <a:pt x="7400157" y="5167705"/>
                </a:cubicBezTo>
                <a:cubicBezTo>
                  <a:pt x="7412373" y="5211683"/>
                  <a:pt x="7387940" y="5242226"/>
                  <a:pt x="7354955" y="5264216"/>
                </a:cubicBezTo>
                <a:cubicBezTo>
                  <a:pt x="7324413" y="5284983"/>
                  <a:pt x="7336631" y="5300865"/>
                  <a:pt x="7357398" y="5319191"/>
                </a:cubicBezTo>
                <a:cubicBezTo>
                  <a:pt x="7372058" y="5332627"/>
                  <a:pt x="7390383" y="5335071"/>
                  <a:pt x="7409930" y="5335071"/>
                </a:cubicBezTo>
                <a:cubicBezTo>
                  <a:pt x="7478342" y="5333849"/>
                  <a:pt x="7546754" y="5335071"/>
                  <a:pt x="7615166" y="5333849"/>
                </a:cubicBezTo>
                <a:cubicBezTo>
                  <a:pt x="7638378" y="5333849"/>
                  <a:pt x="7644486" y="5339958"/>
                  <a:pt x="7644486" y="5363168"/>
                </a:cubicBezTo>
                <a:cubicBezTo>
                  <a:pt x="7643265" y="5436468"/>
                  <a:pt x="7644486" y="5508546"/>
                  <a:pt x="7644486" y="5581843"/>
                </a:cubicBezTo>
                <a:cubicBezTo>
                  <a:pt x="7644486" y="5622159"/>
                  <a:pt x="7622498" y="5646592"/>
                  <a:pt x="7588291" y="5661252"/>
                </a:cubicBezTo>
                <a:cubicBezTo>
                  <a:pt x="7552863" y="5677133"/>
                  <a:pt x="7545534" y="5642927"/>
                  <a:pt x="7529651" y="5627045"/>
                </a:cubicBezTo>
                <a:cubicBezTo>
                  <a:pt x="7493002" y="5589174"/>
                  <a:pt x="7468569" y="5586731"/>
                  <a:pt x="7428255" y="5619716"/>
                </a:cubicBezTo>
                <a:cubicBezTo>
                  <a:pt x="7384275" y="5656366"/>
                  <a:pt x="7381832" y="5704009"/>
                  <a:pt x="7390383" y="5754097"/>
                </a:cubicBezTo>
                <a:cubicBezTo>
                  <a:pt x="7397713" y="5798076"/>
                  <a:pt x="7428255" y="5823731"/>
                  <a:pt x="7466127" y="5837169"/>
                </a:cubicBezTo>
                <a:cubicBezTo>
                  <a:pt x="7500332" y="5849386"/>
                  <a:pt x="7521101" y="5820066"/>
                  <a:pt x="7538204" y="5795633"/>
                </a:cubicBezTo>
                <a:cubicBezTo>
                  <a:pt x="7563858" y="5760204"/>
                  <a:pt x="7589513" y="5766314"/>
                  <a:pt x="7617611" y="5791968"/>
                </a:cubicBezTo>
                <a:cubicBezTo>
                  <a:pt x="7635935" y="5809071"/>
                  <a:pt x="7645708" y="5829839"/>
                  <a:pt x="7644486" y="5855493"/>
                </a:cubicBezTo>
                <a:cubicBezTo>
                  <a:pt x="7643265" y="5890921"/>
                  <a:pt x="7644486" y="5925128"/>
                  <a:pt x="7644486" y="5960555"/>
                </a:cubicBezTo>
                <a:cubicBezTo>
                  <a:pt x="7643265" y="5998427"/>
                  <a:pt x="7643265" y="6036299"/>
                  <a:pt x="7645708" y="6072947"/>
                </a:cubicBezTo>
                <a:lnTo>
                  <a:pt x="7643676" y="6091527"/>
                </a:lnTo>
                <a:lnTo>
                  <a:pt x="7645318" y="6082343"/>
                </a:lnTo>
                <a:cubicBezTo>
                  <a:pt x="7650662" y="6075776"/>
                  <a:pt x="7660435" y="6073028"/>
                  <a:pt x="7677538" y="6073639"/>
                </a:cubicBezTo>
                <a:cubicBezTo>
                  <a:pt x="7747172" y="6077304"/>
                  <a:pt x="7816806" y="6074861"/>
                  <a:pt x="7886441" y="6074861"/>
                </a:cubicBezTo>
                <a:cubicBezTo>
                  <a:pt x="7915760" y="6074861"/>
                  <a:pt x="7938970" y="6085854"/>
                  <a:pt x="7956073" y="6107844"/>
                </a:cubicBezTo>
                <a:cubicBezTo>
                  <a:pt x="7975620" y="6132276"/>
                  <a:pt x="7979285" y="6154268"/>
                  <a:pt x="7949965" y="6176258"/>
                </a:cubicBezTo>
                <a:cubicBezTo>
                  <a:pt x="7924311" y="6195803"/>
                  <a:pt x="7890105" y="6216571"/>
                  <a:pt x="7905986" y="6256885"/>
                </a:cubicBezTo>
                <a:cubicBezTo>
                  <a:pt x="7923090" y="6298422"/>
                  <a:pt x="7953630" y="6327742"/>
                  <a:pt x="8002497" y="6331407"/>
                </a:cubicBezTo>
                <a:cubicBezTo>
                  <a:pt x="8041589" y="6335072"/>
                  <a:pt x="8078239" y="6332629"/>
                  <a:pt x="8110001" y="6304530"/>
                </a:cubicBezTo>
                <a:cubicBezTo>
                  <a:pt x="8160089" y="6258108"/>
                  <a:pt x="8160089" y="6228788"/>
                  <a:pt x="8110001" y="6183586"/>
                </a:cubicBezTo>
                <a:cubicBezTo>
                  <a:pt x="8095342" y="6171371"/>
                  <a:pt x="8070909" y="6161598"/>
                  <a:pt x="8079461" y="6135943"/>
                </a:cubicBezTo>
                <a:cubicBezTo>
                  <a:pt x="8089234" y="6106623"/>
                  <a:pt x="8108779" y="6078526"/>
                  <a:pt x="8141764" y="6077304"/>
                </a:cubicBezTo>
                <a:cubicBezTo>
                  <a:pt x="8226058" y="6073639"/>
                  <a:pt x="8310352" y="6074861"/>
                  <a:pt x="8393425" y="6074861"/>
                </a:cubicBezTo>
                <a:cubicBezTo>
                  <a:pt x="8399838" y="6074861"/>
                  <a:pt x="8404037" y="6076082"/>
                  <a:pt x="8406729" y="6078106"/>
                </a:cubicBezTo>
                <a:lnTo>
                  <a:pt x="8410249" y="6084768"/>
                </a:lnTo>
                <a:lnTo>
                  <a:pt x="8414744" y="6080797"/>
                </a:lnTo>
                <a:cubicBezTo>
                  <a:pt x="8420699" y="6078506"/>
                  <a:pt x="8428640" y="6079422"/>
                  <a:pt x="8436581" y="6079422"/>
                </a:cubicBezTo>
                <a:cubicBezTo>
                  <a:pt x="8504993" y="6079422"/>
                  <a:pt x="8573405" y="6079422"/>
                  <a:pt x="8641819" y="6079422"/>
                </a:cubicBezTo>
                <a:cubicBezTo>
                  <a:pt x="8660144" y="6079422"/>
                  <a:pt x="8677247" y="6078202"/>
                  <a:pt x="8690684" y="6065984"/>
                </a:cubicBezTo>
                <a:cubicBezTo>
                  <a:pt x="8713896" y="6046439"/>
                  <a:pt x="8726112" y="6030557"/>
                  <a:pt x="8693127" y="6003680"/>
                </a:cubicBezTo>
                <a:cubicBezTo>
                  <a:pt x="8633267" y="5957258"/>
                  <a:pt x="8633267" y="5909613"/>
                  <a:pt x="8688242" y="5855861"/>
                </a:cubicBezTo>
                <a:cubicBezTo>
                  <a:pt x="8746881" y="5798443"/>
                  <a:pt x="8856828" y="5805773"/>
                  <a:pt x="8909360" y="5870521"/>
                </a:cubicBezTo>
                <a:cubicBezTo>
                  <a:pt x="8949675" y="5919386"/>
                  <a:pt x="8946010" y="5954815"/>
                  <a:pt x="8900808" y="5998795"/>
                </a:cubicBezTo>
                <a:cubicBezTo>
                  <a:pt x="8888593" y="6011010"/>
                  <a:pt x="8861716" y="6017119"/>
                  <a:pt x="8873933" y="6041552"/>
                </a:cubicBezTo>
                <a:cubicBezTo>
                  <a:pt x="8884928" y="6063542"/>
                  <a:pt x="8904473" y="6078202"/>
                  <a:pt x="8931350" y="6078202"/>
                </a:cubicBezTo>
                <a:cubicBezTo>
                  <a:pt x="8999762" y="6078202"/>
                  <a:pt x="9068174" y="6080644"/>
                  <a:pt x="9136587" y="6076979"/>
                </a:cubicBezTo>
                <a:cubicBezTo>
                  <a:pt x="9146055" y="6076369"/>
                  <a:pt x="9153537" y="6076751"/>
                  <a:pt x="9159416" y="6078201"/>
                </a:cubicBezTo>
                <a:lnTo>
                  <a:pt x="9160395" y="6078767"/>
                </a:lnTo>
                <a:lnTo>
                  <a:pt x="9159383" y="6065178"/>
                </a:lnTo>
                <a:cubicBezTo>
                  <a:pt x="9161828" y="5995543"/>
                  <a:pt x="9159383" y="5925909"/>
                  <a:pt x="9160606" y="5856275"/>
                </a:cubicBezTo>
                <a:cubicBezTo>
                  <a:pt x="9160606" y="5828177"/>
                  <a:pt x="9147168" y="5809852"/>
                  <a:pt x="9125178" y="5798859"/>
                </a:cubicBezTo>
                <a:cubicBezTo>
                  <a:pt x="9099523" y="5785420"/>
                  <a:pt x="9094636" y="5813517"/>
                  <a:pt x="9083641" y="5825735"/>
                </a:cubicBezTo>
                <a:cubicBezTo>
                  <a:pt x="9042106" y="5869714"/>
                  <a:pt x="9003012" y="5873379"/>
                  <a:pt x="8954147" y="5835507"/>
                </a:cubicBezTo>
                <a:cubicBezTo>
                  <a:pt x="8928492" y="5817184"/>
                  <a:pt x="8916275" y="5790307"/>
                  <a:pt x="8901615" y="5764652"/>
                </a:cubicBezTo>
                <a:cubicBezTo>
                  <a:pt x="8901615" y="5732890"/>
                  <a:pt x="8901615" y="5701127"/>
                  <a:pt x="8902838" y="5668142"/>
                </a:cubicBezTo>
                <a:cubicBezTo>
                  <a:pt x="8963920" y="5559415"/>
                  <a:pt x="9012786" y="5550862"/>
                  <a:pt x="9099523" y="5630271"/>
                </a:cubicBezTo>
                <a:cubicBezTo>
                  <a:pt x="9111739" y="5641266"/>
                  <a:pt x="9120291" y="5642486"/>
                  <a:pt x="9132508" y="5633936"/>
                </a:cubicBezTo>
                <a:cubicBezTo>
                  <a:pt x="9153276" y="5618054"/>
                  <a:pt x="9161828" y="5599729"/>
                  <a:pt x="9161828" y="5572855"/>
                </a:cubicBezTo>
                <a:cubicBezTo>
                  <a:pt x="9160606" y="5509327"/>
                  <a:pt x="9165493" y="5445801"/>
                  <a:pt x="9160606" y="5382276"/>
                </a:cubicBezTo>
                <a:cubicBezTo>
                  <a:pt x="9156941" y="5337075"/>
                  <a:pt x="9174043" y="5329745"/>
                  <a:pt x="9213137" y="5332188"/>
                </a:cubicBezTo>
                <a:cubicBezTo>
                  <a:pt x="9275440" y="5335853"/>
                  <a:pt x="9336524" y="5332188"/>
                  <a:pt x="9398827" y="5333410"/>
                </a:cubicBezTo>
                <a:cubicBezTo>
                  <a:pt x="9430591" y="5333410"/>
                  <a:pt x="9456246" y="5322415"/>
                  <a:pt x="9467240" y="5293094"/>
                </a:cubicBezTo>
                <a:cubicBezTo>
                  <a:pt x="9477013" y="5266220"/>
                  <a:pt x="9447693" y="5262554"/>
                  <a:pt x="9434256" y="5249118"/>
                </a:cubicBezTo>
                <a:cubicBezTo>
                  <a:pt x="9398827" y="5213689"/>
                  <a:pt x="9392719" y="5180704"/>
                  <a:pt x="9419596" y="5139169"/>
                </a:cubicBezTo>
                <a:cubicBezTo>
                  <a:pt x="9467240" y="5064646"/>
                  <a:pt x="9584518" y="5048767"/>
                  <a:pt x="9648044" y="5109848"/>
                </a:cubicBezTo>
                <a:cubicBezTo>
                  <a:pt x="9705461" y="5164823"/>
                  <a:pt x="9706684" y="5208802"/>
                  <a:pt x="9643157" y="5260110"/>
                </a:cubicBezTo>
                <a:cubicBezTo>
                  <a:pt x="9612615" y="5284544"/>
                  <a:pt x="9622389" y="5300426"/>
                  <a:pt x="9644379" y="5319971"/>
                </a:cubicBezTo>
                <a:cubicBezTo>
                  <a:pt x="9660261" y="5333410"/>
                  <a:pt x="9678584" y="5334631"/>
                  <a:pt x="9698131" y="5334631"/>
                </a:cubicBezTo>
                <a:cubicBezTo>
                  <a:pt x="9766544" y="5334631"/>
                  <a:pt x="9834956" y="5335853"/>
                  <a:pt x="9903370" y="5334631"/>
                </a:cubicBezTo>
                <a:cubicBezTo>
                  <a:pt x="9917113" y="5334631"/>
                  <a:pt x="9926046" y="5336007"/>
                  <a:pt x="9929654" y="5346485"/>
                </a:cubicBezTo>
                <a:lnTo>
                  <a:pt x="9930724" y="5354628"/>
                </a:lnTo>
                <a:lnTo>
                  <a:pt x="9932264" y="5354628"/>
                </a:lnTo>
                <a:lnTo>
                  <a:pt x="9932800" y="5349644"/>
                </a:lnTo>
                <a:cubicBezTo>
                  <a:pt x="9935434" y="5343481"/>
                  <a:pt x="9940130" y="5339572"/>
                  <a:pt x="9947918" y="5337597"/>
                </a:cubicBezTo>
                <a:lnTo>
                  <a:pt x="9951318" y="5337347"/>
                </a:lnTo>
                <a:lnTo>
                  <a:pt x="9952291" y="5335521"/>
                </a:lnTo>
                <a:lnTo>
                  <a:pt x="9934946" y="5330599"/>
                </a:lnTo>
                <a:cubicBezTo>
                  <a:pt x="9931128" y="5326323"/>
                  <a:pt x="9930211" y="5319604"/>
                  <a:pt x="9930821" y="5309831"/>
                </a:cubicBezTo>
                <a:cubicBezTo>
                  <a:pt x="9932044" y="5235310"/>
                  <a:pt x="9932044" y="5160790"/>
                  <a:pt x="9930821" y="5086269"/>
                </a:cubicBezTo>
                <a:cubicBezTo>
                  <a:pt x="9930821" y="5052061"/>
                  <a:pt x="9950369" y="5030071"/>
                  <a:pt x="9976023" y="5012969"/>
                </a:cubicBezTo>
                <a:cubicBezTo>
                  <a:pt x="9993126" y="5001974"/>
                  <a:pt x="10009008" y="5003196"/>
                  <a:pt x="10026111" y="5020300"/>
                </a:cubicBezTo>
                <a:cubicBezTo>
                  <a:pt x="10092080" y="5086269"/>
                  <a:pt x="10106740" y="5088711"/>
                  <a:pt x="10151942" y="5045954"/>
                </a:cubicBezTo>
                <a:cubicBezTo>
                  <a:pt x="10198364" y="5001974"/>
                  <a:pt x="10203251" y="4916459"/>
                  <a:pt x="10160492" y="4868816"/>
                </a:cubicBezTo>
                <a:cubicBezTo>
                  <a:pt x="10115292" y="4817505"/>
                  <a:pt x="10084750" y="4817505"/>
                  <a:pt x="10039550" y="4867593"/>
                </a:cubicBezTo>
                <a:cubicBezTo>
                  <a:pt x="10026111" y="4882253"/>
                  <a:pt x="10017560" y="4907907"/>
                  <a:pt x="9987018" y="4895690"/>
                </a:cubicBezTo>
                <a:cubicBezTo>
                  <a:pt x="9956476" y="4883475"/>
                  <a:pt x="9933266" y="4863928"/>
                  <a:pt x="9932044" y="4830943"/>
                </a:cubicBezTo>
                <a:cubicBezTo>
                  <a:pt x="9929601" y="4750316"/>
                  <a:pt x="9930821" y="4669686"/>
                  <a:pt x="9929601" y="4587835"/>
                </a:cubicBezTo>
                <a:cubicBezTo>
                  <a:pt x="9929601" y="4564624"/>
                  <a:pt x="9944261" y="4568288"/>
                  <a:pt x="9957699" y="4568288"/>
                </a:cubicBezTo>
                <a:cubicBezTo>
                  <a:pt x="10024890" y="4568288"/>
                  <a:pt x="10090860" y="4568288"/>
                  <a:pt x="10158050" y="4568288"/>
                </a:cubicBezTo>
                <a:cubicBezTo>
                  <a:pt x="10173932" y="4568288"/>
                  <a:pt x="10189812" y="4569509"/>
                  <a:pt x="10204472" y="4560959"/>
                </a:cubicBezTo>
                <a:cubicBezTo>
                  <a:pt x="10241122" y="4540189"/>
                  <a:pt x="10243566" y="4520644"/>
                  <a:pt x="10213024" y="4493768"/>
                </a:cubicBezTo>
                <a:cubicBezTo>
                  <a:pt x="10155607" y="4442457"/>
                  <a:pt x="10154385" y="4398478"/>
                  <a:pt x="10209359" y="4345948"/>
                </a:cubicBezTo>
                <a:cubicBezTo>
                  <a:pt x="10239900" y="4316628"/>
                  <a:pt x="10283268" y="4304412"/>
                  <a:pt x="10325263" y="4307925"/>
                </a:cubicBezTo>
                <a:cubicBezTo>
                  <a:pt x="10367257" y="4311436"/>
                  <a:pt x="10407876" y="4330677"/>
                  <a:pt x="10432920" y="4364272"/>
                </a:cubicBezTo>
                <a:cubicBezTo>
                  <a:pt x="10467127" y="4409475"/>
                  <a:pt x="10462240" y="4447344"/>
                  <a:pt x="10423148" y="4486437"/>
                </a:cubicBezTo>
                <a:cubicBezTo>
                  <a:pt x="10410932" y="4498655"/>
                  <a:pt x="10377948" y="4502319"/>
                  <a:pt x="10393828" y="4531639"/>
                </a:cubicBezTo>
                <a:cubicBezTo>
                  <a:pt x="10407266" y="4557294"/>
                  <a:pt x="10429257" y="4569509"/>
                  <a:pt x="10459798" y="4569509"/>
                </a:cubicBezTo>
                <a:cubicBezTo>
                  <a:pt x="10526989" y="4568288"/>
                  <a:pt x="10592957" y="4570731"/>
                  <a:pt x="10660149" y="4568288"/>
                </a:cubicBezTo>
                <a:cubicBezTo>
                  <a:pt x="10690691" y="4567067"/>
                  <a:pt x="10701684" y="4574397"/>
                  <a:pt x="10700463" y="4607381"/>
                </a:cubicBezTo>
                <a:cubicBezTo>
                  <a:pt x="10698020" y="4672129"/>
                  <a:pt x="10699241" y="4738097"/>
                  <a:pt x="10699241" y="4802845"/>
                </a:cubicBezTo>
                <a:cubicBezTo>
                  <a:pt x="10699241" y="4830943"/>
                  <a:pt x="10693133" y="4855378"/>
                  <a:pt x="10672366" y="4876145"/>
                </a:cubicBezTo>
                <a:cubicBezTo>
                  <a:pt x="10640602" y="4907907"/>
                  <a:pt x="10621056" y="4906687"/>
                  <a:pt x="10591736" y="4872480"/>
                </a:cubicBezTo>
                <a:cubicBezTo>
                  <a:pt x="10572189" y="4850489"/>
                  <a:pt x="10553864" y="4819948"/>
                  <a:pt x="10518437" y="4833387"/>
                </a:cubicBezTo>
                <a:cubicBezTo>
                  <a:pt x="10479345" y="4848047"/>
                  <a:pt x="10450025" y="4873702"/>
                  <a:pt x="10443915" y="4917681"/>
                </a:cubicBezTo>
                <a:cubicBezTo>
                  <a:pt x="10436587" y="4970212"/>
                  <a:pt x="10439030" y="5019078"/>
                  <a:pt x="10486675" y="5054507"/>
                </a:cubicBezTo>
                <a:cubicBezTo>
                  <a:pt x="10525767" y="5083825"/>
                  <a:pt x="10547757" y="5081381"/>
                  <a:pt x="10580742" y="5045954"/>
                </a:cubicBezTo>
                <a:cubicBezTo>
                  <a:pt x="10597844" y="5027629"/>
                  <a:pt x="10607617" y="4993424"/>
                  <a:pt x="10643046" y="5009304"/>
                </a:cubicBezTo>
                <a:cubicBezTo>
                  <a:pt x="10677251" y="5023964"/>
                  <a:pt x="10698020" y="5052061"/>
                  <a:pt x="10699241" y="5089935"/>
                </a:cubicBezTo>
                <a:cubicBezTo>
                  <a:pt x="10700463" y="5163234"/>
                  <a:pt x="10699241" y="5236532"/>
                  <a:pt x="10700463" y="5308610"/>
                </a:cubicBezTo>
                <a:lnTo>
                  <a:pt x="10695953" y="5325919"/>
                </a:lnTo>
                <a:lnTo>
                  <a:pt x="10695953" y="5342506"/>
                </a:lnTo>
                <a:lnTo>
                  <a:pt x="10697005" y="5340688"/>
                </a:lnTo>
                <a:cubicBezTo>
                  <a:pt x="10705709" y="5333510"/>
                  <a:pt x="10719758" y="5332289"/>
                  <a:pt x="10739305" y="5333510"/>
                </a:cubicBezTo>
                <a:cubicBezTo>
                  <a:pt x="10801608" y="5337175"/>
                  <a:pt x="10862692" y="5333510"/>
                  <a:pt x="10924995" y="5334732"/>
                </a:cubicBezTo>
                <a:cubicBezTo>
                  <a:pt x="10956759" y="5334732"/>
                  <a:pt x="10982414" y="5323737"/>
                  <a:pt x="10993408" y="5294417"/>
                </a:cubicBezTo>
                <a:cubicBezTo>
                  <a:pt x="11003181" y="5267541"/>
                  <a:pt x="10973861" y="5263877"/>
                  <a:pt x="10960424" y="5250439"/>
                </a:cubicBezTo>
                <a:cubicBezTo>
                  <a:pt x="10924995" y="5215009"/>
                  <a:pt x="10918887" y="5182026"/>
                  <a:pt x="10945764" y="5140490"/>
                </a:cubicBezTo>
                <a:cubicBezTo>
                  <a:pt x="10993408" y="5065968"/>
                  <a:pt x="11110686" y="5050088"/>
                  <a:pt x="11174212" y="5111172"/>
                </a:cubicBezTo>
                <a:cubicBezTo>
                  <a:pt x="11231629" y="5166144"/>
                  <a:pt x="11232852" y="5210124"/>
                  <a:pt x="11169325" y="5261432"/>
                </a:cubicBezTo>
                <a:cubicBezTo>
                  <a:pt x="11138783" y="5285866"/>
                  <a:pt x="11148557" y="5301748"/>
                  <a:pt x="11170547" y="5321293"/>
                </a:cubicBezTo>
                <a:cubicBezTo>
                  <a:pt x="11186429" y="5334732"/>
                  <a:pt x="11204752" y="5335954"/>
                  <a:pt x="11224299" y="5335954"/>
                </a:cubicBezTo>
                <a:cubicBezTo>
                  <a:pt x="11292712" y="5335954"/>
                  <a:pt x="11361124" y="5337175"/>
                  <a:pt x="11429538" y="5335954"/>
                </a:cubicBezTo>
                <a:cubicBezTo>
                  <a:pt x="11447862" y="5335954"/>
                  <a:pt x="11457635" y="5338397"/>
                  <a:pt x="11457635" y="5361608"/>
                </a:cubicBezTo>
                <a:cubicBezTo>
                  <a:pt x="11456413" y="5436129"/>
                  <a:pt x="11457635" y="5510649"/>
                  <a:pt x="11456413" y="5585169"/>
                </a:cubicBezTo>
                <a:cubicBezTo>
                  <a:pt x="11455192" y="5623042"/>
                  <a:pt x="11433202" y="5648697"/>
                  <a:pt x="11397773" y="5663355"/>
                </a:cubicBezTo>
                <a:cubicBezTo>
                  <a:pt x="11362346" y="5676794"/>
                  <a:pt x="11356238" y="5645031"/>
                  <a:pt x="11340356" y="5627928"/>
                </a:cubicBezTo>
                <a:cubicBezTo>
                  <a:pt x="11304929" y="5590057"/>
                  <a:pt x="11282939" y="5587614"/>
                  <a:pt x="11242624" y="5618154"/>
                </a:cubicBezTo>
                <a:cubicBezTo>
                  <a:pt x="11203532" y="5647475"/>
                  <a:pt x="11196202" y="5686566"/>
                  <a:pt x="11198645" y="5731767"/>
                </a:cubicBezTo>
                <a:cubicBezTo>
                  <a:pt x="11201089" y="5781856"/>
                  <a:pt x="11227964" y="5823392"/>
                  <a:pt x="11271944" y="5838051"/>
                </a:cubicBezTo>
                <a:cubicBezTo>
                  <a:pt x="11313481" y="5852711"/>
                  <a:pt x="11333026" y="5820947"/>
                  <a:pt x="11352573" y="5795294"/>
                </a:cubicBezTo>
                <a:cubicBezTo>
                  <a:pt x="11377006" y="5764752"/>
                  <a:pt x="11400218" y="5769639"/>
                  <a:pt x="11424650" y="5791629"/>
                </a:cubicBezTo>
                <a:cubicBezTo>
                  <a:pt x="11445418" y="5809954"/>
                  <a:pt x="11457635" y="5833164"/>
                  <a:pt x="11456413" y="5862484"/>
                </a:cubicBezTo>
                <a:cubicBezTo>
                  <a:pt x="11455192" y="5906464"/>
                  <a:pt x="11456413" y="5951665"/>
                  <a:pt x="11456413" y="5995645"/>
                </a:cubicBezTo>
                <a:cubicBezTo>
                  <a:pt x="11456413" y="6035959"/>
                  <a:pt x="11456413" y="6061155"/>
                  <a:pt x="11450808" y="6076903"/>
                </a:cubicBezTo>
                <a:lnTo>
                  <a:pt x="11443434" y="6089200"/>
                </a:lnTo>
                <a:lnTo>
                  <a:pt x="11447629" y="6089179"/>
                </a:lnTo>
                <a:lnTo>
                  <a:pt x="11460380" y="6094729"/>
                </a:lnTo>
                <a:lnTo>
                  <a:pt x="11461414" y="6089396"/>
                </a:lnTo>
                <a:cubicBezTo>
                  <a:pt x="11466607" y="6083288"/>
                  <a:pt x="11475769" y="6080844"/>
                  <a:pt x="11491039" y="6081456"/>
                </a:cubicBezTo>
                <a:cubicBezTo>
                  <a:pt x="11555788" y="6083898"/>
                  <a:pt x="11621755" y="6082676"/>
                  <a:pt x="11686503" y="6082676"/>
                </a:cubicBezTo>
                <a:cubicBezTo>
                  <a:pt x="11702385" y="6082676"/>
                  <a:pt x="11718267" y="6082676"/>
                  <a:pt x="11732927" y="6074124"/>
                </a:cubicBezTo>
                <a:cubicBezTo>
                  <a:pt x="11768354" y="6055799"/>
                  <a:pt x="11770797" y="6033811"/>
                  <a:pt x="11741477" y="6008156"/>
                </a:cubicBezTo>
                <a:cubicBezTo>
                  <a:pt x="11715824" y="5986166"/>
                  <a:pt x="11688947" y="5961732"/>
                  <a:pt x="11698720" y="5923862"/>
                </a:cubicBezTo>
                <a:cubicBezTo>
                  <a:pt x="11710937" y="5878660"/>
                  <a:pt x="11741477" y="5844455"/>
                  <a:pt x="11785457" y="5829795"/>
                </a:cubicBezTo>
                <a:cubicBezTo>
                  <a:pt x="11801644" y="5823992"/>
                  <a:pt x="11818289" y="5821014"/>
                  <a:pt x="11834763" y="5820594"/>
                </a:cubicBezTo>
                <a:cubicBezTo>
                  <a:pt x="11884183" y="5819334"/>
                  <a:pt x="11932056" y="5841095"/>
                  <a:pt x="11961375" y="5878660"/>
                </a:cubicBezTo>
                <a:cubicBezTo>
                  <a:pt x="11998025" y="5925083"/>
                  <a:pt x="11993137" y="5961732"/>
                  <a:pt x="11949158" y="6003269"/>
                </a:cubicBezTo>
                <a:cubicBezTo>
                  <a:pt x="11936942" y="6014264"/>
                  <a:pt x="11910065" y="6019151"/>
                  <a:pt x="11922283" y="6046026"/>
                </a:cubicBezTo>
                <a:cubicBezTo>
                  <a:pt x="11934500" y="6070461"/>
                  <a:pt x="11956488" y="6082676"/>
                  <a:pt x="11983365" y="6082676"/>
                </a:cubicBezTo>
                <a:cubicBezTo>
                  <a:pt x="12050556" y="6082676"/>
                  <a:pt x="12116524" y="6085121"/>
                  <a:pt x="12183716" y="6081456"/>
                </a:cubicBezTo>
                <a:lnTo>
                  <a:pt x="12191999" y="6083007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Your Picture Her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024222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01292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28">
            <a:extLst>
              <a:ext uri="{FF2B5EF4-FFF2-40B4-BE49-F238E27FC236}">
                <a16:creationId xmlns:a16="http://schemas.microsoft.com/office/drawing/2014/main" id="{B3BBCB23-58AF-458F-BAC2-DC1BBAED23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4349" y="777240"/>
            <a:ext cx="5770675" cy="5303520"/>
          </a:xfrm>
          <a:custGeom>
            <a:avLst/>
            <a:gdLst>
              <a:gd name="connsiteX0" fmla="*/ 2651762 w 5770675"/>
              <a:gd name="connsiteY0" fmla="*/ 1143000 h 5303520"/>
              <a:gd name="connsiteX1" fmla="*/ 3718618 w 5770675"/>
              <a:gd name="connsiteY1" fmla="*/ 1584906 h 5303520"/>
              <a:gd name="connsiteX2" fmla="*/ 3798142 w 5770675"/>
              <a:gd name="connsiteY2" fmla="*/ 1672404 h 5303520"/>
              <a:gd name="connsiteX3" fmla="*/ 3100596 w 5770675"/>
              <a:gd name="connsiteY3" fmla="*/ 2137041 h 5303520"/>
              <a:gd name="connsiteX4" fmla="*/ 3035200 w 5770675"/>
              <a:gd name="connsiteY4" fmla="*/ 2083084 h 5303520"/>
              <a:gd name="connsiteX5" fmla="*/ 2651762 w 5770675"/>
              <a:gd name="connsiteY5" fmla="*/ 1965960 h 5303520"/>
              <a:gd name="connsiteX6" fmla="*/ 1965961 w 5770675"/>
              <a:gd name="connsiteY6" fmla="*/ 2651760 h 5303520"/>
              <a:gd name="connsiteX7" fmla="*/ 2651762 w 5770675"/>
              <a:gd name="connsiteY7" fmla="*/ 3337560 h 5303520"/>
              <a:gd name="connsiteX8" fmla="*/ 3337563 w 5770675"/>
              <a:gd name="connsiteY8" fmla="*/ 2651760 h 5303520"/>
              <a:gd name="connsiteX9" fmla="*/ 3323630 w 5770675"/>
              <a:gd name="connsiteY9" fmla="*/ 2513547 h 5303520"/>
              <a:gd name="connsiteX10" fmla="*/ 3288675 w 5770675"/>
              <a:gd name="connsiteY10" fmla="*/ 2400940 h 5303520"/>
              <a:gd name="connsiteX11" fmla="*/ 3981670 w 5770675"/>
              <a:gd name="connsiteY11" fmla="*/ 1939333 h 5303520"/>
              <a:gd name="connsiteX12" fmla="*/ 4041958 w 5770675"/>
              <a:gd name="connsiteY12" fmla="*/ 2064483 h 5303520"/>
              <a:gd name="connsiteX13" fmla="*/ 4160524 w 5770675"/>
              <a:gd name="connsiteY13" fmla="*/ 2651760 h 5303520"/>
              <a:gd name="connsiteX14" fmla="*/ 2651762 w 5770675"/>
              <a:gd name="connsiteY14" fmla="*/ 4160520 h 5303520"/>
              <a:gd name="connsiteX15" fmla="*/ 1143000 w 5770675"/>
              <a:gd name="connsiteY15" fmla="*/ 2651760 h 5303520"/>
              <a:gd name="connsiteX16" fmla="*/ 2651762 w 5770675"/>
              <a:gd name="connsiteY16" fmla="*/ 1143000 h 5303520"/>
              <a:gd name="connsiteX17" fmla="*/ 5192878 w 5770675"/>
              <a:gd name="connsiteY17" fmla="*/ 285077 h 5303520"/>
              <a:gd name="connsiteX18" fmla="*/ 5213453 w 5770675"/>
              <a:gd name="connsiteY18" fmla="*/ 800830 h 5303520"/>
              <a:gd name="connsiteX19" fmla="*/ 5214199 w 5770675"/>
              <a:gd name="connsiteY19" fmla="*/ 800332 h 5303520"/>
              <a:gd name="connsiteX20" fmla="*/ 5356632 w 5770675"/>
              <a:gd name="connsiteY20" fmla="*/ 828877 h 5303520"/>
              <a:gd name="connsiteX21" fmla="*/ 5328088 w 5770675"/>
              <a:gd name="connsiteY21" fmla="*/ 971310 h 5303520"/>
              <a:gd name="connsiteX22" fmla="*/ 5302676 w 5770675"/>
              <a:gd name="connsiteY22" fmla="*/ 988237 h 5303520"/>
              <a:gd name="connsiteX23" fmla="*/ 5770675 w 5770675"/>
              <a:gd name="connsiteY23" fmla="*/ 1205962 h 5303520"/>
              <a:gd name="connsiteX24" fmla="*/ 4781688 w 5770675"/>
              <a:gd name="connsiteY24" fmla="*/ 1864729 h 5303520"/>
              <a:gd name="connsiteX25" fmla="*/ 4313690 w 5770675"/>
              <a:gd name="connsiteY25" fmla="*/ 1647004 h 5303520"/>
              <a:gd name="connsiteX26" fmla="*/ 3072878 w 5770675"/>
              <a:gd name="connsiteY26" fmla="*/ 2473512 h 5303520"/>
              <a:gd name="connsiteX27" fmla="*/ 3073033 w 5770675"/>
              <a:gd name="connsiteY27" fmla="*/ 2473797 h 5303520"/>
              <a:gd name="connsiteX28" fmla="*/ 3108962 w 5770675"/>
              <a:gd name="connsiteY28" fmla="*/ 2651760 h 5303520"/>
              <a:gd name="connsiteX29" fmla="*/ 2651762 w 5770675"/>
              <a:gd name="connsiteY29" fmla="*/ 3108960 h 5303520"/>
              <a:gd name="connsiteX30" fmla="*/ 2194562 w 5770675"/>
              <a:gd name="connsiteY30" fmla="*/ 2651760 h 5303520"/>
              <a:gd name="connsiteX31" fmla="*/ 2651762 w 5770675"/>
              <a:gd name="connsiteY31" fmla="*/ 2194560 h 5303520"/>
              <a:gd name="connsiteX32" fmla="*/ 2907387 w 5770675"/>
              <a:gd name="connsiteY32" fmla="*/ 2272643 h 5303520"/>
              <a:gd name="connsiteX33" fmla="*/ 2950484 w 5770675"/>
              <a:gd name="connsiteY33" fmla="*/ 2308201 h 5303520"/>
              <a:gd name="connsiteX34" fmla="*/ 4224466 w 5770675"/>
              <a:gd name="connsiteY34" fmla="*/ 1459597 h 5303520"/>
              <a:gd name="connsiteX35" fmla="*/ 4203891 w 5770675"/>
              <a:gd name="connsiteY35" fmla="*/ 943844 h 5303520"/>
              <a:gd name="connsiteX36" fmla="*/ 2651762 w 5770675"/>
              <a:gd name="connsiteY36" fmla="*/ 0 h 5303520"/>
              <a:gd name="connsiteX37" fmla="*/ 4338530 w 5770675"/>
              <a:gd name="connsiteY37" fmla="*/ 605533 h 5303520"/>
              <a:gd name="connsiteX38" fmla="*/ 4429079 w 5770675"/>
              <a:gd name="connsiteY38" fmla="*/ 687830 h 5303520"/>
              <a:gd name="connsiteX39" fmla="*/ 4091397 w 5770675"/>
              <a:gd name="connsiteY39" fmla="*/ 912761 h 5303520"/>
              <a:gd name="connsiteX40" fmla="*/ 4113326 w 5770675"/>
              <a:gd name="connsiteY40" fmla="*/ 1462459 h 5303520"/>
              <a:gd name="connsiteX41" fmla="*/ 3990342 w 5770675"/>
              <a:gd name="connsiteY41" fmla="*/ 1544379 h 5303520"/>
              <a:gd name="connsiteX42" fmla="*/ 3880263 w 5770675"/>
              <a:gd name="connsiteY42" fmla="*/ 1423261 h 5303520"/>
              <a:gd name="connsiteX43" fmla="*/ 2651761 w 5770675"/>
              <a:gd name="connsiteY43" fmla="*/ 914400 h 5303520"/>
              <a:gd name="connsiteX44" fmla="*/ 914398 w 5770675"/>
              <a:gd name="connsiteY44" fmla="*/ 2651760 h 5303520"/>
              <a:gd name="connsiteX45" fmla="*/ 2651761 w 5770675"/>
              <a:gd name="connsiteY45" fmla="*/ 4389120 h 5303520"/>
              <a:gd name="connsiteX46" fmla="*/ 4389125 w 5770675"/>
              <a:gd name="connsiteY46" fmla="*/ 2651760 h 5303520"/>
              <a:gd name="connsiteX47" fmla="*/ 4179435 w 5770675"/>
              <a:gd name="connsiteY47" fmla="*/ 1823631 h 5303520"/>
              <a:gd name="connsiteX48" fmla="*/ 4172502 w 5770675"/>
              <a:gd name="connsiteY48" fmla="*/ 1812220 h 5303520"/>
              <a:gd name="connsiteX49" fmla="*/ 4264219 w 5770675"/>
              <a:gd name="connsiteY49" fmla="*/ 1751126 h 5303520"/>
              <a:gd name="connsiteX50" fmla="*/ 4763017 w 5770675"/>
              <a:gd name="connsiteY50" fmla="*/ 1983181 h 5303520"/>
              <a:gd name="connsiteX51" fmla="*/ 5137033 w 5770675"/>
              <a:gd name="connsiteY51" fmla="*/ 1734047 h 5303520"/>
              <a:gd name="connsiteX52" fmla="*/ 5184306 w 5770675"/>
              <a:gd name="connsiteY52" fmla="*/ 1863208 h 5303520"/>
              <a:gd name="connsiteX53" fmla="*/ 5303524 w 5770675"/>
              <a:gd name="connsiteY53" fmla="*/ 2651760 h 5303520"/>
              <a:gd name="connsiteX54" fmla="*/ 2651762 w 5770675"/>
              <a:gd name="connsiteY54" fmla="*/ 5303520 h 5303520"/>
              <a:gd name="connsiteX55" fmla="*/ 0 w 5770675"/>
              <a:gd name="connsiteY55" fmla="*/ 2651760 h 5303520"/>
              <a:gd name="connsiteX56" fmla="*/ 2651762 w 5770675"/>
              <a:gd name="connsiteY56" fmla="*/ 0 h 530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5770675" h="5303520">
                <a:moveTo>
                  <a:pt x="2651762" y="1143000"/>
                </a:moveTo>
                <a:cubicBezTo>
                  <a:pt x="3068395" y="1143000"/>
                  <a:pt x="3445586" y="1311874"/>
                  <a:pt x="3718618" y="1584906"/>
                </a:cubicBezTo>
                <a:lnTo>
                  <a:pt x="3798142" y="1672404"/>
                </a:lnTo>
                <a:lnTo>
                  <a:pt x="3100596" y="2137041"/>
                </a:lnTo>
                <a:lnTo>
                  <a:pt x="3035200" y="2083084"/>
                </a:lnTo>
                <a:cubicBezTo>
                  <a:pt x="2925745" y="2009138"/>
                  <a:pt x="2793796" y="1965960"/>
                  <a:pt x="2651762" y="1965960"/>
                </a:cubicBezTo>
                <a:cubicBezTo>
                  <a:pt x="2273005" y="1965960"/>
                  <a:pt x="1965961" y="2273003"/>
                  <a:pt x="1965961" y="2651760"/>
                </a:cubicBezTo>
                <a:cubicBezTo>
                  <a:pt x="1965961" y="3030517"/>
                  <a:pt x="2273005" y="3337560"/>
                  <a:pt x="2651762" y="3337560"/>
                </a:cubicBezTo>
                <a:cubicBezTo>
                  <a:pt x="3030519" y="3337560"/>
                  <a:pt x="3337563" y="3030517"/>
                  <a:pt x="3337563" y="2651760"/>
                </a:cubicBezTo>
                <a:cubicBezTo>
                  <a:pt x="3337563" y="2604416"/>
                  <a:pt x="3332766" y="2558191"/>
                  <a:pt x="3323630" y="2513547"/>
                </a:cubicBezTo>
                <a:lnTo>
                  <a:pt x="3288675" y="2400940"/>
                </a:lnTo>
                <a:lnTo>
                  <a:pt x="3981670" y="1939333"/>
                </a:lnTo>
                <a:lnTo>
                  <a:pt x="4041958" y="2064483"/>
                </a:lnTo>
                <a:cubicBezTo>
                  <a:pt x="4118306" y="2244988"/>
                  <a:pt x="4160524" y="2443444"/>
                  <a:pt x="4160524" y="2651760"/>
                </a:cubicBezTo>
                <a:cubicBezTo>
                  <a:pt x="4160524" y="3485025"/>
                  <a:pt x="3485028" y="4160520"/>
                  <a:pt x="2651762" y="4160520"/>
                </a:cubicBezTo>
                <a:cubicBezTo>
                  <a:pt x="1818496" y="4160520"/>
                  <a:pt x="1143000" y="3485025"/>
                  <a:pt x="1143000" y="2651760"/>
                </a:cubicBezTo>
                <a:cubicBezTo>
                  <a:pt x="1143000" y="1818495"/>
                  <a:pt x="1818496" y="1143000"/>
                  <a:pt x="2651762" y="1143000"/>
                </a:cubicBezTo>
                <a:close/>
                <a:moveTo>
                  <a:pt x="5192878" y="285077"/>
                </a:moveTo>
                <a:lnTo>
                  <a:pt x="5213453" y="800830"/>
                </a:lnTo>
                <a:lnTo>
                  <a:pt x="5214199" y="800332"/>
                </a:lnTo>
                <a:cubicBezTo>
                  <a:pt x="5261414" y="768883"/>
                  <a:pt x="5325183" y="781663"/>
                  <a:pt x="5356632" y="828877"/>
                </a:cubicBezTo>
                <a:cubicBezTo>
                  <a:pt x="5388082" y="876092"/>
                  <a:pt x="5375302" y="939860"/>
                  <a:pt x="5328088" y="971310"/>
                </a:cubicBezTo>
                <a:lnTo>
                  <a:pt x="5302676" y="988237"/>
                </a:lnTo>
                <a:lnTo>
                  <a:pt x="5770675" y="1205962"/>
                </a:lnTo>
                <a:lnTo>
                  <a:pt x="4781688" y="1864729"/>
                </a:lnTo>
                <a:lnTo>
                  <a:pt x="4313690" y="1647004"/>
                </a:lnTo>
                <a:lnTo>
                  <a:pt x="3072878" y="2473512"/>
                </a:lnTo>
                <a:lnTo>
                  <a:pt x="3073033" y="2473797"/>
                </a:lnTo>
                <a:cubicBezTo>
                  <a:pt x="3096169" y="2528496"/>
                  <a:pt x="3108962" y="2588634"/>
                  <a:pt x="3108962" y="2651760"/>
                </a:cubicBezTo>
                <a:cubicBezTo>
                  <a:pt x="3108962" y="2904265"/>
                  <a:pt x="2904267" y="3108960"/>
                  <a:pt x="2651762" y="3108960"/>
                </a:cubicBezTo>
                <a:cubicBezTo>
                  <a:pt x="2399257" y="3108960"/>
                  <a:pt x="2194562" y="2904265"/>
                  <a:pt x="2194562" y="2651760"/>
                </a:cubicBezTo>
                <a:cubicBezTo>
                  <a:pt x="2194562" y="2399255"/>
                  <a:pt x="2399257" y="2194560"/>
                  <a:pt x="2651762" y="2194560"/>
                </a:cubicBezTo>
                <a:cubicBezTo>
                  <a:pt x="2746452" y="2194560"/>
                  <a:pt x="2834418" y="2223345"/>
                  <a:pt x="2907387" y="2272643"/>
                </a:cubicBezTo>
                <a:lnTo>
                  <a:pt x="2950484" y="2308201"/>
                </a:lnTo>
                <a:lnTo>
                  <a:pt x="4224466" y="1459597"/>
                </a:lnTo>
                <a:lnTo>
                  <a:pt x="4203891" y="943844"/>
                </a:lnTo>
                <a:close/>
                <a:moveTo>
                  <a:pt x="2651762" y="0"/>
                </a:moveTo>
                <a:cubicBezTo>
                  <a:pt x="3292494" y="0"/>
                  <a:pt x="3880149" y="227244"/>
                  <a:pt x="4338530" y="605533"/>
                </a:cubicBezTo>
                <a:lnTo>
                  <a:pt x="4429079" y="687830"/>
                </a:lnTo>
                <a:lnTo>
                  <a:pt x="4091397" y="912761"/>
                </a:lnTo>
                <a:lnTo>
                  <a:pt x="4113326" y="1462459"/>
                </a:lnTo>
                <a:lnTo>
                  <a:pt x="3990342" y="1544379"/>
                </a:lnTo>
                <a:lnTo>
                  <a:pt x="3880263" y="1423261"/>
                </a:lnTo>
                <a:cubicBezTo>
                  <a:pt x="3565862" y="1108861"/>
                  <a:pt x="3131521" y="914400"/>
                  <a:pt x="2651761" y="914400"/>
                </a:cubicBezTo>
                <a:cubicBezTo>
                  <a:pt x="1692242" y="914400"/>
                  <a:pt x="914398" y="1692243"/>
                  <a:pt x="914398" y="2651760"/>
                </a:cubicBezTo>
                <a:cubicBezTo>
                  <a:pt x="914398" y="3611277"/>
                  <a:pt x="1692242" y="4389120"/>
                  <a:pt x="2651761" y="4389120"/>
                </a:cubicBezTo>
                <a:cubicBezTo>
                  <a:pt x="3611280" y="4389120"/>
                  <a:pt x="4389125" y="3611277"/>
                  <a:pt x="4389125" y="2651760"/>
                </a:cubicBezTo>
                <a:cubicBezTo>
                  <a:pt x="4389125" y="2351911"/>
                  <a:pt x="4313164" y="2069804"/>
                  <a:pt x="4179435" y="1823631"/>
                </a:cubicBezTo>
                <a:lnTo>
                  <a:pt x="4172502" y="1812220"/>
                </a:lnTo>
                <a:lnTo>
                  <a:pt x="4264219" y="1751126"/>
                </a:lnTo>
                <a:lnTo>
                  <a:pt x="4763017" y="1983181"/>
                </a:lnTo>
                <a:lnTo>
                  <a:pt x="5137033" y="1734047"/>
                </a:lnTo>
                <a:lnTo>
                  <a:pt x="5184306" y="1863208"/>
                </a:lnTo>
                <a:cubicBezTo>
                  <a:pt x="5261786" y="2112311"/>
                  <a:pt x="5303524" y="2377161"/>
                  <a:pt x="5303524" y="2651760"/>
                </a:cubicBezTo>
                <a:cubicBezTo>
                  <a:pt x="5303524" y="4116287"/>
                  <a:pt x="4116291" y="5303520"/>
                  <a:pt x="2651762" y="5303520"/>
                </a:cubicBezTo>
                <a:cubicBezTo>
                  <a:pt x="1187234" y="5303520"/>
                  <a:pt x="0" y="4116287"/>
                  <a:pt x="0" y="2651760"/>
                </a:cubicBezTo>
                <a:cubicBezTo>
                  <a:pt x="0" y="1187233"/>
                  <a:pt x="1187234" y="0"/>
                  <a:pt x="265176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230611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94203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70016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1">
            <a:extLst>
              <a:ext uri="{FF2B5EF4-FFF2-40B4-BE49-F238E27FC236}">
                <a16:creationId xmlns:a16="http://schemas.microsoft.com/office/drawing/2014/main" id="{3C5FA427-1976-4FB6-AFC8-D43650F23ACE}"/>
              </a:ext>
            </a:extLst>
          </p:cNvPr>
          <p:cNvSpPr>
            <a:spLocks/>
          </p:cNvSpPr>
          <p:nvPr userDrawn="1"/>
        </p:nvSpPr>
        <p:spPr bwMode="auto">
          <a:xfrm>
            <a:off x="5926323" y="945750"/>
            <a:ext cx="5291940" cy="5093247"/>
          </a:xfrm>
          <a:custGeom>
            <a:avLst/>
            <a:gdLst>
              <a:gd name="connsiteX0" fmla="*/ 3175848 w 6187971"/>
              <a:gd name="connsiteY0" fmla="*/ 5544922 h 5955635"/>
              <a:gd name="connsiteX1" fmla="*/ 3184857 w 6187971"/>
              <a:gd name="connsiteY1" fmla="*/ 5542997 h 5955635"/>
              <a:gd name="connsiteX2" fmla="*/ 3185794 w 6187971"/>
              <a:gd name="connsiteY2" fmla="*/ 5544792 h 5955635"/>
              <a:gd name="connsiteX3" fmla="*/ 3509992 w 6187971"/>
              <a:gd name="connsiteY3" fmla="*/ 5452506 h 5955635"/>
              <a:gd name="connsiteX4" fmla="*/ 3560810 w 6187971"/>
              <a:gd name="connsiteY4" fmla="*/ 5445094 h 5955635"/>
              <a:gd name="connsiteX5" fmla="*/ 3523318 w 6187971"/>
              <a:gd name="connsiteY5" fmla="*/ 5451849 h 5955635"/>
              <a:gd name="connsiteX6" fmla="*/ 3518813 w 6187971"/>
              <a:gd name="connsiteY6" fmla="*/ 5452811 h 5955635"/>
              <a:gd name="connsiteX7" fmla="*/ 3472811 w 6187971"/>
              <a:gd name="connsiteY7" fmla="*/ 5457929 h 5955635"/>
              <a:gd name="connsiteX8" fmla="*/ 3477314 w 6187971"/>
              <a:gd name="connsiteY8" fmla="*/ 5456967 h 5955635"/>
              <a:gd name="connsiteX9" fmla="*/ 3481818 w 6187971"/>
              <a:gd name="connsiteY9" fmla="*/ 5456005 h 5955635"/>
              <a:gd name="connsiteX10" fmla="*/ 3499835 w 6187971"/>
              <a:gd name="connsiteY10" fmla="*/ 5452156 h 5955635"/>
              <a:gd name="connsiteX11" fmla="*/ 3509992 w 6187971"/>
              <a:gd name="connsiteY11" fmla="*/ 5452506 h 5955635"/>
              <a:gd name="connsiteX12" fmla="*/ 4648965 w 6187971"/>
              <a:gd name="connsiteY12" fmla="*/ 5205864 h 5955635"/>
              <a:gd name="connsiteX13" fmla="*/ 4648375 w 6187971"/>
              <a:gd name="connsiteY13" fmla="*/ 5206776 h 5955635"/>
              <a:gd name="connsiteX14" fmla="*/ 4643871 w 6187971"/>
              <a:gd name="connsiteY14" fmla="*/ 5207738 h 5955635"/>
              <a:gd name="connsiteX15" fmla="*/ 3439358 w 6187971"/>
              <a:gd name="connsiteY15" fmla="*/ 5455658 h 5955635"/>
              <a:gd name="connsiteX16" fmla="*/ 3443861 w 6187971"/>
              <a:gd name="connsiteY16" fmla="*/ 5454695 h 5955635"/>
              <a:gd name="connsiteX17" fmla="*/ 3462839 w 6187971"/>
              <a:gd name="connsiteY17" fmla="*/ 5455350 h 5955635"/>
              <a:gd name="connsiteX18" fmla="*/ 3463802 w 6187971"/>
              <a:gd name="connsiteY18" fmla="*/ 5459854 h 5955635"/>
              <a:gd name="connsiteX19" fmla="*/ 3464764 w 6187971"/>
              <a:gd name="connsiteY19" fmla="*/ 5464358 h 5955635"/>
              <a:gd name="connsiteX20" fmla="*/ 3386270 w 6187971"/>
              <a:gd name="connsiteY20" fmla="*/ 5471708 h 5955635"/>
              <a:gd name="connsiteX21" fmla="*/ 3439358 w 6187971"/>
              <a:gd name="connsiteY21" fmla="*/ 5455658 h 5955635"/>
              <a:gd name="connsiteX22" fmla="*/ 4926827 w 6187971"/>
              <a:gd name="connsiteY22" fmla="*/ 4878836 h 5955635"/>
              <a:gd name="connsiteX23" fmla="*/ 4931331 w 6187971"/>
              <a:gd name="connsiteY23" fmla="*/ 4877874 h 5955635"/>
              <a:gd name="connsiteX24" fmla="*/ 4927253 w 6187971"/>
              <a:gd name="connsiteY24" fmla="*/ 4880833 h 5955635"/>
              <a:gd name="connsiteX25" fmla="*/ 1616921 w 6187971"/>
              <a:gd name="connsiteY25" fmla="*/ 5147987 h 5955635"/>
              <a:gd name="connsiteX26" fmla="*/ 1621158 w 6187971"/>
              <a:gd name="connsiteY26" fmla="*/ 5151791 h 5955635"/>
              <a:gd name="connsiteX27" fmla="*/ 1617883 w 6187971"/>
              <a:gd name="connsiteY27" fmla="*/ 5152491 h 5955635"/>
              <a:gd name="connsiteX28" fmla="*/ 1616921 w 6187971"/>
              <a:gd name="connsiteY28" fmla="*/ 5147987 h 5955635"/>
              <a:gd name="connsiteX29" fmla="*/ 6029280 w 6187971"/>
              <a:gd name="connsiteY29" fmla="*/ 4202957 h 5955635"/>
              <a:gd name="connsiteX30" fmla="*/ 6033742 w 6187971"/>
              <a:gd name="connsiteY30" fmla="*/ 4205846 h 5955635"/>
              <a:gd name="connsiteX31" fmla="*/ 6030850 w 6187971"/>
              <a:gd name="connsiteY31" fmla="*/ 4210306 h 5955635"/>
              <a:gd name="connsiteX32" fmla="*/ 6030065 w 6187971"/>
              <a:gd name="connsiteY32" fmla="*/ 4206631 h 5955635"/>
              <a:gd name="connsiteX33" fmla="*/ 6029280 w 6187971"/>
              <a:gd name="connsiteY33" fmla="*/ 4202957 h 5955635"/>
              <a:gd name="connsiteX34" fmla="*/ 5195431 w 6187971"/>
              <a:gd name="connsiteY34" fmla="*/ 4350487 h 5955635"/>
              <a:gd name="connsiteX35" fmla="*/ 5195619 w 6187971"/>
              <a:gd name="connsiteY35" fmla="*/ 4350447 h 5955635"/>
              <a:gd name="connsiteX36" fmla="*/ 5191889 w 6187971"/>
              <a:gd name="connsiteY36" fmla="*/ 4355954 h 5955635"/>
              <a:gd name="connsiteX37" fmla="*/ 5195431 w 6187971"/>
              <a:gd name="connsiteY37" fmla="*/ 4350487 h 5955635"/>
              <a:gd name="connsiteX38" fmla="*/ 5135887 w 6187971"/>
              <a:gd name="connsiteY38" fmla="*/ 4358358 h 5955635"/>
              <a:gd name="connsiteX39" fmla="*/ 5135916 w 6187971"/>
              <a:gd name="connsiteY39" fmla="*/ 4358493 h 5955635"/>
              <a:gd name="connsiteX40" fmla="*/ 5132374 w 6187971"/>
              <a:gd name="connsiteY40" fmla="*/ 4363959 h 5955635"/>
              <a:gd name="connsiteX41" fmla="*/ 1535232 w 6187971"/>
              <a:gd name="connsiteY41" fmla="*/ 5118342 h 5955635"/>
              <a:gd name="connsiteX42" fmla="*/ 1540699 w 6187971"/>
              <a:gd name="connsiteY42" fmla="*/ 5121884 h 5955635"/>
              <a:gd name="connsiteX43" fmla="*/ 1546166 w 6187971"/>
              <a:gd name="connsiteY43" fmla="*/ 5125426 h 5955635"/>
              <a:gd name="connsiteX44" fmla="*/ 1541661 w 6187971"/>
              <a:gd name="connsiteY44" fmla="*/ 5126389 h 5955635"/>
              <a:gd name="connsiteX45" fmla="*/ 1535232 w 6187971"/>
              <a:gd name="connsiteY45" fmla="*/ 5118342 h 5955635"/>
              <a:gd name="connsiteX46" fmla="*/ 1296561 w 6187971"/>
              <a:gd name="connsiteY46" fmla="*/ 4951097 h 5955635"/>
              <a:gd name="connsiteX47" fmla="*/ 1298982 w 6187971"/>
              <a:gd name="connsiteY47" fmla="*/ 4952173 h 5955635"/>
              <a:gd name="connsiteX48" fmla="*/ 1302760 w 6187971"/>
              <a:gd name="connsiteY48" fmla="*/ 4956076 h 5955635"/>
              <a:gd name="connsiteX49" fmla="*/ 1297293 w 6187971"/>
              <a:gd name="connsiteY49" fmla="*/ 4952534 h 5955635"/>
              <a:gd name="connsiteX50" fmla="*/ 1299553 w 6187971"/>
              <a:gd name="connsiteY50" fmla="*/ 4938864 h 5955635"/>
              <a:gd name="connsiteX51" fmla="*/ 1305339 w 6187971"/>
              <a:gd name="connsiteY51" fmla="*/ 4946105 h 5955635"/>
              <a:gd name="connsiteX52" fmla="*/ 1299715 w 6187971"/>
              <a:gd name="connsiteY52" fmla="*/ 4939066 h 5955635"/>
              <a:gd name="connsiteX53" fmla="*/ 6187039 w 6187971"/>
              <a:gd name="connsiteY53" fmla="*/ 3627519 h 5955635"/>
              <a:gd name="connsiteX54" fmla="*/ 6185137 w 6187971"/>
              <a:gd name="connsiteY54" fmla="*/ 3708609 h 5955635"/>
              <a:gd name="connsiteX55" fmla="*/ 6163816 w 6187971"/>
              <a:gd name="connsiteY55" fmla="*/ 3770795 h 5955635"/>
              <a:gd name="connsiteX56" fmla="*/ 6168279 w 6187971"/>
              <a:gd name="connsiteY56" fmla="*/ 3773684 h 5955635"/>
              <a:gd name="connsiteX57" fmla="*/ 6163279 w 6187971"/>
              <a:gd name="connsiteY57" fmla="*/ 3786278 h 5955635"/>
              <a:gd name="connsiteX58" fmla="*/ 6160387 w 6187971"/>
              <a:gd name="connsiteY58" fmla="*/ 3790738 h 5955635"/>
              <a:gd name="connsiteX59" fmla="*/ 6164064 w 6187971"/>
              <a:gd name="connsiteY59" fmla="*/ 3789953 h 5955635"/>
              <a:gd name="connsiteX60" fmla="*/ 6153775 w 6187971"/>
              <a:gd name="connsiteY60" fmla="*/ 3849782 h 5955635"/>
              <a:gd name="connsiteX61" fmla="*/ 6154561 w 6187971"/>
              <a:gd name="connsiteY61" fmla="*/ 3853456 h 5955635"/>
              <a:gd name="connsiteX62" fmla="*/ 6155346 w 6187971"/>
              <a:gd name="connsiteY62" fmla="*/ 3857131 h 5955635"/>
              <a:gd name="connsiteX63" fmla="*/ 6156131 w 6187971"/>
              <a:gd name="connsiteY63" fmla="*/ 3860805 h 5955635"/>
              <a:gd name="connsiteX64" fmla="*/ 6152454 w 6187971"/>
              <a:gd name="connsiteY64" fmla="*/ 3861591 h 5955635"/>
              <a:gd name="connsiteX65" fmla="*/ 6156916 w 6187971"/>
              <a:gd name="connsiteY65" fmla="*/ 3864480 h 5955635"/>
              <a:gd name="connsiteX66" fmla="*/ 6155841 w 6187971"/>
              <a:gd name="connsiteY66" fmla="*/ 3895446 h 5955635"/>
              <a:gd name="connsiteX67" fmla="*/ 6171873 w 6187971"/>
              <a:gd name="connsiteY67" fmla="*/ 3880495 h 5955635"/>
              <a:gd name="connsiteX68" fmla="*/ 6171604 w 6187971"/>
              <a:gd name="connsiteY68" fmla="*/ 3888236 h 5955635"/>
              <a:gd name="connsiteX69" fmla="*/ 6171470 w 6187971"/>
              <a:gd name="connsiteY69" fmla="*/ 3892106 h 5955635"/>
              <a:gd name="connsiteX70" fmla="*/ 6170551 w 6187971"/>
              <a:gd name="connsiteY70" fmla="*/ 3892303 h 5955635"/>
              <a:gd name="connsiteX71" fmla="*/ 6171336 w 6187971"/>
              <a:gd name="connsiteY71" fmla="*/ 3895977 h 5955635"/>
              <a:gd name="connsiteX72" fmla="*/ 6171470 w 6187971"/>
              <a:gd name="connsiteY72" fmla="*/ 3892106 h 5955635"/>
              <a:gd name="connsiteX73" fmla="*/ 6174228 w 6187971"/>
              <a:gd name="connsiteY73" fmla="*/ 3891517 h 5955635"/>
              <a:gd name="connsiteX74" fmla="*/ 6175013 w 6187971"/>
              <a:gd name="connsiteY74" fmla="*/ 3895192 h 5955635"/>
              <a:gd name="connsiteX75" fmla="*/ 6175798 w 6187971"/>
              <a:gd name="connsiteY75" fmla="*/ 3898866 h 5955635"/>
              <a:gd name="connsiteX76" fmla="*/ 6168691 w 6187971"/>
              <a:gd name="connsiteY76" fmla="*/ 3919595 h 5955635"/>
              <a:gd name="connsiteX77" fmla="*/ 6165799 w 6187971"/>
              <a:gd name="connsiteY77" fmla="*/ 3924055 h 5955635"/>
              <a:gd name="connsiteX78" fmla="*/ 6163691 w 6187971"/>
              <a:gd name="connsiteY78" fmla="*/ 3932189 h 5955635"/>
              <a:gd name="connsiteX79" fmla="*/ 6160799 w 6187971"/>
              <a:gd name="connsiteY79" fmla="*/ 3936650 h 5955635"/>
              <a:gd name="connsiteX80" fmla="*/ 6162906 w 6187971"/>
              <a:gd name="connsiteY80" fmla="*/ 3928515 h 5955635"/>
              <a:gd name="connsiteX81" fmla="*/ 6165014 w 6187971"/>
              <a:gd name="connsiteY81" fmla="*/ 3920380 h 5955635"/>
              <a:gd name="connsiteX82" fmla="*/ 6150552 w 6187971"/>
              <a:gd name="connsiteY82" fmla="*/ 3942681 h 5955635"/>
              <a:gd name="connsiteX83" fmla="*/ 6137165 w 6187971"/>
              <a:gd name="connsiteY83" fmla="*/ 3934015 h 5955635"/>
              <a:gd name="connsiteX84" fmla="*/ 6088449 w 6187971"/>
              <a:gd name="connsiteY84" fmla="*/ 4101948 h 5955635"/>
              <a:gd name="connsiteX85" fmla="*/ 6086341 w 6187971"/>
              <a:gd name="connsiteY85" fmla="*/ 4110083 h 5955635"/>
              <a:gd name="connsiteX86" fmla="*/ 6083449 w 6187971"/>
              <a:gd name="connsiteY86" fmla="*/ 4114542 h 5955635"/>
              <a:gd name="connsiteX87" fmla="*/ 6059236 w 6187971"/>
              <a:gd name="connsiteY87" fmla="*/ 4181188 h 5955635"/>
              <a:gd name="connsiteX88" fmla="*/ 6030808 w 6187971"/>
              <a:gd name="connsiteY88" fmla="*/ 4264104 h 5955635"/>
              <a:gd name="connsiteX89" fmla="*/ 5990563 w 6187971"/>
              <a:gd name="connsiteY89" fmla="*/ 4345702 h 5955635"/>
              <a:gd name="connsiteX90" fmla="*/ 5931641 w 6187971"/>
              <a:gd name="connsiteY90" fmla="*/ 4465868 h 5955635"/>
              <a:gd name="connsiteX91" fmla="*/ 5868547 w 6187971"/>
              <a:gd name="connsiteY91" fmla="*/ 4548506 h 5955635"/>
              <a:gd name="connsiteX92" fmla="*/ 5877224 w 6187971"/>
              <a:gd name="connsiteY92" fmla="*/ 4535125 h 5955635"/>
              <a:gd name="connsiteX93" fmla="*/ 5870655 w 6187971"/>
              <a:gd name="connsiteY93" fmla="*/ 4540371 h 5955635"/>
              <a:gd name="connsiteX94" fmla="*/ 5867762 w 6187971"/>
              <a:gd name="connsiteY94" fmla="*/ 4544831 h 5955635"/>
              <a:gd name="connsiteX95" fmla="*/ 5869870 w 6187971"/>
              <a:gd name="connsiteY95" fmla="*/ 4536697 h 5955635"/>
              <a:gd name="connsiteX96" fmla="*/ 5869085 w 6187971"/>
              <a:gd name="connsiteY96" fmla="*/ 4533022 h 5955635"/>
              <a:gd name="connsiteX97" fmla="*/ 5809916 w 6187971"/>
              <a:gd name="connsiteY97" fmla="*/ 4634032 h 5955635"/>
              <a:gd name="connsiteX98" fmla="*/ 5732112 w 6187971"/>
              <a:gd name="connsiteY98" fmla="*/ 4719811 h 5955635"/>
              <a:gd name="connsiteX99" fmla="*/ 5839913 w 6187971"/>
              <a:gd name="connsiteY99" fmla="*/ 4558465 h 5955635"/>
              <a:gd name="connsiteX100" fmla="*/ 5846236 w 6187971"/>
              <a:gd name="connsiteY100" fmla="*/ 4534062 h 5955635"/>
              <a:gd name="connsiteX101" fmla="*/ 5879621 w 6187971"/>
              <a:gd name="connsiteY101" fmla="*/ 4492350 h 5955635"/>
              <a:gd name="connsiteX102" fmla="*/ 5893835 w 6187971"/>
              <a:gd name="connsiteY102" fmla="*/ 4450893 h 5955635"/>
              <a:gd name="connsiteX103" fmla="*/ 5930898 w 6187971"/>
              <a:gd name="connsiteY103" fmla="*/ 4408396 h 5955635"/>
              <a:gd name="connsiteX104" fmla="*/ 5939823 w 6187971"/>
              <a:gd name="connsiteY104" fmla="*/ 4414173 h 5955635"/>
              <a:gd name="connsiteX105" fmla="*/ 5959284 w 6187971"/>
              <a:gd name="connsiteY105" fmla="*/ 4379279 h 5955635"/>
              <a:gd name="connsiteX106" fmla="*/ 5955607 w 6187971"/>
              <a:gd name="connsiteY106" fmla="*/ 4380064 h 5955635"/>
              <a:gd name="connsiteX107" fmla="*/ 5952715 w 6187971"/>
              <a:gd name="connsiteY107" fmla="*/ 4384525 h 5955635"/>
              <a:gd name="connsiteX108" fmla="*/ 5951930 w 6187971"/>
              <a:gd name="connsiteY108" fmla="*/ 4380850 h 5955635"/>
              <a:gd name="connsiteX109" fmla="*/ 5941683 w 6187971"/>
              <a:gd name="connsiteY109" fmla="*/ 4386882 h 5955635"/>
              <a:gd name="connsiteX110" fmla="*/ 5955359 w 6187971"/>
              <a:gd name="connsiteY110" fmla="*/ 4360907 h 5955635"/>
              <a:gd name="connsiteX111" fmla="*/ 5954574 w 6187971"/>
              <a:gd name="connsiteY111" fmla="*/ 4357232 h 5955635"/>
              <a:gd name="connsiteX112" fmla="*/ 5958251 w 6187971"/>
              <a:gd name="connsiteY112" fmla="*/ 4356446 h 5955635"/>
              <a:gd name="connsiteX113" fmla="*/ 5960359 w 6187971"/>
              <a:gd name="connsiteY113" fmla="*/ 4348312 h 5955635"/>
              <a:gd name="connsiteX114" fmla="*/ 5964036 w 6187971"/>
              <a:gd name="connsiteY114" fmla="*/ 4347527 h 5955635"/>
              <a:gd name="connsiteX115" fmla="*/ 5980357 w 6187971"/>
              <a:gd name="connsiteY115" fmla="*/ 4297935 h 5955635"/>
              <a:gd name="connsiteX116" fmla="*/ 6007959 w 6187971"/>
              <a:gd name="connsiteY116" fmla="*/ 4265143 h 5955635"/>
              <a:gd name="connsiteX117" fmla="*/ 6010851 w 6187971"/>
              <a:gd name="connsiteY117" fmla="*/ 4260683 h 5955635"/>
              <a:gd name="connsiteX118" fmla="*/ 6016636 w 6187971"/>
              <a:gd name="connsiteY118" fmla="*/ 4251763 h 5955635"/>
              <a:gd name="connsiteX119" fmla="*/ 6017421 w 6187971"/>
              <a:gd name="connsiteY119" fmla="*/ 4255437 h 5955635"/>
              <a:gd name="connsiteX120" fmla="*/ 6014528 w 6187971"/>
              <a:gd name="connsiteY120" fmla="*/ 4259898 h 5955635"/>
              <a:gd name="connsiteX121" fmla="*/ 6015313 w 6187971"/>
              <a:gd name="connsiteY121" fmla="*/ 4263572 h 5955635"/>
              <a:gd name="connsiteX122" fmla="*/ 6024528 w 6187971"/>
              <a:gd name="connsiteY122" fmla="*/ 4234709 h 5955635"/>
              <a:gd name="connsiteX123" fmla="*/ 6021635 w 6187971"/>
              <a:gd name="connsiteY123" fmla="*/ 4239169 h 5955635"/>
              <a:gd name="connsiteX124" fmla="*/ 6020850 w 6187971"/>
              <a:gd name="connsiteY124" fmla="*/ 4235494 h 5955635"/>
              <a:gd name="connsiteX125" fmla="*/ 6020065 w 6187971"/>
              <a:gd name="connsiteY125" fmla="*/ 4231820 h 5955635"/>
              <a:gd name="connsiteX126" fmla="*/ 6013496 w 6187971"/>
              <a:gd name="connsiteY126" fmla="*/ 4237066 h 5955635"/>
              <a:gd name="connsiteX127" fmla="*/ 6027957 w 6187971"/>
              <a:gd name="connsiteY127" fmla="*/ 4214766 h 5955635"/>
              <a:gd name="connsiteX128" fmla="*/ 6030850 w 6187971"/>
              <a:gd name="connsiteY128" fmla="*/ 4210306 h 5955635"/>
              <a:gd name="connsiteX129" fmla="*/ 6078987 w 6187971"/>
              <a:gd name="connsiteY129" fmla="*/ 4111654 h 5955635"/>
              <a:gd name="connsiteX130" fmla="*/ 6081879 w 6187971"/>
              <a:gd name="connsiteY130" fmla="*/ 4107194 h 5955635"/>
              <a:gd name="connsiteX131" fmla="*/ 6083986 w 6187971"/>
              <a:gd name="connsiteY131" fmla="*/ 4099059 h 5955635"/>
              <a:gd name="connsiteX132" fmla="*/ 6084771 w 6187971"/>
              <a:gd name="connsiteY132" fmla="*/ 4102733 h 5955635"/>
              <a:gd name="connsiteX133" fmla="*/ 6087953 w 6187971"/>
              <a:gd name="connsiteY133" fmla="*/ 4063633 h 5955635"/>
              <a:gd name="connsiteX134" fmla="*/ 6085846 w 6187971"/>
              <a:gd name="connsiteY134" fmla="*/ 4071767 h 5955635"/>
              <a:gd name="connsiteX135" fmla="*/ 6082169 w 6187971"/>
              <a:gd name="connsiteY135" fmla="*/ 4072553 h 5955635"/>
              <a:gd name="connsiteX136" fmla="*/ 6084276 w 6187971"/>
              <a:gd name="connsiteY136" fmla="*/ 4064419 h 5955635"/>
              <a:gd name="connsiteX137" fmla="*/ 6083990 w 6187971"/>
              <a:gd name="connsiteY137" fmla="*/ 4063082 h 5955635"/>
              <a:gd name="connsiteX138" fmla="*/ 6084968 w 6187971"/>
              <a:gd name="connsiteY138" fmla="*/ 4060909 h 5955635"/>
              <a:gd name="connsiteX139" fmla="*/ 6086383 w 6187971"/>
              <a:gd name="connsiteY139" fmla="*/ 4056284 h 5955635"/>
              <a:gd name="connsiteX140" fmla="*/ 6083491 w 6187971"/>
              <a:gd name="connsiteY140" fmla="*/ 4060744 h 5955635"/>
              <a:gd name="connsiteX141" fmla="*/ 6083990 w 6187971"/>
              <a:gd name="connsiteY141" fmla="*/ 4063082 h 5955635"/>
              <a:gd name="connsiteX142" fmla="*/ 6081384 w 6187971"/>
              <a:gd name="connsiteY142" fmla="*/ 4068878 h 5955635"/>
              <a:gd name="connsiteX143" fmla="*/ 6123530 w 6187971"/>
              <a:gd name="connsiteY143" fmla="*/ 3906191 h 5955635"/>
              <a:gd name="connsiteX144" fmla="*/ 6134315 w 6187971"/>
              <a:gd name="connsiteY144" fmla="*/ 3884676 h 5955635"/>
              <a:gd name="connsiteX145" fmla="*/ 6129067 w 6187971"/>
              <a:gd name="connsiteY145" fmla="*/ 3878113 h 5955635"/>
              <a:gd name="connsiteX146" fmla="*/ 6131959 w 6187971"/>
              <a:gd name="connsiteY146" fmla="*/ 3873653 h 5955635"/>
              <a:gd name="connsiteX147" fmla="*/ 6134066 w 6187971"/>
              <a:gd name="connsiteY147" fmla="*/ 3865519 h 5955635"/>
              <a:gd name="connsiteX148" fmla="*/ 6157494 w 6187971"/>
              <a:gd name="connsiteY148" fmla="*/ 3795198 h 5955635"/>
              <a:gd name="connsiteX149" fmla="*/ 6154602 w 6187971"/>
              <a:gd name="connsiteY149" fmla="*/ 3799658 h 5955635"/>
              <a:gd name="connsiteX150" fmla="*/ 6150140 w 6187971"/>
              <a:gd name="connsiteY150" fmla="*/ 3796769 h 5955635"/>
              <a:gd name="connsiteX151" fmla="*/ 6153032 w 6187971"/>
              <a:gd name="connsiteY151" fmla="*/ 3792310 h 5955635"/>
              <a:gd name="connsiteX152" fmla="*/ 6152247 w 6187971"/>
              <a:gd name="connsiteY152" fmla="*/ 3788635 h 5955635"/>
              <a:gd name="connsiteX153" fmla="*/ 6172783 w 6187971"/>
              <a:gd name="connsiteY153" fmla="*/ 3722774 h 5955635"/>
              <a:gd name="connsiteX154" fmla="*/ 6187039 w 6187971"/>
              <a:gd name="connsiteY154" fmla="*/ 3627519 h 5955635"/>
              <a:gd name="connsiteX155" fmla="*/ 5453639 w 6187971"/>
              <a:gd name="connsiteY155" fmla="*/ 3702176 h 5955635"/>
              <a:gd name="connsiteX156" fmla="*/ 5453774 w 6187971"/>
              <a:gd name="connsiteY156" fmla="*/ 3702469 h 5955635"/>
              <a:gd name="connsiteX157" fmla="*/ 5449948 w 6187971"/>
              <a:gd name="connsiteY157" fmla="*/ 3712116 h 5955635"/>
              <a:gd name="connsiteX158" fmla="*/ 5548423 w 6187971"/>
              <a:gd name="connsiteY158" fmla="*/ 3643981 h 5955635"/>
              <a:gd name="connsiteX159" fmla="*/ 5544882 w 6187971"/>
              <a:gd name="connsiteY159" fmla="*/ 3649448 h 5955635"/>
              <a:gd name="connsiteX160" fmla="*/ 5548423 w 6187971"/>
              <a:gd name="connsiteY160" fmla="*/ 3643981 h 5955635"/>
              <a:gd name="connsiteX161" fmla="*/ 5501782 w 6187971"/>
              <a:gd name="connsiteY161" fmla="*/ 3594005 h 5955635"/>
              <a:gd name="connsiteX162" fmla="*/ 5500844 w 6187971"/>
              <a:gd name="connsiteY162" fmla="*/ 3597631 h 5955635"/>
              <a:gd name="connsiteX163" fmla="*/ 5501806 w 6187971"/>
              <a:gd name="connsiteY163" fmla="*/ 3602135 h 5955635"/>
              <a:gd name="connsiteX164" fmla="*/ 5498264 w 6187971"/>
              <a:gd name="connsiteY164" fmla="*/ 3607601 h 5955635"/>
              <a:gd name="connsiteX165" fmla="*/ 5496339 w 6187971"/>
              <a:gd name="connsiteY165" fmla="*/ 3598593 h 5955635"/>
              <a:gd name="connsiteX166" fmla="*/ 5505531 w 6187971"/>
              <a:gd name="connsiteY166" fmla="*/ 3584407 h 5955635"/>
              <a:gd name="connsiteX167" fmla="*/ 5502887 w 6187971"/>
              <a:gd name="connsiteY167" fmla="*/ 3593074 h 5955635"/>
              <a:gd name="connsiteX168" fmla="*/ 5501782 w 6187971"/>
              <a:gd name="connsiteY168" fmla="*/ 3594005 h 5955635"/>
              <a:gd name="connsiteX169" fmla="*/ 5503423 w 6187971"/>
              <a:gd name="connsiteY169" fmla="*/ 3587661 h 5955635"/>
              <a:gd name="connsiteX170" fmla="*/ 5509363 w 6187971"/>
              <a:gd name="connsiteY170" fmla="*/ 3567553 h 5955635"/>
              <a:gd name="connsiteX171" fmla="*/ 5513086 w 6187971"/>
              <a:gd name="connsiteY171" fmla="*/ 3566758 h 5955635"/>
              <a:gd name="connsiteX172" fmla="*/ 5506965 w 6187971"/>
              <a:gd name="connsiteY172" fmla="*/ 3582195 h 5955635"/>
              <a:gd name="connsiteX173" fmla="*/ 5505531 w 6187971"/>
              <a:gd name="connsiteY173" fmla="*/ 3584407 h 5955635"/>
              <a:gd name="connsiteX174" fmla="*/ 5507691 w 6187971"/>
              <a:gd name="connsiteY174" fmla="*/ 3577329 h 5955635"/>
              <a:gd name="connsiteX175" fmla="*/ 5510688 w 6187971"/>
              <a:gd name="connsiteY175" fmla="*/ 3559800 h 5955635"/>
              <a:gd name="connsiteX176" fmla="*/ 5509363 w 6187971"/>
              <a:gd name="connsiteY176" fmla="*/ 3567553 h 5955635"/>
              <a:gd name="connsiteX177" fmla="*/ 5508582 w 6187971"/>
              <a:gd name="connsiteY177" fmla="*/ 3567720 h 5955635"/>
              <a:gd name="connsiteX178" fmla="*/ 5161932 w 6187971"/>
              <a:gd name="connsiteY178" fmla="*/ 3575847 h 5955635"/>
              <a:gd name="connsiteX179" fmla="*/ 5160517 w 6187971"/>
              <a:gd name="connsiteY179" fmla="*/ 3580472 h 5955635"/>
              <a:gd name="connsiteX180" fmla="*/ 5159539 w 6187971"/>
              <a:gd name="connsiteY180" fmla="*/ 3582645 h 5955635"/>
              <a:gd name="connsiteX181" fmla="*/ 5159040 w 6187971"/>
              <a:gd name="connsiteY181" fmla="*/ 3580307 h 5955635"/>
              <a:gd name="connsiteX182" fmla="*/ 5161932 w 6187971"/>
              <a:gd name="connsiteY182" fmla="*/ 3575847 h 5955635"/>
              <a:gd name="connsiteX183" fmla="*/ 1120688 w 6187971"/>
              <a:gd name="connsiteY183" fmla="*/ 4434529 h 5955635"/>
              <a:gd name="connsiteX184" fmla="*/ 1126155 w 6187971"/>
              <a:gd name="connsiteY184" fmla="*/ 4438070 h 5955635"/>
              <a:gd name="connsiteX185" fmla="*/ 1121651 w 6187971"/>
              <a:gd name="connsiteY185" fmla="*/ 4439032 h 5955635"/>
              <a:gd name="connsiteX186" fmla="*/ 5592057 w 6187971"/>
              <a:gd name="connsiteY186" fmla="*/ 3360201 h 5955635"/>
              <a:gd name="connsiteX187" fmla="*/ 5593625 w 6187971"/>
              <a:gd name="connsiteY187" fmla="*/ 3370584 h 5955635"/>
              <a:gd name="connsiteX188" fmla="*/ 5592663 w 6187971"/>
              <a:gd name="connsiteY188" fmla="*/ 3366081 h 5955635"/>
              <a:gd name="connsiteX189" fmla="*/ 5591701 w 6187971"/>
              <a:gd name="connsiteY189" fmla="*/ 3361577 h 5955635"/>
              <a:gd name="connsiteX190" fmla="*/ 818034 w 6187971"/>
              <a:gd name="connsiteY190" fmla="*/ 4362609 h 5955635"/>
              <a:gd name="connsiteX191" fmla="*/ 820283 w 6187971"/>
              <a:gd name="connsiteY191" fmla="*/ 4366839 h 5955635"/>
              <a:gd name="connsiteX192" fmla="*/ 818996 w 6187971"/>
              <a:gd name="connsiteY192" fmla="*/ 4367114 h 5955635"/>
              <a:gd name="connsiteX193" fmla="*/ 818034 w 6187971"/>
              <a:gd name="connsiteY193" fmla="*/ 4362609 h 5955635"/>
              <a:gd name="connsiteX194" fmla="*/ 5246100 w 6187971"/>
              <a:gd name="connsiteY194" fmla="*/ 3411866 h 5955635"/>
              <a:gd name="connsiteX195" fmla="*/ 5247019 w 6187971"/>
              <a:gd name="connsiteY195" fmla="*/ 3411670 h 5955635"/>
              <a:gd name="connsiteX196" fmla="*/ 5246885 w 6187971"/>
              <a:gd name="connsiteY196" fmla="*/ 3415540 h 5955635"/>
              <a:gd name="connsiteX197" fmla="*/ 5246100 w 6187971"/>
              <a:gd name="connsiteY197" fmla="*/ 3411866 h 5955635"/>
              <a:gd name="connsiteX198" fmla="*/ 5262588 w 6187971"/>
              <a:gd name="connsiteY198" fmla="*/ 3147082 h 5955635"/>
              <a:gd name="connsiteX199" fmla="*/ 5248332 w 6187971"/>
              <a:gd name="connsiteY199" fmla="*/ 3242337 h 5955635"/>
              <a:gd name="connsiteX200" fmla="*/ 5227796 w 6187971"/>
              <a:gd name="connsiteY200" fmla="*/ 3308198 h 5955635"/>
              <a:gd name="connsiteX201" fmla="*/ 5228581 w 6187971"/>
              <a:gd name="connsiteY201" fmla="*/ 3311872 h 5955635"/>
              <a:gd name="connsiteX202" fmla="*/ 5225689 w 6187971"/>
              <a:gd name="connsiteY202" fmla="*/ 3316332 h 5955635"/>
              <a:gd name="connsiteX203" fmla="*/ 5230152 w 6187971"/>
              <a:gd name="connsiteY203" fmla="*/ 3319222 h 5955635"/>
              <a:gd name="connsiteX204" fmla="*/ 5233044 w 6187971"/>
              <a:gd name="connsiteY204" fmla="*/ 3314761 h 5955635"/>
              <a:gd name="connsiteX205" fmla="*/ 5209615 w 6187971"/>
              <a:gd name="connsiteY205" fmla="*/ 3385082 h 5955635"/>
              <a:gd name="connsiteX206" fmla="*/ 5207509 w 6187971"/>
              <a:gd name="connsiteY206" fmla="*/ 3393216 h 5955635"/>
              <a:gd name="connsiteX207" fmla="*/ 5204616 w 6187971"/>
              <a:gd name="connsiteY207" fmla="*/ 3397676 h 5955635"/>
              <a:gd name="connsiteX208" fmla="*/ 5209864 w 6187971"/>
              <a:gd name="connsiteY208" fmla="*/ 3404240 h 5955635"/>
              <a:gd name="connsiteX209" fmla="*/ 5199079 w 6187971"/>
              <a:gd name="connsiteY209" fmla="*/ 3425754 h 5955635"/>
              <a:gd name="connsiteX210" fmla="*/ 5156933 w 6187971"/>
              <a:gd name="connsiteY210" fmla="*/ 3588442 h 5955635"/>
              <a:gd name="connsiteX211" fmla="*/ 5159539 w 6187971"/>
              <a:gd name="connsiteY211" fmla="*/ 3582645 h 5955635"/>
              <a:gd name="connsiteX212" fmla="*/ 5159825 w 6187971"/>
              <a:gd name="connsiteY212" fmla="*/ 3583982 h 5955635"/>
              <a:gd name="connsiteX213" fmla="*/ 5157718 w 6187971"/>
              <a:gd name="connsiteY213" fmla="*/ 3592116 h 5955635"/>
              <a:gd name="connsiteX214" fmla="*/ 5161395 w 6187971"/>
              <a:gd name="connsiteY214" fmla="*/ 3591330 h 5955635"/>
              <a:gd name="connsiteX215" fmla="*/ 5163502 w 6187971"/>
              <a:gd name="connsiteY215" fmla="*/ 3583196 h 5955635"/>
              <a:gd name="connsiteX216" fmla="*/ 5160320 w 6187971"/>
              <a:gd name="connsiteY216" fmla="*/ 3622296 h 5955635"/>
              <a:gd name="connsiteX217" fmla="*/ 5159535 w 6187971"/>
              <a:gd name="connsiteY217" fmla="*/ 3618622 h 5955635"/>
              <a:gd name="connsiteX218" fmla="*/ 5157428 w 6187971"/>
              <a:gd name="connsiteY218" fmla="*/ 3626757 h 5955635"/>
              <a:gd name="connsiteX219" fmla="*/ 5154536 w 6187971"/>
              <a:gd name="connsiteY219" fmla="*/ 3631216 h 5955635"/>
              <a:gd name="connsiteX220" fmla="*/ 5106399 w 6187971"/>
              <a:gd name="connsiteY220" fmla="*/ 3729869 h 5955635"/>
              <a:gd name="connsiteX221" fmla="*/ 5109291 w 6187971"/>
              <a:gd name="connsiteY221" fmla="*/ 3725408 h 5955635"/>
              <a:gd name="connsiteX222" fmla="*/ 5104829 w 6187971"/>
              <a:gd name="connsiteY222" fmla="*/ 3722520 h 5955635"/>
              <a:gd name="connsiteX223" fmla="*/ 5105614 w 6187971"/>
              <a:gd name="connsiteY223" fmla="*/ 3726194 h 5955635"/>
              <a:gd name="connsiteX224" fmla="*/ 5106399 w 6187971"/>
              <a:gd name="connsiteY224" fmla="*/ 3729869 h 5955635"/>
              <a:gd name="connsiteX225" fmla="*/ 5103506 w 6187971"/>
              <a:gd name="connsiteY225" fmla="*/ 3734329 h 5955635"/>
              <a:gd name="connsiteX226" fmla="*/ 5089045 w 6187971"/>
              <a:gd name="connsiteY226" fmla="*/ 3756628 h 5955635"/>
              <a:gd name="connsiteX227" fmla="*/ 5095614 w 6187971"/>
              <a:gd name="connsiteY227" fmla="*/ 3751383 h 5955635"/>
              <a:gd name="connsiteX228" fmla="*/ 5096399 w 6187971"/>
              <a:gd name="connsiteY228" fmla="*/ 3755057 h 5955635"/>
              <a:gd name="connsiteX229" fmla="*/ 5097184 w 6187971"/>
              <a:gd name="connsiteY229" fmla="*/ 3758732 h 5955635"/>
              <a:gd name="connsiteX230" fmla="*/ 5100077 w 6187971"/>
              <a:gd name="connsiteY230" fmla="*/ 3754271 h 5955635"/>
              <a:gd name="connsiteX231" fmla="*/ 5090862 w 6187971"/>
              <a:gd name="connsiteY231" fmla="*/ 3783135 h 5955635"/>
              <a:gd name="connsiteX232" fmla="*/ 5090077 w 6187971"/>
              <a:gd name="connsiteY232" fmla="*/ 3779461 h 5955635"/>
              <a:gd name="connsiteX233" fmla="*/ 5092970 w 6187971"/>
              <a:gd name="connsiteY233" fmla="*/ 3775001 h 5955635"/>
              <a:gd name="connsiteX234" fmla="*/ 5092185 w 6187971"/>
              <a:gd name="connsiteY234" fmla="*/ 3771327 h 5955635"/>
              <a:gd name="connsiteX235" fmla="*/ 5086400 w 6187971"/>
              <a:gd name="connsiteY235" fmla="*/ 3780246 h 5955635"/>
              <a:gd name="connsiteX236" fmla="*/ 5083508 w 6187971"/>
              <a:gd name="connsiteY236" fmla="*/ 3784706 h 5955635"/>
              <a:gd name="connsiteX237" fmla="*/ 5055907 w 6187971"/>
              <a:gd name="connsiteY237" fmla="*/ 3817497 h 5955635"/>
              <a:gd name="connsiteX238" fmla="*/ 5039585 w 6187971"/>
              <a:gd name="connsiteY238" fmla="*/ 3867090 h 5955635"/>
              <a:gd name="connsiteX239" fmla="*/ 5035908 w 6187971"/>
              <a:gd name="connsiteY239" fmla="*/ 3867875 h 5955635"/>
              <a:gd name="connsiteX240" fmla="*/ 5033801 w 6187971"/>
              <a:gd name="connsiteY240" fmla="*/ 3876009 h 5955635"/>
              <a:gd name="connsiteX241" fmla="*/ 5030123 w 6187971"/>
              <a:gd name="connsiteY241" fmla="*/ 3876795 h 5955635"/>
              <a:gd name="connsiteX242" fmla="*/ 5030908 w 6187971"/>
              <a:gd name="connsiteY242" fmla="*/ 3880470 h 5955635"/>
              <a:gd name="connsiteX243" fmla="*/ 5017232 w 6187971"/>
              <a:gd name="connsiteY243" fmla="*/ 3906445 h 5955635"/>
              <a:gd name="connsiteX244" fmla="*/ 5027479 w 6187971"/>
              <a:gd name="connsiteY244" fmla="*/ 3900413 h 5955635"/>
              <a:gd name="connsiteX245" fmla="*/ 5028264 w 6187971"/>
              <a:gd name="connsiteY245" fmla="*/ 3904088 h 5955635"/>
              <a:gd name="connsiteX246" fmla="*/ 5031156 w 6187971"/>
              <a:gd name="connsiteY246" fmla="*/ 3899627 h 5955635"/>
              <a:gd name="connsiteX247" fmla="*/ 5034833 w 6187971"/>
              <a:gd name="connsiteY247" fmla="*/ 3898841 h 5955635"/>
              <a:gd name="connsiteX248" fmla="*/ 5015372 w 6187971"/>
              <a:gd name="connsiteY248" fmla="*/ 3933736 h 5955635"/>
              <a:gd name="connsiteX249" fmla="*/ 5006447 w 6187971"/>
              <a:gd name="connsiteY249" fmla="*/ 3927959 h 5955635"/>
              <a:gd name="connsiteX250" fmla="*/ 4969384 w 6187971"/>
              <a:gd name="connsiteY250" fmla="*/ 3970456 h 5955635"/>
              <a:gd name="connsiteX251" fmla="*/ 4955170 w 6187971"/>
              <a:gd name="connsiteY251" fmla="*/ 4011913 h 5955635"/>
              <a:gd name="connsiteX252" fmla="*/ 4921785 w 6187971"/>
              <a:gd name="connsiteY252" fmla="*/ 4053624 h 5955635"/>
              <a:gd name="connsiteX253" fmla="*/ 4915463 w 6187971"/>
              <a:gd name="connsiteY253" fmla="*/ 4078028 h 5955635"/>
              <a:gd name="connsiteX254" fmla="*/ 4807661 w 6187971"/>
              <a:gd name="connsiteY254" fmla="*/ 4239374 h 5955635"/>
              <a:gd name="connsiteX255" fmla="*/ 4885465 w 6187971"/>
              <a:gd name="connsiteY255" fmla="*/ 4153594 h 5955635"/>
              <a:gd name="connsiteX256" fmla="*/ 4944634 w 6187971"/>
              <a:gd name="connsiteY256" fmla="*/ 4052585 h 5955635"/>
              <a:gd name="connsiteX257" fmla="*/ 4945419 w 6187971"/>
              <a:gd name="connsiteY257" fmla="*/ 4056260 h 5955635"/>
              <a:gd name="connsiteX258" fmla="*/ 4943311 w 6187971"/>
              <a:gd name="connsiteY258" fmla="*/ 4064394 h 5955635"/>
              <a:gd name="connsiteX259" fmla="*/ 4946204 w 6187971"/>
              <a:gd name="connsiteY259" fmla="*/ 4059934 h 5955635"/>
              <a:gd name="connsiteX260" fmla="*/ 4952773 w 6187971"/>
              <a:gd name="connsiteY260" fmla="*/ 4054689 h 5955635"/>
              <a:gd name="connsiteX261" fmla="*/ 4944096 w 6187971"/>
              <a:gd name="connsiteY261" fmla="*/ 4068069 h 5955635"/>
              <a:gd name="connsiteX262" fmla="*/ 5007190 w 6187971"/>
              <a:gd name="connsiteY262" fmla="*/ 3985431 h 5955635"/>
              <a:gd name="connsiteX263" fmla="*/ 5066112 w 6187971"/>
              <a:gd name="connsiteY263" fmla="*/ 3865264 h 5955635"/>
              <a:gd name="connsiteX264" fmla="*/ 5106357 w 6187971"/>
              <a:gd name="connsiteY264" fmla="*/ 3783667 h 5955635"/>
              <a:gd name="connsiteX265" fmla="*/ 5134785 w 6187971"/>
              <a:gd name="connsiteY265" fmla="*/ 3700752 h 5955635"/>
              <a:gd name="connsiteX266" fmla="*/ 5158998 w 6187971"/>
              <a:gd name="connsiteY266" fmla="*/ 3634105 h 5955635"/>
              <a:gd name="connsiteX267" fmla="*/ 5161890 w 6187971"/>
              <a:gd name="connsiteY267" fmla="*/ 3629645 h 5955635"/>
              <a:gd name="connsiteX268" fmla="*/ 5163998 w 6187971"/>
              <a:gd name="connsiteY268" fmla="*/ 3621510 h 5955635"/>
              <a:gd name="connsiteX269" fmla="*/ 5212714 w 6187971"/>
              <a:gd name="connsiteY269" fmla="*/ 3453577 h 5955635"/>
              <a:gd name="connsiteX270" fmla="*/ 5226101 w 6187971"/>
              <a:gd name="connsiteY270" fmla="*/ 3462243 h 5955635"/>
              <a:gd name="connsiteX271" fmla="*/ 5240563 w 6187971"/>
              <a:gd name="connsiteY271" fmla="*/ 3439944 h 5955635"/>
              <a:gd name="connsiteX272" fmla="*/ 5238456 w 6187971"/>
              <a:gd name="connsiteY272" fmla="*/ 3448077 h 5955635"/>
              <a:gd name="connsiteX273" fmla="*/ 5236348 w 6187971"/>
              <a:gd name="connsiteY273" fmla="*/ 3456212 h 5955635"/>
              <a:gd name="connsiteX274" fmla="*/ 5239241 w 6187971"/>
              <a:gd name="connsiteY274" fmla="*/ 3451752 h 5955635"/>
              <a:gd name="connsiteX275" fmla="*/ 5241348 w 6187971"/>
              <a:gd name="connsiteY275" fmla="*/ 3443618 h 5955635"/>
              <a:gd name="connsiteX276" fmla="*/ 5244240 w 6187971"/>
              <a:gd name="connsiteY276" fmla="*/ 3439158 h 5955635"/>
              <a:gd name="connsiteX277" fmla="*/ 5251347 w 6187971"/>
              <a:gd name="connsiteY277" fmla="*/ 3418429 h 5955635"/>
              <a:gd name="connsiteX278" fmla="*/ 5250562 w 6187971"/>
              <a:gd name="connsiteY278" fmla="*/ 3414755 h 5955635"/>
              <a:gd name="connsiteX279" fmla="*/ 5249777 w 6187971"/>
              <a:gd name="connsiteY279" fmla="*/ 3411081 h 5955635"/>
              <a:gd name="connsiteX280" fmla="*/ 5247019 w 6187971"/>
              <a:gd name="connsiteY280" fmla="*/ 3411670 h 5955635"/>
              <a:gd name="connsiteX281" fmla="*/ 5247153 w 6187971"/>
              <a:gd name="connsiteY281" fmla="*/ 3407799 h 5955635"/>
              <a:gd name="connsiteX282" fmla="*/ 5247422 w 6187971"/>
              <a:gd name="connsiteY282" fmla="*/ 3400057 h 5955635"/>
              <a:gd name="connsiteX283" fmla="*/ 5231391 w 6187971"/>
              <a:gd name="connsiteY283" fmla="*/ 3415009 h 5955635"/>
              <a:gd name="connsiteX284" fmla="*/ 5232465 w 6187971"/>
              <a:gd name="connsiteY284" fmla="*/ 3384043 h 5955635"/>
              <a:gd name="connsiteX285" fmla="*/ 5228003 w 6187971"/>
              <a:gd name="connsiteY285" fmla="*/ 3381153 h 5955635"/>
              <a:gd name="connsiteX286" fmla="*/ 5231680 w 6187971"/>
              <a:gd name="connsiteY286" fmla="*/ 3380368 h 5955635"/>
              <a:gd name="connsiteX287" fmla="*/ 5230895 w 6187971"/>
              <a:gd name="connsiteY287" fmla="*/ 3376694 h 5955635"/>
              <a:gd name="connsiteX288" fmla="*/ 5230110 w 6187971"/>
              <a:gd name="connsiteY288" fmla="*/ 3373020 h 5955635"/>
              <a:gd name="connsiteX289" fmla="*/ 5229324 w 6187971"/>
              <a:gd name="connsiteY289" fmla="*/ 3369345 h 5955635"/>
              <a:gd name="connsiteX290" fmla="*/ 5239613 w 6187971"/>
              <a:gd name="connsiteY290" fmla="*/ 3309515 h 5955635"/>
              <a:gd name="connsiteX291" fmla="*/ 5235936 w 6187971"/>
              <a:gd name="connsiteY291" fmla="*/ 3310301 h 5955635"/>
              <a:gd name="connsiteX292" fmla="*/ 5238828 w 6187971"/>
              <a:gd name="connsiteY292" fmla="*/ 3305841 h 5955635"/>
              <a:gd name="connsiteX293" fmla="*/ 5243828 w 6187971"/>
              <a:gd name="connsiteY293" fmla="*/ 3293247 h 5955635"/>
              <a:gd name="connsiteX294" fmla="*/ 5239366 w 6187971"/>
              <a:gd name="connsiteY294" fmla="*/ 3290358 h 5955635"/>
              <a:gd name="connsiteX295" fmla="*/ 5260687 w 6187971"/>
              <a:gd name="connsiteY295" fmla="*/ 3228171 h 5955635"/>
              <a:gd name="connsiteX296" fmla="*/ 5262588 w 6187971"/>
              <a:gd name="connsiteY296" fmla="*/ 3147082 h 5955635"/>
              <a:gd name="connsiteX297" fmla="*/ 869439 w 6187971"/>
              <a:gd name="connsiteY297" fmla="*/ 3941889 h 5955635"/>
              <a:gd name="connsiteX298" fmla="*/ 870401 w 6187971"/>
              <a:gd name="connsiteY298" fmla="*/ 3946393 h 5955635"/>
              <a:gd name="connsiteX299" fmla="*/ 869247 w 6187971"/>
              <a:gd name="connsiteY299" fmla="*/ 3944432 h 5955635"/>
              <a:gd name="connsiteX300" fmla="*/ 5600071 w 6187971"/>
              <a:gd name="connsiteY300" fmla="*/ 2827600 h 5955635"/>
              <a:gd name="connsiteX301" fmla="*/ 5601033 w 6187971"/>
              <a:gd name="connsiteY301" fmla="*/ 2832105 h 5955635"/>
              <a:gd name="connsiteX302" fmla="*/ 5600701 w 6187971"/>
              <a:gd name="connsiteY302" fmla="*/ 2831889 h 5955635"/>
              <a:gd name="connsiteX303" fmla="*/ 5594604 w 6187971"/>
              <a:gd name="connsiteY303" fmla="*/ 2824058 h 5955635"/>
              <a:gd name="connsiteX304" fmla="*/ 5594817 w 6187971"/>
              <a:gd name="connsiteY304" fmla="*/ 2824013 h 5955635"/>
              <a:gd name="connsiteX305" fmla="*/ 5595567 w 6187971"/>
              <a:gd name="connsiteY305" fmla="*/ 2828563 h 5955635"/>
              <a:gd name="connsiteX306" fmla="*/ 5594604 w 6187971"/>
              <a:gd name="connsiteY306" fmla="*/ 2824058 h 5955635"/>
              <a:gd name="connsiteX307" fmla="*/ 756958 w 6187971"/>
              <a:gd name="connsiteY307" fmla="*/ 3768116 h 5955635"/>
              <a:gd name="connsiteX308" fmla="*/ 764349 w 6187971"/>
              <a:gd name="connsiteY308" fmla="*/ 3780665 h 5955635"/>
              <a:gd name="connsiteX309" fmla="*/ 759845 w 6187971"/>
              <a:gd name="connsiteY309" fmla="*/ 3781628 h 5955635"/>
              <a:gd name="connsiteX310" fmla="*/ 5540370 w 6187971"/>
              <a:gd name="connsiteY310" fmla="*/ 2614293 h 5955635"/>
              <a:gd name="connsiteX311" fmla="*/ 5545837 w 6187971"/>
              <a:gd name="connsiteY311" fmla="*/ 2617834 h 5955635"/>
              <a:gd name="connsiteX312" fmla="*/ 5541332 w 6187971"/>
              <a:gd name="connsiteY312" fmla="*/ 2618797 h 5955635"/>
              <a:gd name="connsiteX313" fmla="*/ 5540370 w 6187971"/>
              <a:gd name="connsiteY313" fmla="*/ 2614293 h 5955635"/>
              <a:gd name="connsiteX314" fmla="*/ 5744362 w 6187971"/>
              <a:gd name="connsiteY314" fmla="*/ 2533034 h 5955635"/>
              <a:gd name="connsiteX315" fmla="*/ 5751754 w 6187971"/>
              <a:gd name="connsiteY315" fmla="*/ 2545583 h 5955635"/>
              <a:gd name="connsiteX316" fmla="*/ 5770344 w 6187971"/>
              <a:gd name="connsiteY316" fmla="*/ 2654643 h 5955635"/>
              <a:gd name="connsiteX317" fmla="*/ 5792210 w 6187971"/>
              <a:gd name="connsiteY317" fmla="*/ 2668810 h 5955635"/>
              <a:gd name="connsiteX318" fmla="*/ 5800215 w 6187971"/>
              <a:gd name="connsiteY318" fmla="*/ 2728325 h 5955635"/>
              <a:gd name="connsiteX319" fmla="*/ 5803450 w 6187971"/>
              <a:gd name="connsiteY319" fmla="*/ 2699375 h 5955635"/>
              <a:gd name="connsiteX320" fmla="*/ 5811149 w 6187971"/>
              <a:gd name="connsiteY320" fmla="*/ 2735408 h 5955635"/>
              <a:gd name="connsiteX321" fmla="*/ 5820811 w 6187971"/>
              <a:gd name="connsiteY321" fmla="*/ 2714505 h 5955635"/>
              <a:gd name="connsiteX322" fmla="*/ 5838358 w 6187971"/>
              <a:gd name="connsiteY322" fmla="*/ 2950947 h 5955635"/>
              <a:gd name="connsiteX323" fmla="*/ 5838665 w 6187971"/>
              <a:gd name="connsiteY323" fmla="*/ 2974430 h 5955635"/>
              <a:gd name="connsiteX324" fmla="*/ 4638016 w 6187971"/>
              <a:gd name="connsiteY324" fmla="*/ 5312600 h 5955635"/>
              <a:gd name="connsiteX325" fmla="*/ 4633512 w 6187971"/>
              <a:gd name="connsiteY325" fmla="*/ 5313563 h 5955635"/>
              <a:gd name="connsiteX326" fmla="*/ 4629008 w 6187971"/>
              <a:gd name="connsiteY326" fmla="*/ 5314525 h 5955635"/>
              <a:gd name="connsiteX327" fmla="*/ 4623541 w 6187971"/>
              <a:gd name="connsiteY327" fmla="*/ 5310984 h 5955635"/>
              <a:gd name="connsiteX328" fmla="*/ 4631588 w 6187971"/>
              <a:gd name="connsiteY328" fmla="*/ 5304555 h 5955635"/>
              <a:gd name="connsiteX329" fmla="*/ 4629663 w 6187971"/>
              <a:gd name="connsiteY329" fmla="*/ 5295546 h 5955635"/>
              <a:gd name="connsiteX330" fmla="*/ 4621617 w 6187971"/>
              <a:gd name="connsiteY330" fmla="*/ 5301975 h 5955635"/>
              <a:gd name="connsiteX331" fmla="*/ 4618076 w 6187971"/>
              <a:gd name="connsiteY331" fmla="*/ 5307442 h 5955635"/>
              <a:gd name="connsiteX332" fmla="*/ 4613571 w 6187971"/>
              <a:gd name="connsiteY332" fmla="*/ 5308404 h 5955635"/>
              <a:gd name="connsiteX333" fmla="*/ 4599097 w 6187971"/>
              <a:gd name="connsiteY333" fmla="*/ 5306787 h 5955635"/>
              <a:gd name="connsiteX334" fmla="*/ 4597479 w 6187971"/>
              <a:gd name="connsiteY334" fmla="*/ 5321261 h 5955635"/>
              <a:gd name="connsiteX335" fmla="*/ 4605526 w 6187971"/>
              <a:gd name="connsiteY335" fmla="*/ 5314833 h 5955635"/>
              <a:gd name="connsiteX336" fmla="*/ 4602946 w 6187971"/>
              <a:gd name="connsiteY336" fmla="*/ 5324803 h 5955635"/>
              <a:gd name="connsiteX337" fmla="*/ 4615496 w 6187971"/>
              <a:gd name="connsiteY337" fmla="*/ 5317412 h 5955635"/>
              <a:gd name="connsiteX338" fmla="*/ 4619038 w 6187971"/>
              <a:gd name="connsiteY338" fmla="*/ 5311946 h 5955635"/>
              <a:gd name="connsiteX339" fmla="*/ 4616458 w 6187971"/>
              <a:gd name="connsiteY339" fmla="*/ 5321916 h 5955635"/>
              <a:gd name="connsiteX340" fmla="*/ 4611954 w 6187971"/>
              <a:gd name="connsiteY340" fmla="*/ 5322878 h 5955635"/>
              <a:gd name="connsiteX341" fmla="*/ 4608413 w 6187971"/>
              <a:gd name="connsiteY341" fmla="*/ 5328345 h 5955635"/>
              <a:gd name="connsiteX342" fmla="*/ 4609375 w 6187971"/>
              <a:gd name="connsiteY342" fmla="*/ 5332848 h 5955635"/>
              <a:gd name="connsiteX343" fmla="*/ 4413078 w 6187971"/>
              <a:gd name="connsiteY343" fmla="*/ 5450140 h 5955635"/>
              <a:gd name="connsiteX344" fmla="*/ 4398604 w 6187971"/>
              <a:gd name="connsiteY344" fmla="*/ 5448524 h 5955635"/>
              <a:gd name="connsiteX345" fmla="*/ 4399566 w 6187971"/>
              <a:gd name="connsiteY345" fmla="*/ 5453027 h 5955635"/>
              <a:gd name="connsiteX346" fmla="*/ 3692038 w 6187971"/>
              <a:gd name="connsiteY346" fmla="*/ 5712509 h 5955635"/>
              <a:gd name="connsiteX347" fmla="*/ 1989514 w 6187971"/>
              <a:gd name="connsiteY347" fmla="*/ 5525218 h 5955635"/>
              <a:gd name="connsiteX348" fmla="*/ 2003026 w 6187971"/>
              <a:gd name="connsiteY348" fmla="*/ 5522331 h 5955635"/>
              <a:gd name="connsiteX349" fmla="*/ 1925842 w 6187971"/>
              <a:gd name="connsiteY349" fmla="*/ 5491725 h 5955635"/>
              <a:gd name="connsiteX350" fmla="*/ 1926804 w 6187971"/>
              <a:gd name="connsiteY350" fmla="*/ 5496229 h 5955635"/>
              <a:gd name="connsiteX351" fmla="*/ 1836763 w 6187971"/>
              <a:gd name="connsiteY351" fmla="*/ 5449531 h 5955635"/>
              <a:gd name="connsiteX352" fmla="*/ 1783061 w 6187971"/>
              <a:gd name="connsiteY352" fmla="*/ 5418617 h 5955635"/>
              <a:gd name="connsiteX353" fmla="*/ 1777595 w 6187971"/>
              <a:gd name="connsiteY353" fmla="*/ 5415075 h 5955635"/>
              <a:gd name="connsiteX354" fmla="*/ 1773091 w 6187971"/>
              <a:gd name="connsiteY354" fmla="*/ 5416038 h 5955635"/>
              <a:gd name="connsiteX355" fmla="*/ 1766662 w 6187971"/>
              <a:gd name="connsiteY355" fmla="*/ 5407992 h 5955635"/>
              <a:gd name="connsiteX356" fmla="*/ 1740293 w 6187971"/>
              <a:gd name="connsiteY356" fmla="*/ 5394787 h 5955635"/>
              <a:gd name="connsiteX357" fmla="*/ 1664727 w 6187971"/>
              <a:gd name="connsiteY357" fmla="*/ 5349706 h 5955635"/>
              <a:gd name="connsiteX358" fmla="*/ 1631929 w 6187971"/>
              <a:gd name="connsiteY358" fmla="*/ 5328456 h 5955635"/>
              <a:gd name="connsiteX359" fmla="*/ 1565371 w 6187971"/>
              <a:gd name="connsiteY359" fmla="*/ 5281450 h 5955635"/>
              <a:gd name="connsiteX360" fmla="*/ 1569874 w 6187971"/>
              <a:gd name="connsiteY360" fmla="*/ 5280488 h 5955635"/>
              <a:gd name="connsiteX361" fmla="*/ 1554437 w 6187971"/>
              <a:gd name="connsiteY361" fmla="*/ 5274367 h 5955635"/>
              <a:gd name="connsiteX362" fmla="*/ 1044223 w 6187971"/>
              <a:gd name="connsiteY362" fmla="*/ 4804087 h 5955635"/>
              <a:gd name="connsiteX363" fmla="*/ 631951 w 6187971"/>
              <a:gd name="connsiteY363" fmla="*/ 4086820 h 5955635"/>
              <a:gd name="connsiteX364" fmla="*/ 635493 w 6187971"/>
              <a:gd name="connsiteY364" fmla="*/ 4081353 h 5955635"/>
              <a:gd name="connsiteX365" fmla="*/ 700742 w 6187971"/>
              <a:gd name="connsiteY365" fmla="*/ 4166316 h 5955635"/>
              <a:gd name="connsiteX366" fmla="*/ 711982 w 6187971"/>
              <a:gd name="connsiteY366" fmla="*/ 4196882 h 5955635"/>
              <a:gd name="connsiteX367" fmla="*/ 706515 w 6187971"/>
              <a:gd name="connsiteY367" fmla="*/ 4193340 h 5955635"/>
              <a:gd name="connsiteX368" fmla="*/ 702011 w 6187971"/>
              <a:gd name="connsiteY368" fmla="*/ 4194302 h 5955635"/>
              <a:gd name="connsiteX369" fmla="*/ 707478 w 6187971"/>
              <a:gd name="connsiteY369" fmla="*/ 4197844 h 5955635"/>
              <a:gd name="connsiteX370" fmla="*/ 708440 w 6187971"/>
              <a:gd name="connsiteY370" fmla="*/ 4202348 h 5955635"/>
              <a:gd name="connsiteX371" fmla="*/ 713906 w 6187971"/>
              <a:gd name="connsiteY371" fmla="*/ 4205890 h 5955635"/>
              <a:gd name="connsiteX372" fmla="*/ 732229 w 6187971"/>
              <a:gd name="connsiteY372" fmla="*/ 4225523 h 5955635"/>
              <a:gd name="connsiteX373" fmla="*/ 750861 w 6187971"/>
              <a:gd name="connsiteY373" fmla="*/ 4268639 h 5955635"/>
              <a:gd name="connsiteX374" fmla="*/ 759869 w 6187971"/>
              <a:gd name="connsiteY374" fmla="*/ 4266714 h 5955635"/>
              <a:gd name="connsiteX375" fmla="*/ 761138 w 6187971"/>
              <a:gd name="connsiteY375" fmla="*/ 4294702 h 5955635"/>
              <a:gd name="connsiteX376" fmla="*/ 770454 w 6187971"/>
              <a:gd name="connsiteY376" fmla="*/ 4316259 h 5955635"/>
              <a:gd name="connsiteX377" fmla="*/ 788122 w 6187971"/>
              <a:gd name="connsiteY377" fmla="*/ 4354871 h 5955635"/>
              <a:gd name="connsiteX378" fmla="*/ 816723 w 6187971"/>
              <a:gd name="connsiteY378" fmla="*/ 4400567 h 5955635"/>
              <a:gd name="connsiteX379" fmla="*/ 845324 w 6187971"/>
              <a:gd name="connsiteY379" fmla="*/ 4446262 h 5955635"/>
              <a:gd name="connsiteX380" fmla="*/ 848211 w 6187971"/>
              <a:gd name="connsiteY380" fmla="*/ 4459775 h 5955635"/>
              <a:gd name="connsiteX381" fmla="*/ 865572 w 6187971"/>
              <a:gd name="connsiteY381" fmla="*/ 4474903 h 5955635"/>
              <a:gd name="connsiteX382" fmla="*/ 883599 w 6187971"/>
              <a:gd name="connsiteY382" fmla="*/ 4512777 h 5955635"/>
              <a:gd name="connsiteX383" fmla="*/ 885976 w 6187971"/>
              <a:gd name="connsiteY383" fmla="*/ 4526170 h 5955635"/>
              <a:gd name="connsiteX384" fmla="*/ 885567 w 6187971"/>
              <a:gd name="connsiteY384" fmla="*/ 4525764 h 5955635"/>
              <a:gd name="connsiteX385" fmla="*/ 881591 w 6187971"/>
              <a:gd name="connsiteY385" fmla="*/ 4516811 h 5955635"/>
              <a:gd name="connsiteX386" fmla="*/ 877775 w 6187971"/>
              <a:gd name="connsiteY386" fmla="*/ 4509974 h 5955635"/>
              <a:gd name="connsiteX387" fmla="*/ 877625 w 6187971"/>
              <a:gd name="connsiteY387" fmla="*/ 4517880 h 5955635"/>
              <a:gd name="connsiteX388" fmla="*/ 885567 w 6187971"/>
              <a:gd name="connsiteY388" fmla="*/ 4525764 h 5955635"/>
              <a:gd name="connsiteX389" fmla="*/ 886128 w 6187971"/>
              <a:gd name="connsiteY389" fmla="*/ 4527028 h 5955635"/>
              <a:gd name="connsiteX390" fmla="*/ 885976 w 6187971"/>
              <a:gd name="connsiteY390" fmla="*/ 4526170 h 5955635"/>
              <a:gd name="connsiteX391" fmla="*/ 888178 w 6187971"/>
              <a:gd name="connsiteY391" fmla="*/ 4528356 h 5955635"/>
              <a:gd name="connsiteX392" fmla="*/ 894482 w 6187971"/>
              <a:gd name="connsiteY392" fmla="*/ 4544081 h 5955635"/>
              <a:gd name="connsiteX393" fmla="*/ 933053 w 6187971"/>
              <a:gd name="connsiteY393" fmla="*/ 4592357 h 5955635"/>
              <a:gd name="connsiteX394" fmla="*/ 934015 w 6187971"/>
              <a:gd name="connsiteY394" fmla="*/ 4596860 h 5955635"/>
              <a:gd name="connsiteX395" fmla="*/ 934978 w 6187971"/>
              <a:gd name="connsiteY395" fmla="*/ 4601364 h 5955635"/>
              <a:gd name="connsiteX396" fmla="*/ 939482 w 6187971"/>
              <a:gd name="connsiteY396" fmla="*/ 4600402 h 5955635"/>
              <a:gd name="connsiteX397" fmla="*/ 946872 w 6187971"/>
              <a:gd name="connsiteY397" fmla="*/ 4612952 h 5955635"/>
              <a:gd name="connsiteX398" fmla="*/ 955226 w 6187971"/>
              <a:gd name="connsiteY398" fmla="*/ 4630006 h 5955635"/>
              <a:gd name="connsiteX399" fmla="*/ 998301 w 6187971"/>
              <a:gd name="connsiteY399" fmla="*/ 4677318 h 5955635"/>
              <a:gd name="connsiteX400" fmla="*/ 1008272 w 6187971"/>
              <a:gd name="connsiteY400" fmla="*/ 4679898 h 5955635"/>
              <a:gd name="connsiteX401" fmla="*/ 1003768 w 6187971"/>
              <a:gd name="connsiteY401" fmla="*/ 4680860 h 5955635"/>
              <a:gd name="connsiteX402" fmla="*/ 999264 w 6187971"/>
              <a:gd name="connsiteY402" fmla="*/ 4681823 h 5955635"/>
              <a:gd name="connsiteX403" fmla="*/ 1005693 w 6187971"/>
              <a:gd name="connsiteY403" fmla="*/ 4689868 h 5955635"/>
              <a:gd name="connsiteX404" fmla="*/ 1010197 w 6187971"/>
              <a:gd name="connsiteY404" fmla="*/ 4688906 h 5955635"/>
              <a:gd name="connsiteX405" fmla="*/ 1011159 w 6187971"/>
              <a:gd name="connsiteY405" fmla="*/ 4693410 h 5955635"/>
              <a:gd name="connsiteX406" fmla="*/ 1068054 w 6187971"/>
              <a:gd name="connsiteY406" fmla="*/ 4761319 h 5955635"/>
              <a:gd name="connsiteX407" fmla="*/ 1070941 w 6187971"/>
              <a:gd name="connsiteY407" fmla="*/ 4774831 h 5955635"/>
              <a:gd name="connsiteX408" fmla="*/ 1088302 w 6187971"/>
              <a:gd name="connsiteY408" fmla="*/ 4789960 h 5955635"/>
              <a:gd name="connsiteX409" fmla="*/ 1082836 w 6187971"/>
              <a:gd name="connsiteY409" fmla="*/ 4786418 h 5955635"/>
              <a:gd name="connsiteX410" fmla="*/ 1084761 w 6187971"/>
              <a:gd name="connsiteY410" fmla="*/ 4795426 h 5955635"/>
              <a:gd name="connsiteX411" fmla="*/ 1089264 w 6187971"/>
              <a:gd name="connsiteY411" fmla="*/ 4794464 h 5955635"/>
              <a:gd name="connsiteX412" fmla="*/ 1090227 w 6187971"/>
              <a:gd name="connsiteY412" fmla="*/ 4798968 h 5955635"/>
              <a:gd name="connsiteX413" fmla="*/ 1121407 w 6187971"/>
              <a:gd name="connsiteY413" fmla="*/ 4834693 h 5955635"/>
              <a:gd name="connsiteX414" fmla="*/ 1169950 w 6187971"/>
              <a:gd name="connsiteY414" fmla="*/ 4885547 h 5955635"/>
              <a:gd name="connsiteX415" fmla="*/ 1230080 w 6187971"/>
              <a:gd name="connsiteY415" fmla="*/ 4924507 h 5955635"/>
              <a:gd name="connsiteX416" fmla="*/ 1183462 w 6187971"/>
              <a:gd name="connsiteY416" fmla="*/ 4882661 h 5955635"/>
              <a:gd name="connsiteX417" fmla="*/ 1187004 w 6187971"/>
              <a:gd name="connsiteY417" fmla="*/ 4877195 h 5955635"/>
              <a:gd name="connsiteX418" fmla="*/ 1176071 w 6187971"/>
              <a:gd name="connsiteY418" fmla="*/ 4870111 h 5955635"/>
              <a:gd name="connsiteX419" fmla="*/ 1103738 w 6187971"/>
              <a:gd name="connsiteY419" fmla="*/ 4796081 h 5955635"/>
              <a:gd name="connsiteX420" fmla="*/ 1102776 w 6187971"/>
              <a:gd name="connsiteY420" fmla="*/ 4791577 h 5955635"/>
              <a:gd name="connsiteX421" fmla="*/ 1101814 w 6187971"/>
              <a:gd name="connsiteY421" fmla="*/ 4787074 h 5955635"/>
              <a:gd name="connsiteX422" fmla="*/ 1097311 w 6187971"/>
              <a:gd name="connsiteY422" fmla="*/ 4788036 h 5955635"/>
              <a:gd name="connsiteX423" fmla="*/ 1052310 w 6187971"/>
              <a:gd name="connsiteY423" fmla="*/ 4731715 h 5955635"/>
              <a:gd name="connsiteX424" fmla="*/ 1062280 w 6187971"/>
              <a:gd name="connsiteY424" fmla="*/ 4734295 h 5955635"/>
              <a:gd name="connsiteX425" fmla="*/ 1044919 w 6187971"/>
              <a:gd name="connsiteY425" fmla="*/ 4719165 h 5955635"/>
              <a:gd name="connsiteX426" fmla="*/ 1049423 w 6187971"/>
              <a:gd name="connsiteY426" fmla="*/ 4718203 h 5955635"/>
              <a:gd name="connsiteX427" fmla="*/ 1048461 w 6187971"/>
              <a:gd name="connsiteY427" fmla="*/ 4713698 h 5955635"/>
              <a:gd name="connsiteX428" fmla="*/ 1042995 w 6187971"/>
              <a:gd name="connsiteY428" fmla="*/ 4710157 h 5955635"/>
              <a:gd name="connsiteX429" fmla="*/ 1038491 w 6187971"/>
              <a:gd name="connsiteY429" fmla="*/ 4711120 h 5955635"/>
              <a:gd name="connsiteX430" fmla="*/ 952032 w 6187971"/>
              <a:gd name="connsiteY430" fmla="*/ 4593011 h 5955635"/>
              <a:gd name="connsiteX431" fmla="*/ 951070 w 6187971"/>
              <a:gd name="connsiteY431" fmla="*/ 4588508 h 5955635"/>
              <a:gd name="connsiteX432" fmla="*/ 945603 w 6187971"/>
              <a:gd name="connsiteY432" fmla="*/ 4584966 h 5955635"/>
              <a:gd name="connsiteX433" fmla="*/ 923430 w 6187971"/>
              <a:gd name="connsiteY433" fmla="*/ 4547316 h 5955635"/>
              <a:gd name="connsiteX434" fmla="*/ 922468 w 6187971"/>
              <a:gd name="connsiteY434" fmla="*/ 4542812 h 5955635"/>
              <a:gd name="connsiteX435" fmla="*/ 921506 w 6187971"/>
              <a:gd name="connsiteY435" fmla="*/ 4538307 h 5955635"/>
              <a:gd name="connsiteX436" fmla="*/ 917002 w 6187971"/>
              <a:gd name="connsiteY436" fmla="*/ 4539270 h 5955635"/>
              <a:gd name="connsiteX437" fmla="*/ 903182 w 6187971"/>
              <a:gd name="connsiteY437" fmla="*/ 4518674 h 5955635"/>
              <a:gd name="connsiteX438" fmla="*/ 906724 w 6187971"/>
              <a:gd name="connsiteY438" fmla="*/ 4513208 h 5955635"/>
              <a:gd name="connsiteX439" fmla="*/ 835702 w 6187971"/>
              <a:gd name="connsiteY439" fmla="*/ 4401222 h 5955635"/>
              <a:gd name="connsiteX440" fmla="*/ 840206 w 6187971"/>
              <a:gd name="connsiteY440" fmla="*/ 4400260 h 5955635"/>
              <a:gd name="connsiteX441" fmla="*/ 839244 w 6187971"/>
              <a:gd name="connsiteY441" fmla="*/ 4395755 h 5955635"/>
              <a:gd name="connsiteX442" fmla="*/ 833777 w 6187971"/>
              <a:gd name="connsiteY442" fmla="*/ 4392213 h 5955635"/>
              <a:gd name="connsiteX443" fmla="*/ 822708 w 6187971"/>
              <a:gd name="connsiteY443" fmla="*/ 4371399 h 5955635"/>
              <a:gd name="connsiteX444" fmla="*/ 820283 w 6187971"/>
              <a:gd name="connsiteY444" fmla="*/ 4366839 h 5955635"/>
              <a:gd name="connsiteX445" fmla="*/ 823500 w 6187971"/>
              <a:gd name="connsiteY445" fmla="*/ 4366151 h 5955635"/>
              <a:gd name="connsiteX446" fmla="*/ 822538 w 6187971"/>
              <a:gd name="connsiteY446" fmla="*/ 4361647 h 5955635"/>
              <a:gd name="connsiteX447" fmla="*/ 817071 w 6187971"/>
              <a:gd name="connsiteY447" fmla="*/ 4358106 h 5955635"/>
              <a:gd name="connsiteX448" fmla="*/ 811605 w 6187971"/>
              <a:gd name="connsiteY448" fmla="*/ 4354564 h 5955635"/>
              <a:gd name="connsiteX449" fmla="*/ 801327 w 6187971"/>
              <a:gd name="connsiteY449" fmla="*/ 4328502 h 5955635"/>
              <a:gd name="connsiteX450" fmla="*/ 756982 w 6187971"/>
              <a:gd name="connsiteY450" fmla="*/ 4253202 h 5955635"/>
              <a:gd name="connsiteX451" fmla="*/ 761486 w 6187971"/>
              <a:gd name="connsiteY451" fmla="*/ 4252240 h 5955635"/>
              <a:gd name="connsiteX452" fmla="*/ 762448 w 6187971"/>
              <a:gd name="connsiteY452" fmla="*/ 4256744 h 5955635"/>
              <a:gd name="connsiteX453" fmla="*/ 767914 w 6187971"/>
              <a:gd name="connsiteY453" fmla="*/ 4260286 h 5955635"/>
              <a:gd name="connsiteX454" fmla="*/ 765989 w 6187971"/>
              <a:gd name="connsiteY454" fmla="*/ 4251278 h 5955635"/>
              <a:gd name="connsiteX455" fmla="*/ 759562 w 6187971"/>
              <a:gd name="connsiteY455" fmla="*/ 4243232 h 5955635"/>
              <a:gd name="connsiteX456" fmla="*/ 751208 w 6187971"/>
              <a:gd name="connsiteY456" fmla="*/ 4226178 h 5955635"/>
              <a:gd name="connsiteX457" fmla="*/ 745742 w 6187971"/>
              <a:gd name="connsiteY457" fmla="*/ 4222636 h 5955635"/>
              <a:gd name="connsiteX458" fmla="*/ 747666 w 6187971"/>
              <a:gd name="connsiteY458" fmla="*/ 4231645 h 5955635"/>
              <a:gd name="connsiteX459" fmla="*/ 734810 w 6187971"/>
              <a:gd name="connsiteY459" fmla="*/ 4215553 h 5955635"/>
              <a:gd name="connsiteX460" fmla="*/ 730960 w 6187971"/>
              <a:gd name="connsiteY460" fmla="*/ 4197536 h 5955635"/>
              <a:gd name="connsiteX461" fmla="*/ 724531 w 6187971"/>
              <a:gd name="connsiteY461" fmla="*/ 4189491 h 5955635"/>
              <a:gd name="connsiteX462" fmla="*/ 729998 w 6187971"/>
              <a:gd name="connsiteY462" fmla="*/ 4193033 h 5955635"/>
              <a:gd name="connsiteX463" fmla="*/ 729691 w 6187971"/>
              <a:gd name="connsiteY463" fmla="*/ 4169550 h 5955635"/>
              <a:gd name="connsiteX464" fmla="*/ 769532 w 6187971"/>
              <a:gd name="connsiteY464" fmla="*/ 4245812 h 5955635"/>
              <a:gd name="connsiteX465" fmla="*/ 808104 w 6187971"/>
              <a:gd name="connsiteY465" fmla="*/ 4294087 h 5955635"/>
              <a:gd name="connsiteX466" fmla="*/ 804909 w 6187971"/>
              <a:gd name="connsiteY466" fmla="*/ 4257092 h 5955635"/>
              <a:gd name="connsiteX467" fmla="*/ 954652 w 6187971"/>
              <a:gd name="connsiteY467" fmla="*/ 4517097 h 5955635"/>
              <a:gd name="connsiteX468" fmla="*/ 951110 w 6187971"/>
              <a:gd name="connsiteY468" fmla="*/ 4522564 h 5955635"/>
              <a:gd name="connsiteX469" fmla="*/ 950148 w 6187971"/>
              <a:gd name="connsiteY469" fmla="*/ 4518059 h 5955635"/>
              <a:gd name="connsiteX470" fmla="*/ 945643 w 6187971"/>
              <a:gd name="connsiteY470" fmla="*/ 4519022 h 5955635"/>
              <a:gd name="connsiteX471" fmla="*/ 947568 w 6187971"/>
              <a:gd name="connsiteY471" fmla="*/ 4528030 h 5955635"/>
              <a:gd name="connsiteX472" fmla="*/ 950455 w 6187971"/>
              <a:gd name="connsiteY472" fmla="*/ 4541543 h 5955635"/>
              <a:gd name="connsiteX473" fmla="*/ 971358 w 6187971"/>
              <a:gd name="connsiteY473" fmla="*/ 4551205 h 5955635"/>
              <a:gd name="connsiteX474" fmla="*/ 972320 w 6187971"/>
              <a:gd name="connsiteY474" fmla="*/ 4555710 h 5955635"/>
              <a:gd name="connsiteX475" fmla="*/ 973282 w 6187971"/>
              <a:gd name="connsiteY475" fmla="*/ 4560213 h 5955635"/>
              <a:gd name="connsiteX476" fmla="*/ 979711 w 6187971"/>
              <a:gd name="connsiteY476" fmla="*/ 4568259 h 5955635"/>
              <a:gd name="connsiteX477" fmla="*/ 986140 w 6187971"/>
              <a:gd name="connsiteY477" fmla="*/ 4576305 h 5955635"/>
              <a:gd name="connsiteX478" fmla="*/ 996417 w 6187971"/>
              <a:gd name="connsiteY478" fmla="*/ 4602367 h 5955635"/>
              <a:gd name="connsiteX479" fmla="*/ 990952 w 6187971"/>
              <a:gd name="connsiteY479" fmla="*/ 4598826 h 5955635"/>
              <a:gd name="connsiteX480" fmla="*/ 991914 w 6187971"/>
              <a:gd name="connsiteY480" fmla="*/ 4603329 h 5955635"/>
              <a:gd name="connsiteX481" fmla="*/ 997379 w 6187971"/>
              <a:gd name="connsiteY481" fmla="*/ 4606871 h 5955635"/>
              <a:gd name="connsiteX482" fmla="*/ 1010237 w 6187971"/>
              <a:gd name="connsiteY482" fmla="*/ 4622963 h 5955635"/>
              <a:gd name="connsiteX483" fmla="*/ 1011200 w 6187971"/>
              <a:gd name="connsiteY483" fmla="*/ 4627466 h 5955635"/>
              <a:gd name="connsiteX484" fmla="*/ 1017628 w 6187971"/>
              <a:gd name="connsiteY484" fmla="*/ 4635513 h 5955635"/>
              <a:gd name="connsiteX485" fmla="*/ 1023094 w 6187971"/>
              <a:gd name="connsiteY485" fmla="*/ 4639054 h 5955635"/>
              <a:gd name="connsiteX486" fmla="*/ 1022132 w 6187971"/>
              <a:gd name="connsiteY486" fmla="*/ 4634551 h 5955635"/>
              <a:gd name="connsiteX487" fmla="*/ 1029523 w 6187971"/>
              <a:gd name="connsiteY487" fmla="*/ 4647100 h 5955635"/>
              <a:gd name="connsiteX488" fmla="*/ 1034027 w 6187971"/>
              <a:gd name="connsiteY488" fmla="*/ 4646138 h 5955635"/>
              <a:gd name="connsiteX489" fmla="*/ 1040455 w 6187971"/>
              <a:gd name="connsiteY489" fmla="*/ 4654184 h 5955635"/>
              <a:gd name="connsiteX490" fmla="*/ 1041417 w 6187971"/>
              <a:gd name="connsiteY490" fmla="*/ 4658688 h 5955635"/>
              <a:gd name="connsiteX491" fmla="*/ 1042380 w 6187971"/>
              <a:gd name="connsiteY491" fmla="*/ 4663192 h 5955635"/>
              <a:gd name="connsiteX492" fmla="*/ 1047846 w 6187971"/>
              <a:gd name="connsiteY492" fmla="*/ 4666733 h 5955635"/>
              <a:gd name="connsiteX493" fmla="*/ 1046884 w 6187971"/>
              <a:gd name="connsiteY493" fmla="*/ 4662230 h 5955635"/>
              <a:gd name="connsiteX494" fmla="*/ 1089960 w 6187971"/>
              <a:gd name="connsiteY494" fmla="*/ 4709542 h 5955635"/>
              <a:gd name="connsiteX495" fmla="*/ 1096388 w 6187971"/>
              <a:gd name="connsiteY495" fmla="*/ 4717588 h 5955635"/>
              <a:gd name="connsiteX496" fmla="*/ 1101855 w 6187971"/>
              <a:gd name="connsiteY496" fmla="*/ 4721130 h 5955635"/>
              <a:gd name="connsiteX497" fmla="*/ 1100893 w 6187971"/>
              <a:gd name="connsiteY497" fmla="*/ 4716625 h 5955635"/>
              <a:gd name="connsiteX498" fmla="*/ 1099931 w 6187971"/>
              <a:gd name="connsiteY498" fmla="*/ 4712122 h 5955635"/>
              <a:gd name="connsiteX499" fmla="*/ 1157788 w 6187971"/>
              <a:gd name="connsiteY499" fmla="*/ 4784534 h 5955635"/>
              <a:gd name="connsiteX500" fmla="*/ 1178691 w 6187971"/>
              <a:gd name="connsiteY500" fmla="*/ 4794197 h 5955635"/>
              <a:gd name="connsiteX501" fmla="*/ 1186082 w 6187971"/>
              <a:gd name="connsiteY501" fmla="*/ 4806747 h 5955635"/>
              <a:gd name="connsiteX502" fmla="*/ 1205368 w 6187971"/>
              <a:gd name="connsiteY502" fmla="*/ 4830884 h 5955635"/>
              <a:gd name="connsiteX503" fmla="*/ 1226271 w 6187971"/>
              <a:gd name="connsiteY503" fmla="*/ 4840547 h 5955635"/>
              <a:gd name="connsiteX504" fmla="*/ 1241052 w 6187971"/>
              <a:gd name="connsiteY504" fmla="*/ 4865648 h 5955635"/>
              <a:gd name="connsiteX505" fmla="*/ 1235587 w 6187971"/>
              <a:gd name="connsiteY505" fmla="*/ 4862105 h 5955635"/>
              <a:gd name="connsiteX506" fmla="*/ 1230120 w 6187971"/>
              <a:gd name="connsiteY506" fmla="*/ 4858563 h 5955635"/>
              <a:gd name="connsiteX507" fmla="*/ 1232045 w 6187971"/>
              <a:gd name="connsiteY507" fmla="*/ 4867572 h 5955635"/>
              <a:gd name="connsiteX508" fmla="*/ 1238474 w 6187971"/>
              <a:gd name="connsiteY508" fmla="*/ 4875617 h 5955635"/>
              <a:gd name="connsiteX509" fmla="*/ 1222074 w 6187971"/>
              <a:gd name="connsiteY509" fmla="*/ 4864992 h 5955635"/>
              <a:gd name="connsiteX510" fmla="*/ 1243939 w 6187971"/>
              <a:gd name="connsiteY510" fmla="*/ 4879160 h 5955635"/>
              <a:gd name="connsiteX511" fmla="*/ 1249406 w 6187971"/>
              <a:gd name="connsiteY511" fmla="*/ 4882701 h 5955635"/>
              <a:gd name="connsiteX512" fmla="*/ 1260338 w 6187971"/>
              <a:gd name="connsiteY512" fmla="*/ 4889785 h 5955635"/>
              <a:gd name="connsiteX513" fmla="*/ 1259376 w 6187971"/>
              <a:gd name="connsiteY513" fmla="*/ 4885281 h 5955635"/>
              <a:gd name="connsiteX514" fmla="*/ 1253910 w 6187971"/>
              <a:gd name="connsiteY514" fmla="*/ 4881738 h 5955635"/>
              <a:gd name="connsiteX515" fmla="*/ 1252948 w 6187971"/>
              <a:gd name="connsiteY515" fmla="*/ 4877235 h 5955635"/>
              <a:gd name="connsiteX516" fmla="*/ 1270309 w 6187971"/>
              <a:gd name="connsiteY516" fmla="*/ 4892364 h 5955635"/>
              <a:gd name="connsiteX517" fmla="*/ 1266460 w 6187971"/>
              <a:gd name="connsiteY517" fmla="*/ 4874348 h 5955635"/>
              <a:gd name="connsiteX518" fmla="*/ 1286708 w 6187971"/>
              <a:gd name="connsiteY518" fmla="*/ 4902990 h 5955635"/>
              <a:gd name="connsiteX519" fmla="*/ 1282203 w 6187971"/>
              <a:gd name="connsiteY519" fmla="*/ 4903952 h 5955635"/>
              <a:gd name="connsiteX520" fmla="*/ 1272233 w 6187971"/>
              <a:gd name="connsiteY520" fmla="*/ 4901372 h 5955635"/>
              <a:gd name="connsiteX521" fmla="*/ 1278662 w 6187971"/>
              <a:gd name="connsiteY521" fmla="*/ 4909418 h 5955635"/>
              <a:gd name="connsiteX522" fmla="*/ 1285090 w 6187971"/>
              <a:gd name="connsiteY522" fmla="*/ 4917464 h 5955635"/>
              <a:gd name="connsiteX523" fmla="*/ 1280587 w 6187971"/>
              <a:gd name="connsiteY523" fmla="*/ 4918427 h 5955635"/>
              <a:gd name="connsiteX524" fmla="*/ 1287015 w 6187971"/>
              <a:gd name="connsiteY524" fmla="*/ 4926472 h 5955635"/>
              <a:gd name="connsiteX525" fmla="*/ 1291519 w 6187971"/>
              <a:gd name="connsiteY525" fmla="*/ 4925510 h 5955635"/>
              <a:gd name="connsiteX526" fmla="*/ 1292481 w 6187971"/>
              <a:gd name="connsiteY526" fmla="*/ 4930014 h 5955635"/>
              <a:gd name="connsiteX527" fmla="*/ 1298910 w 6187971"/>
              <a:gd name="connsiteY527" fmla="*/ 4938059 h 5955635"/>
              <a:gd name="connsiteX528" fmla="*/ 1292356 w 6187971"/>
              <a:gd name="connsiteY528" fmla="*/ 4937694 h 5955635"/>
              <a:gd name="connsiteX529" fmla="*/ 1289901 w 6187971"/>
              <a:gd name="connsiteY529" fmla="*/ 4939984 h 5955635"/>
              <a:gd name="connsiteX530" fmla="*/ 1293236 w 6187971"/>
              <a:gd name="connsiteY530" fmla="*/ 4944571 h 5955635"/>
              <a:gd name="connsiteX531" fmla="*/ 1296561 w 6187971"/>
              <a:gd name="connsiteY531" fmla="*/ 4951097 h 5955635"/>
              <a:gd name="connsiteX532" fmla="*/ 1291826 w 6187971"/>
              <a:gd name="connsiteY532" fmla="*/ 4948992 h 5955635"/>
              <a:gd name="connsiteX533" fmla="*/ 1310150 w 6187971"/>
              <a:gd name="connsiteY533" fmla="*/ 4968626 h 5955635"/>
              <a:gd name="connsiteX534" fmla="*/ 1315616 w 6187971"/>
              <a:gd name="connsiteY534" fmla="*/ 4972168 h 5955635"/>
              <a:gd name="connsiteX535" fmla="*/ 1316579 w 6187971"/>
              <a:gd name="connsiteY535" fmla="*/ 4976671 h 5955635"/>
              <a:gd name="connsiteX536" fmla="*/ 1321083 w 6187971"/>
              <a:gd name="connsiteY536" fmla="*/ 4975709 h 5955635"/>
              <a:gd name="connsiteX537" fmla="*/ 1315616 w 6187971"/>
              <a:gd name="connsiteY537" fmla="*/ 4972168 h 5955635"/>
              <a:gd name="connsiteX538" fmla="*/ 1302760 w 6187971"/>
              <a:gd name="connsiteY538" fmla="*/ 4956076 h 5955635"/>
              <a:gd name="connsiteX539" fmla="*/ 1308226 w 6187971"/>
              <a:gd name="connsiteY539" fmla="*/ 4959618 h 5955635"/>
              <a:gd name="connsiteX540" fmla="*/ 1317234 w 6187971"/>
              <a:gd name="connsiteY540" fmla="*/ 4957694 h 5955635"/>
              <a:gd name="connsiteX541" fmla="*/ 1310805 w 6187971"/>
              <a:gd name="connsiteY541" fmla="*/ 4949647 h 5955635"/>
              <a:gd name="connsiteX542" fmla="*/ 1305339 w 6187971"/>
              <a:gd name="connsiteY542" fmla="*/ 4946105 h 5955635"/>
              <a:gd name="connsiteX543" fmla="*/ 1296986 w 6187971"/>
              <a:gd name="connsiteY543" fmla="*/ 4929052 h 5955635"/>
              <a:gd name="connsiteX544" fmla="*/ 1302452 w 6187971"/>
              <a:gd name="connsiteY544" fmla="*/ 4932593 h 5955635"/>
              <a:gd name="connsiteX545" fmla="*/ 1301490 w 6187971"/>
              <a:gd name="connsiteY545" fmla="*/ 4928089 h 5955635"/>
              <a:gd name="connsiteX546" fmla="*/ 1300528 w 6187971"/>
              <a:gd name="connsiteY546" fmla="*/ 4923585 h 5955635"/>
              <a:gd name="connsiteX547" fmla="*/ 1295061 w 6187971"/>
              <a:gd name="connsiteY547" fmla="*/ 4920043 h 5955635"/>
              <a:gd name="connsiteX548" fmla="*/ 1293137 w 6187971"/>
              <a:gd name="connsiteY548" fmla="*/ 4911035 h 5955635"/>
              <a:gd name="connsiteX549" fmla="*/ 1322392 w 6187971"/>
              <a:gd name="connsiteY549" fmla="*/ 4937753 h 5955635"/>
              <a:gd name="connsiteX550" fmla="*/ 1317889 w 6187971"/>
              <a:gd name="connsiteY550" fmla="*/ 4938715 h 5955635"/>
              <a:gd name="connsiteX551" fmla="*/ 1318851 w 6187971"/>
              <a:gd name="connsiteY551" fmla="*/ 4943218 h 5955635"/>
              <a:gd name="connsiteX552" fmla="*/ 1323354 w 6187971"/>
              <a:gd name="connsiteY552" fmla="*/ 4942256 h 5955635"/>
              <a:gd name="connsiteX553" fmla="*/ 1324317 w 6187971"/>
              <a:gd name="connsiteY553" fmla="*/ 4946760 h 5955635"/>
              <a:gd name="connsiteX554" fmla="*/ 1328821 w 6187971"/>
              <a:gd name="connsiteY554" fmla="*/ 4945798 h 5955635"/>
              <a:gd name="connsiteX555" fmla="*/ 1342641 w 6187971"/>
              <a:gd name="connsiteY555" fmla="*/ 4966394 h 5955635"/>
              <a:gd name="connsiteX556" fmla="*/ 1343603 w 6187971"/>
              <a:gd name="connsiteY556" fmla="*/ 4970897 h 5955635"/>
              <a:gd name="connsiteX557" fmla="*/ 1349069 w 6187971"/>
              <a:gd name="connsiteY557" fmla="*/ 4974440 h 5955635"/>
              <a:gd name="connsiteX558" fmla="*/ 1348107 w 6187971"/>
              <a:gd name="connsiteY558" fmla="*/ 4969935 h 5955635"/>
              <a:gd name="connsiteX559" fmla="*/ 1370935 w 6187971"/>
              <a:gd name="connsiteY559" fmla="*/ 4988607 h 5955635"/>
              <a:gd name="connsiteX560" fmla="*/ 1377363 w 6187971"/>
              <a:gd name="connsiteY560" fmla="*/ 4996652 h 5955635"/>
              <a:gd name="connsiteX561" fmla="*/ 1376401 w 6187971"/>
              <a:gd name="connsiteY561" fmla="*/ 4992149 h 5955635"/>
              <a:gd name="connsiteX562" fmla="*/ 1397304 w 6187971"/>
              <a:gd name="connsiteY562" fmla="*/ 5001812 h 5955635"/>
              <a:gd name="connsiteX563" fmla="*/ 1457741 w 6187971"/>
              <a:gd name="connsiteY563" fmla="*/ 5064254 h 5955635"/>
              <a:gd name="connsiteX564" fmla="*/ 1462246 w 6187971"/>
              <a:gd name="connsiteY564" fmla="*/ 5063292 h 5955635"/>
              <a:gd name="connsiteX565" fmla="*/ 1467712 w 6187971"/>
              <a:gd name="connsiteY565" fmla="*/ 5066833 h 5955635"/>
              <a:gd name="connsiteX566" fmla="*/ 1498892 w 6187971"/>
              <a:gd name="connsiteY566" fmla="*/ 5102559 h 5955635"/>
              <a:gd name="connsiteX567" fmla="*/ 1507901 w 6187971"/>
              <a:gd name="connsiteY567" fmla="*/ 5100634 h 5955635"/>
              <a:gd name="connsiteX568" fmla="*/ 1509826 w 6187971"/>
              <a:gd name="connsiteY568" fmla="*/ 5109642 h 5955635"/>
              <a:gd name="connsiteX569" fmla="*/ 1525262 w 6187971"/>
              <a:gd name="connsiteY569" fmla="*/ 5115763 h 5955635"/>
              <a:gd name="connsiteX570" fmla="*/ 1520758 w 6187971"/>
              <a:gd name="connsiteY570" fmla="*/ 5116725 h 5955635"/>
              <a:gd name="connsiteX571" fmla="*/ 1527187 w 6187971"/>
              <a:gd name="connsiteY571" fmla="*/ 5124771 h 5955635"/>
              <a:gd name="connsiteX572" fmla="*/ 1531691 w 6187971"/>
              <a:gd name="connsiteY572" fmla="*/ 5123809 h 5955635"/>
              <a:gd name="connsiteX573" fmla="*/ 1565451 w 6187971"/>
              <a:gd name="connsiteY573" fmla="*/ 5149564 h 5955635"/>
              <a:gd name="connsiteX574" fmla="*/ 1558060 w 6187971"/>
              <a:gd name="connsiteY574" fmla="*/ 5137014 h 5955635"/>
              <a:gd name="connsiteX575" fmla="*/ 1537157 w 6187971"/>
              <a:gd name="connsiteY575" fmla="*/ 5127351 h 5955635"/>
              <a:gd name="connsiteX576" fmla="*/ 1542623 w 6187971"/>
              <a:gd name="connsiteY576" fmla="*/ 5130892 h 5955635"/>
              <a:gd name="connsiteX577" fmla="*/ 1548090 w 6187971"/>
              <a:gd name="connsiteY577" fmla="*/ 5134434 h 5955635"/>
              <a:gd name="connsiteX578" fmla="*/ 1546166 w 6187971"/>
              <a:gd name="connsiteY578" fmla="*/ 5125426 h 5955635"/>
              <a:gd name="connsiteX579" fmla="*/ 1551631 w 6187971"/>
              <a:gd name="connsiteY579" fmla="*/ 5128968 h 5955635"/>
              <a:gd name="connsiteX580" fmla="*/ 1550669 w 6187971"/>
              <a:gd name="connsiteY580" fmla="*/ 5124464 h 5955635"/>
              <a:gd name="connsiteX581" fmla="*/ 1545203 w 6187971"/>
              <a:gd name="connsiteY581" fmla="*/ 5120922 h 5955635"/>
              <a:gd name="connsiteX582" fmla="*/ 1539737 w 6187971"/>
              <a:gd name="connsiteY582" fmla="*/ 5117380 h 5955635"/>
              <a:gd name="connsiteX583" fmla="*/ 1554211 w 6187971"/>
              <a:gd name="connsiteY583" fmla="*/ 5118998 h 5955635"/>
              <a:gd name="connsiteX584" fmla="*/ 1555173 w 6187971"/>
              <a:gd name="connsiteY584" fmla="*/ 5123502 h 5955635"/>
              <a:gd name="connsiteX585" fmla="*/ 1556135 w 6187971"/>
              <a:gd name="connsiteY585" fmla="*/ 5128005 h 5955635"/>
              <a:gd name="connsiteX586" fmla="*/ 1571572 w 6187971"/>
              <a:gd name="connsiteY586" fmla="*/ 5134127 h 5955635"/>
              <a:gd name="connsiteX587" fmla="*/ 1570610 w 6187971"/>
              <a:gd name="connsiteY587" fmla="*/ 5129623 h 5955635"/>
              <a:gd name="connsiteX588" fmla="*/ 1569648 w 6187971"/>
              <a:gd name="connsiteY588" fmla="*/ 5125119 h 5955635"/>
              <a:gd name="connsiteX589" fmla="*/ 1587010 w 6187971"/>
              <a:gd name="connsiteY589" fmla="*/ 5140248 h 5955635"/>
              <a:gd name="connsiteX590" fmla="*/ 1587972 w 6187971"/>
              <a:gd name="connsiteY590" fmla="*/ 5144752 h 5955635"/>
              <a:gd name="connsiteX591" fmla="*/ 1593438 w 6187971"/>
              <a:gd name="connsiteY591" fmla="*/ 5148294 h 5955635"/>
              <a:gd name="connsiteX592" fmla="*/ 1598904 w 6187971"/>
              <a:gd name="connsiteY592" fmla="*/ 5151836 h 5955635"/>
              <a:gd name="connsiteX593" fmla="*/ 1610799 w 6187971"/>
              <a:gd name="connsiteY593" fmla="*/ 5163423 h 5955635"/>
              <a:gd name="connsiteX594" fmla="*/ 1638786 w 6187971"/>
              <a:gd name="connsiteY594" fmla="*/ 5162154 h 5955635"/>
              <a:gd name="connsiteX595" fmla="*/ 1628575 w 6187971"/>
              <a:gd name="connsiteY595" fmla="*/ 5158449 h 5955635"/>
              <a:gd name="connsiteX596" fmla="*/ 1621158 w 6187971"/>
              <a:gd name="connsiteY596" fmla="*/ 5151791 h 5955635"/>
              <a:gd name="connsiteX597" fmla="*/ 1626891 w 6187971"/>
              <a:gd name="connsiteY597" fmla="*/ 5150566 h 5955635"/>
              <a:gd name="connsiteX598" fmla="*/ 1698916 w 6187971"/>
              <a:gd name="connsiteY598" fmla="*/ 5201113 h 5955635"/>
              <a:gd name="connsiteX599" fmla="*/ 1704383 w 6187971"/>
              <a:gd name="connsiteY599" fmla="*/ 5204655 h 5955635"/>
              <a:gd name="connsiteX600" fmla="*/ 1695374 w 6187971"/>
              <a:gd name="connsiteY600" fmla="*/ 5206579 h 5955635"/>
              <a:gd name="connsiteX601" fmla="*/ 1713697 w 6187971"/>
              <a:gd name="connsiteY601" fmla="*/ 5226213 h 5955635"/>
              <a:gd name="connsiteX602" fmla="*/ 1734601 w 6187971"/>
              <a:gd name="connsiteY602" fmla="*/ 5235876 h 5955635"/>
              <a:gd name="connsiteX603" fmla="*/ 1739105 w 6187971"/>
              <a:gd name="connsiteY603" fmla="*/ 5234914 h 5955635"/>
              <a:gd name="connsiteX604" fmla="*/ 1743608 w 6187971"/>
              <a:gd name="connsiteY604" fmla="*/ 5233952 h 5955635"/>
              <a:gd name="connsiteX605" fmla="*/ 1765474 w 6187971"/>
              <a:gd name="connsiteY605" fmla="*/ 5248118 h 5955635"/>
              <a:gd name="connsiteX606" fmla="*/ 1774483 w 6187971"/>
              <a:gd name="connsiteY606" fmla="*/ 5246193 h 5955635"/>
              <a:gd name="connsiteX607" fmla="*/ 1840078 w 6187971"/>
              <a:gd name="connsiteY607" fmla="*/ 5288696 h 5955635"/>
              <a:gd name="connsiteX608" fmla="*/ 1860019 w 6187971"/>
              <a:gd name="connsiteY608" fmla="*/ 5293854 h 5955635"/>
              <a:gd name="connsiteX609" fmla="*/ 1872877 w 6187971"/>
              <a:gd name="connsiteY609" fmla="*/ 5309946 h 5955635"/>
              <a:gd name="connsiteX610" fmla="*/ 2056500 w 6187971"/>
              <a:gd name="connsiteY610" fmla="*/ 5397876 h 5955635"/>
              <a:gd name="connsiteX611" fmla="*/ 2135609 w 6187971"/>
              <a:gd name="connsiteY611" fmla="*/ 5437490 h 5955635"/>
              <a:gd name="connsiteX612" fmla="*/ 2180957 w 6187971"/>
              <a:gd name="connsiteY612" fmla="*/ 5451349 h 5955635"/>
              <a:gd name="connsiteX613" fmla="*/ 2187385 w 6187971"/>
              <a:gd name="connsiteY613" fmla="*/ 5459396 h 5955635"/>
              <a:gd name="connsiteX614" fmla="*/ 2228229 w 6187971"/>
              <a:gd name="connsiteY614" fmla="*/ 5474217 h 5955635"/>
              <a:gd name="connsiteX615" fmla="*/ 2305413 w 6187971"/>
              <a:gd name="connsiteY615" fmla="*/ 5504824 h 5955635"/>
              <a:gd name="connsiteX616" fmla="*/ 2473293 w 6187971"/>
              <a:gd name="connsiteY616" fmla="*/ 5563150 h 5955635"/>
              <a:gd name="connsiteX617" fmla="*/ 2572035 w 6187971"/>
              <a:gd name="connsiteY617" fmla="*/ 5584441 h 5955635"/>
              <a:gd name="connsiteX618" fmla="*/ 2679785 w 6187971"/>
              <a:gd name="connsiteY618" fmla="*/ 5603808 h 5955635"/>
              <a:gd name="connsiteX619" fmla="*/ 2856366 w 6187971"/>
              <a:gd name="connsiteY619" fmla="*/ 5636726 h 5955635"/>
              <a:gd name="connsiteX620" fmla="*/ 2989216 w 6187971"/>
              <a:gd name="connsiteY620" fmla="*/ 5641311 h 5955635"/>
              <a:gd name="connsiteX621" fmla="*/ 3079605 w 6187971"/>
              <a:gd name="connsiteY621" fmla="*/ 5645548 h 5955635"/>
              <a:gd name="connsiteX622" fmla="*/ 3189935 w 6187971"/>
              <a:gd name="connsiteY622" fmla="*/ 5654944 h 5955635"/>
              <a:gd name="connsiteX623" fmla="*/ 3300264 w 6187971"/>
              <a:gd name="connsiteY623" fmla="*/ 5664340 h 5955635"/>
              <a:gd name="connsiteX624" fmla="*/ 3342726 w 6187971"/>
              <a:gd name="connsiteY624" fmla="*/ 5664687 h 5955635"/>
              <a:gd name="connsiteX625" fmla="*/ 3412212 w 6187971"/>
              <a:gd name="connsiteY625" fmla="*/ 5659262 h 5955635"/>
              <a:gd name="connsiteX626" fmla="*/ 3430228 w 6187971"/>
              <a:gd name="connsiteY626" fmla="*/ 5655412 h 5955635"/>
              <a:gd name="connsiteX627" fmla="*/ 3505179 w 6187971"/>
              <a:gd name="connsiteY627" fmla="*/ 5653528 h 5955635"/>
              <a:gd name="connsiteX628" fmla="*/ 3509684 w 6187971"/>
              <a:gd name="connsiteY628" fmla="*/ 5652566 h 5955635"/>
              <a:gd name="connsiteX629" fmla="*/ 3510646 w 6187971"/>
              <a:gd name="connsiteY629" fmla="*/ 5657069 h 5955635"/>
              <a:gd name="connsiteX630" fmla="*/ 3519654 w 6187971"/>
              <a:gd name="connsiteY630" fmla="*/ 5655145 h 5955635"/>
              <a:gd name="connsiteX631" fmla="*/ 3518691 w 6187971"/>
              <a:gd name="connsiteY631" fmla="*/ 5650641 h 5955635"/>
              <a:gd name="connsiteX632" fmla="*/ 3514188 w 6187971"/>
              <a:gd name="connsiteY632" fmla="*/ 5651604 h 5955635"/>
              <a:gd name="connsiteX633" fmla="*/ 3535746 w 6187971"/>
              <a:gd name="connsiteY633" fmla="*/ 5642288 h 5955635"/>
              <a:gd name="connsiteX634" fmla="*/ 3771882 w 6187971"/>
              <a:gd name="connsiteY634" fmla="*/ 5601257 h 5955635"/>
              <a:gd name="connsiteX635" fmla="*/ 3861001 w 6187971"/>
              <a:gd name="connsiteY635" fmla="*/ 5577509 h 5955635"/>
              <a:gd name="connsiteX636" fmla="*/ 4010291 w 6187971"/>
              <a:gd name="connsiteY636" fmla="*/ 5526775 h 5955635"/>
              <a:gd name="connsiteX637" fmla="*/ 4162160 w 6187971"/>
              <a:gd name="connsiteY637" fmla="*/ 5466071 h 5955635"/>
              <a:gd name="connsiteX638" fmla="*/ 4252897 w 6187971"/>
              <a:gd name="connsiteY638" fmla="*/ 5427847 h 5955635"/>
              <a:gd name="connsiteX639" fmla="*/ 4283464 w 6187971"/>
              <a:gd name="connsiteY639" fmla="*/ 5416606 h 5955635"/>
              <a:gd name="connsiteX640" fmla="*/ 4342672 w 6187971"/>
              <a:gd name="connsiteY640" fmla="*/ 5385119 h 5955635"/>
              <a:gd name="connsiteX641" fmla="*/ 4343634 w 6187971"/>
              <a:gd name="connsiteY641" fmla="*/ 5389623 h 5955635"/>
              <a:gd name="connsiteX642" fmla="*/ 4348138 w 6187971"/>
              <a:gd name="connsiteY642" fmla="*/ 5388660 h 5955635"/>
              <a:gd name="connsiteX643" fmla="*/ 4357146 w 6187971"/>
              <a:gd name="connsiteY643" fmla="*/ 5386736 h 5955635"/>
              <a:gd name="connsiteX644" fmla="*/ 4360688 w 6187971"/>
              <a:gd name="connsiteY644" fmla="*/ 5381270 h 5955635"/>
              <a:gd name="connsiteX645" fmla="*/ 4370658 w 6187971"/>
              <a:gd name="connsiteY645" fmla="*/ 5383849 h 5955635"/>
              <a:gd name="connsiteX646" fmla="*/ 4368733 w 6187971"/>
              <a:gd name="connsiteY646" fmla="*/ 5374841 h 5955635"/>
              <a:gd name="connsiteX647" fmla="*/ 4373238 w 6187971"/>
              <a:gd name="connsiteY647" fmla="*/ 5373879 h 5955635"/>
              <a:gd name="connsiteX648" fmla="*/ 4381283 w 6187971"/>
              <a:gd name="connsiteY648" fmla="*/ 5367450 h 5955635"/>
              <a:gd name="connsiteX649" fmla="*/ 4371313 w 6187971"/>
              <a:gd name="connsiteY649" fmla="*/ 5364871 h 5955635"/>
              <a:gd name="connsiteX650" fmla="*/ 4372275 w 6187971"/>
              <a:gd name="connsiteY650" fmla="*/ 5369375 h 5955635"/>
              <a:gd name="connsiteX651" fmla="*/ 4366809 w 6187971"/>
              <a:gd name="connsiteY651" fmla="*/ 5365834 h 5955635"/>
              <a:gd name="connsiteX652" fmla="*/ 4471713 w 6187971"/>
              <a:gd name="connsiteY652" fmla="*/ 5305744 h 5955635"/>
              <a:gd name="connsiteX653" fmla="*/ 4629396 w 6187971"/>
              <a:gd name="connsiteY653" fmla="*/ 5206120 h 5955635"/>
              <a:gd name="connsiteX654" fmla="*/ 4630359 w 6187971"/>
              <a:gd name="connsiteY654" fmla="*/ 5210625 h 5955635"/>
              <a:gd name="connsiteX655" fmla="*/ 4625854 w 6187971"/>
              <a:gd name="connsiteY655" fmla="*/ 5211587 h 5955635"/>
              <a:gd name="connsiteX656" fmla="*/ 4623274 w 6187971"/>
              <a:gd name="connsiteY656" fmla="*/ 5221557 h 5955635"/>
              <a:gd name="connsiteX657" fmla="*/ 4631321 w 6187971"/>
              <a:gd name="connsiteY657" fmla="*/ 5215129 h 5955635"/>
              <a:gd name="connsiteX658" fmla="*/ 4639366 w 6187971"/>
              <a:gd name="connsiteY658" fmla="*/ 5208700 h 5955635"/>
              <a:gd name="connsiteX659" fmla="*/ 4653841 w 6187971"/>
              <a:gd name="connsiteY659" fmla="*/ 5210318 h 5955635"/>
              <a:gd name="connsiteX660" fmla="*/ 4651512 w 6187971"/>
              <a:gd name="connsiteY660" fmla="*/ 5204927 h 5955635"/>
              <a:gd name="connsiteX661" fmla="*/ 4648965 w 6187971"/>
              <a:gd name="connsiteY661" fmla="*/ 5205864 h 5955635"/>
              <a:gd name="connsiteX662" fmla="*/ 4655458 w 6187971"/>
              <a:gd name="connsiteY662" fmla="*/ 5195843 h 5955635"/>
              <a:gd name="connsiteX663" fmla="*/ 4641946 w 6187971"/>
              <a:gd name="connsiteY663" fmla="*/ 5198730 h 5955635"/>
              <a:gd name="connsiteX664" fmla="*/ 4680251 w 6187971"/>
              <a:gd name="connsiteY664" fmla="*/ 5157579 h 5955635"/>
              <a:gd name="connsiteX665" fmla="*/ 4685717 w 6187971"/>
              <a:gd name="connsiteY665" fmla="*/ 5161120 h 5955635"/>
              <a:gd name="connsiteX666" fmla="*/ 4736572 w 6187971"/>
              <a:gd name="connsiteY666" fmla="*/ 5112579 h 5955635"/>
              <a:gd name="connsiteX667" fmla="*/ 4733031 w 6187971"/>
              <a:gd name="connsiteY667" fmla="*/ 5118045 h 5955635"/>
              <a:gd name="connsiteX668" fmla="*/ 4793855 w 6187971"/>
              <a:gd name="connsiteY668" fmla="*/ 5072083 h 5955635"/>
              <a:gd name="connsiteX669" fmla="*/ 4797397 w 6187971"/>
              <a:gd name="connsiteY669" fmla="*/ 5066616 h 5955635"/>
              <a:gd name="connsiteX670" fmla="*/ 4779381 w 6187971"/>
              <a:gd name="connsiteY670" fmla="*/ 5070465 h 5955635"/>
              <a:gd name="connsiteX671" fmla="*/ 4818648 w 6187971"/>
              <a:gd name="connsiteY671" fmla="*/ 5033818 h 5955635"/>
              <a:gd name="connsiteX672" fmla="*/ 4828619 w 6187971"/>
              <a:gd name="connsiteY672" fmla="*/ 5036398 h 5955635"/>
              <a:gd name="connsiteX673" fmla="*/ 4834740 w 6187971"/>
              <a:gd name="connsiteY673" fmla="*/ 5020962 h 5955635"/>
              <a:gd name="connsiteX674" fmla="*/ 4838282 w 6187971"/>
              <a:gd name="connsiteY674" fmla="*/ 5015495 h 5955635"/>
              <a:gd name="connsiteX675" fmla="*/ 4845366 w 6187971"/>
              <a:gd name="connsiteY675" fmla="*/ 5004562 h 5955635"/>
              <a:gd name="connsiteX676" fmla="*/ 4836357 w 6187971"/>
              <a:gd name="connsiteY676" fmla="*/ 5006486 h 5955635"/>
              <a:gd name="connsiteX677" fmla="*/ 4831853 w 6187971"/>
              <a:gd name="connsiteY677" fmla="*/ 5007449 h 5955635"/>
              <a:gd name="connsiteX678" fmla="*/ 4916509 w 6187971"/>
              <a:gd name="connsiteY678" fmla="*/ 4918718 h 5955635"/>
              <a:gd name="connsiteX679" fmla="*/ 4950617 w 6187971"/>
              <a:gd name="connsiteY679" fmla="*/ 4902012 h 5955635"/>
              <a:gd name="connsiteX680" fmla="*/ 4951579 w 6187971"/>
              <a:gd name="connsiteY680" fmla="*/ 4906516 h 5955635"/>
              <a:gd name="connsiteX681" fmla="*/ 4956084 w 6187971"/>
              <a:gd name="connsiteY681" fmla="*/ 4905553 h 5955635"/>
              <a:gd name="connsiteX682" fmla="*/ 4963167 w 6187971"/>
              <a:gd name="connsiteY682" fmla="*/ 4894621 h 5955635"/>
              <a:gd name="connsiteX683" fmla="*/ 4966709 w 6187971"/>
              <a:gd name="connsiteY683" fmla="*/ 4889154 h 5955635"/>
              <a:gd name="connsiteX684" fmla="*/ 4968326 w 6187971"/>
              <a:gd name="connsiteY684" fmla="*/ 4874680 h 5955635"/>
              <a:gd name="connsiteX685" fmla="*/ 4983456 w 6187971"/>
              <a:gd name="connsiteY685" fmla="*/ 4857319 h 5955635"/>
              <a:gd name="connsiteX686" fmla="*/ 4959318 w 6187971"/>
              <a:gd name="connsiteY686" fmla="*/ 4876605 h 5955635"/>
              <a:gd name="connsiteX687" fmla="*/ 4961242 w 6187971"/>
              <a:gd name="connsiteY687" fmla="*/ 4885613 h 5955635"/>
              <a:gd name="connsiteX688" fmla="*/ 4957701 w 6187971"/>
              <a:gd name="connsiteY688" fmla="*/ 4891079 h 5955635"/>
              <a:gd name="connsiteX689" fmla="*/ 4953197 w 6187971"/>
              <a:gd name="connsiteY689" fmla="*/ 4892041 h 5955635"/>
              <a:gd name="connsiteX690" fmla="*/ 4950617 w 6187971"/>
              <a:gd name="connsiteY690" fmla="*/ 4902012 h 5955635"/>
              <a:gd name="connsiteX691" fmla="*/ 4875317 w 6187971"/>
              <a:gd name="connsiteY691" fmla="*/ 4946357 h 5955635"/>
              <a:gd name="connsiteX692" fmla="*/ 4866310 w 6187971"/>
              <a:gd name="connsiteY692" fmla="*/ 4948282 h 5955635"/>
              <a:gd name="connsiteX693" fmla="*/ 4865347 w 6187971"/>
              <a:gd name="connsiteY693" fmla="*/ 4943777 h 5955635"/>
              <a:gd name="connsiteX694" fmla="*/ 4861805 w 6187971"/>
              <a:gd name="connsiteY694" fmla="*/ 4949244 h 5955635"/>
              <a:gd name="connsiteX695" fmla="*/ 4857301 w 6187971"/>
              <a:gd name="connsiteY695" fmla="*/ 4950206 h 5955635"/>
              <a:gd name="connsiteX696" fmla="*/ 4886477 w 6187971"/>
              <a:gd name="connsiteY696" fmla="*/ 4910416 h 5955635"/>
              <a:gd name="connsiteX697" fmla="*/ 4927253 w 6187971"/>
              <a:gd name="connsiteY697" fmla="*/ 4880833 h 5955635"/>
              <a:gd name="connsiteX698" fmla="*/ 4927789 w 6187971"/>
              <a:gd name="connsiteY698" fmla="*/ 4883341 h 5955635"/>
              <a:gd name="connsiteX699" fmla="*/ 4931331 w 6187971"/>
              <a:gd name="connsiteY699" fmla="*/ 4877874 h 5955635"/>
              <a:gd name="connsiteX700" fmla="*/ 4947423 w 6187971"/>
              <a:gd name="connsiteY700" fmla="*/ 4865017 h 5955635"/>
              <a:gd name="connsiteX701" fmla="*/ 4943881 w 6187971"/>
              <a:gd name="connsiteY701" fmla="*/ 4870484 h 5955635"/>
              <a:gd name="connsiteX702" fmla="*/ 4948386 w 6187971"/>
              <a:gd name="connsiteY702" fmla="*/ 4869521 h 5955635"/>
              <a:gd name="connsiteX703" fmla="*/ 4951928 w 6187971"/>
              <a:gd name="connsiteY703" fmla="*/ 4864055 h 5955635"/>
              <a:gd name="connsiteX704" fmla="*/ 5016294 w 6187971"/>
              <a:gd name="connsiteY704" fmla="*/ 4812627 h 5955635"/>
              <a:gd name="connsiteX705" fmla="*/ 5026265 w 6187971"/>
              <a:gd name="connsiteY705" fmla="*/ 4815205 h 5955635"/>
              <a:gd name="connsiteX706" fmla="*/ 5008556 w 6187971"/>
              <a:gd name="connsiteY706" fmla="*/ 4842537 h 5955635"/>
              <a:gd name="connsiteX707" fmla="*/ 5081624 w 6187971"/>
              <a:gd name="connsiteY707" fmla="*/ 4765702 h 5955635"/>
              <a:gd name="connsiteX708" fmla="*/ 5090632 w 6187971"/>
              <a:gd name="connsiteY708" fmla="*/ 4763777 h 5955635"/>
              <a:gd name="connsiteX709" fmla="*/ 5093211 w 6187971"/>
              <a:gd name="connsiteY709" fmla="*/ 4753806 h 5955635"/>
              <a:gd name="connsiteX710" fmla="*/ 5109959 w 6187971"/>
              <a:gd name="connsiteY710" fmla="*/ 4721971 h 5955635"/>
              <a:gd name="connsiteX711" fmla="*/ 5116387 w 6187971"/>
              <a:gd name="connsiteY711" fmla="*/ 4730017 h 5955635"/>
              <a:gd name="connsiteX712" fmla="*/ 5122508 w 6187971"/>
              <a:gd name="connsiteY712" fmla="*/ 4714579 h 5955635"/>
              <a:gd name="connsiteX713" fmla="*/ 5126050 w 6187971"/>
              <a:gd name="connsiteY713" fmla="*/ 4709114 h 5955635"/>
              <a:gd name="connsiteX714" fmla="*/ 5130554 w 6187971"/>
              <a:gd name="connsiteY714" fmla="*/ 4708152 h 5955635"/>
              <a:gd name="connsiteX715" fmla="*/ 5129592 w 6187971"/>
              <a:gd name="connsiteY715" fmla="*/ 4703647 h 5955635"/>
              <a:gd name="connsiteX716" fmla="*/ 5126050 w 6187971"/>
              <a:gd name="connsiteY716" fmla="*/ 4709114 h 5955635"/>
              <a:gd name="connsiteX717" fmla="*/ 5121546 w 6187971"/>
              <a:gd name="connsiteY717" fmla="*/ 4710076 h 5955635"/>
              <a:gd name="connsiteX718" fmla="*/ 5136676 w 6187971"/>
              <a:gd name="connsiteY718" fmla="*/ 4692715 h 5955635"/>
              <a:gd name="connsiteX719" fmla="*/ 5137638 w 6187971"/>
              <a:gd name="connsiteY719" fmla="*/ 4697218 h 5955635"/>
              <a:gd name="connsiteX720" fmla="*/ 5217830 w 6187971"/>
              <a:gd name="connsiteY720" fmla="*/ 4543506 h 5955635"/>
              <a:gd name="connsiteX721" fmla="*/ 5282585 w 6187971"/>
              <a:gd name="connsiteY721" fmla="*/ 4383674 h 5955635"/>
              <a:gd name="connsiteX722" fmla="*/ 5294480 w 6187971"/>
              <a:gd name="connsiteY722" fmla="*/ 4395261 h 5955635"/>
              <a:gd name="connsiteX723" fmla="*/ 5327359 w 6187971"/>
              <a:gd name="connsiteY723" fmla="*/ 4284625 h 5955635"/>
              <a:gd name="connsiteX724" fmla="*/ 5363780 w 6187971"/>
              <a:gd name="connsiteY724" fmla="*/ 4168522 h 5955635"/>
              <a:gd name="connsiteX725" fmla="*/ 5364742 w 6187971"/>
              <a:gd name="connsiteY725" fmla="*/ 4173025 h 5955635"/>
              <a:gd name="connsiteX726" fmla="*/ 5372788 w 6187971"/>
              <a:gd name="connsiteY726" fmla="*/ 4166598 h 5955635"/>
              <a:gd name="connsiteX727" fmla="*/ 5377292 w 6187971"/>
              <a:gd name="connsiteY727" fmla="*/ 4165635 h 5955635"/>
              <a:gd name="connsiteX728" fmla="*/ 5381488 w 6187971"/>
              <a:gd name="connsiteY728" fmla="*/ 4141190 h 5955635"/>
              <a:gd name="connsiteX729" fmla="*/ 5388573 w 6187971"/>
              <a:gd name="connsiteY729" fmla="*/ 4130258 h 5955635"/>
              <a:gd name="connsiteX730" fmla="*/ 5387610 w 6187971"/>
              <a:gd name="connsiteY730" fmla="*/ 4125753 h 5955635"/>
              <a:gd name="connsiteX731" fmla="*/ 5383106 w 6187971"/>
              <a:gd name="connsiteY731" fmla="*/ 4126716 h 5955635"/>
              <a:gd name="connsiteX732" fmla="*/ 5406629 w 6187971"/>
              <a:gd name="connsiteY732" fmla="*/ 4060465 h 5955635"/>
              <a:gd name="connsiteX733" fmla="*/ 5403743 w 6187971"/>
              <a:gd name="connsiteY733" fmla="*/ 4046953 h 5955635"/>
              <a:gd name="connsiteX734" fmla="*/ 5388613 w 6187971"/>
              <a:gd name="connsiteY734" fmla="*/ 4064314 h 5955635"/>
              <a:gd name="connsiteX735" fmla="*/ 5395042 w 6187971"/>
              <a:gd name="connsiteY735" fmla="*/ 4072359 h 5955635"/>
              <a:gd name="connsiteX736" fmla="*/ 5373790 w 6187971"/>
              <a:gd name="connsiteY736" fmla="*/ 4105158 h 5955635"/>
              <a:gd name="connsiteX737" fmla="*/ 5379912 w 6187971"/>
              <a:gd name="connsiteY737" fmla="*/ 4089721 h 5955635"/>
              <a:gd name="connsiteX738" fmla="*/ 5334176 w 6187971"/>
              <a:gd name="connsiteY738" fmla="*/ 4184266 h 5955635"/>
              <a:gd name="connsiteX739" fmla="*/ 5290365 w 6187971"/>
              <a:gd name="connsiteY739" fmla="*/ 4287819 h 5955635"/>
              <a:gd name="connsiteX740" fmla="*/ 5281356 w 6187971"/>
              <a:gd name="connsiteY740" fmla="*/ 4289743 h 5955635"/>
              <a:gd name="connsiteX741" fmla="*/ 5229191 w 6187971"/>
              <a:gd name="connsiteY741" fmla="*/ 4376242 h 5955635"/>
              <a:gd name="connsiteX742" fmla="*/ 5207940 w 6187971"/>
              <a:gd name="connsiteY742" fmla="*/ 4409040 h 5955635"/>
              <a:gd name="connsiteX743" fmla="*/ 5201818 w 6187971"/>
              <a:gd name="connsiteY743" fmla="*/ 4424477 h 5955635"/>
              <a:gd name="connsiteX744" fmla="*/ 5183148 w 6187971"/>
              <a:gd name="connsiteY744" fmla="*/ 4447304 h 5955635"/>
              <a:gd name="connsiteX745" fmla="*/ 5152233 w 6187971"/>
              <a:gd name="connsiteY745" fmla="*/ 4501005 h 5955635"/>
              <a:gd name="connsiteX746" fmla="*/ 5120357 w 6187971"/>
              <a:gd name="connsiteY746" fmla="*/ 4550202 h 5955635"/>
              <a:gd name="connsiteX747" fmla="*/ 5021841 w 6187971"/>
              <a:gd name="connsiteY747" fmla="*/ 4684281 h 5955635"/>
              <a:gd name="connsiteX748" fmla="*/ 4992545 w 6187971"/>
              <a:gd name="connsiteY748" fmla="*/ 4723508 h 5955635"/>
              <a:gd name="connsiteX749" fmla="*/ 4987079 w 6187971"/>
              <a:gd name="connsiteY749" fmla="*/ 4719966 h 5955635"/>
              <a:gd name="connsiteX750" fmla="*/ 4875706 w 6187971"/>
              <a:gd name="connsiteY750" fmla="*/ 4837953 h 5955635"/>
              <a:gd name="connsiteX751" fmla="*/ 4848989 w 6187971"/>
              <a:gd name="connsiteY751" fmla="*/ 4867208 h 5955635"/>
              <a:gd name="connsiteX752" fmla="*/ 4806180 w 6187971"/>
              <a:gd name="connsiteY752" fmla="*/ 4909322 h 5955635"/>
              <a:gd name="connsiteX753" fmla="*/ 4646224 w 6187971"/>
              <a:gd name="connsiteY753" fmla="*/ 5042398 h 5955635"/>
              <a:gd name="connsiteX754" fmla="*/ 4598911 w 6187971"/>
              <a:gd name="connsiteY754" fmla="*/ 5085474 h 5955635"/>
              <a:gd name="connsiteX755" fmla="*/ 4589903 w 6187971"/>
              <a:gd name="connsiteY755" fmla="*/ 5087399 h 5955635"/>
              <a:gd name="connsiteX756" fmla="*/ 4552253 w 6187971"/>
              <a:gd name="connsiteY756" fmla="*/ 5109571 h 5955635"/>
              <a:gd name="connsiteX757" fmla="*/ 4524573 w 6187971"/>
              <a:gd name="connsiteY757" fmla="*/ 5134323 h 5955635"/>
              <a:gd name="connsiteX758" fmla="*/ 4429640 w 6187971"/>
              <a:gd name="connsiteY758" fmla="*/ 5196992 h 5955635"/>
              <a:gd name="connsiteX759" fmla="*/ 4375898 w 6187971"/>
              <a:gd name="connsiteY759" fmla="*/ 5232021 h 5955635"/>
              <a:gd name="connsiteX760" fmla="*/ 4295132 w 6187971"/>
              <a:gd name="connsiteY760" fmla="*/ 5272825 h 5955635"/>
              <a:gd name="connsiteX761" fmla="*/ 4283544 w 6187971"/>
              <a:gd name="connsiteY761" fmla="*/ 5284720 h 5955635"/>
              <a:gd name="connsiteX762" fmla="*/ 4249436 w 6187971"/>
              <a:gd name="connsiteY762" fmla="*/ 5301426 h 5955635"/>
              <a:gd name="connsiteX763" fmla="*/ 4200853 w 6187971"/>
              <a:gd name="connsiteY763" fmla="*/ 5316515 h 5955635"/>
              <a:gd name="connsiteX764" fmla="*/ 4195695 w 6187971"/>
              <a:gd name="connsiteY764" fmla="*/ 5336456 h 5955635"/>
              <a:gd name="connsiteX765" fmla="*/ 4175098 w 6187971"/>
              <a:gd name="connsiteY765" fmla="*/ 5350275 h 5955635"/>
              <a:gd name="connsiteX766" fmla="*/ 4070850 w 6187971"/>
              <a:gd name="connsiteY766" fmla="*/ 5391386 h 5955635"/>
              <a:gd name="connsiteX767" fmla="*/ 4051871 w 6187971"/>
              <a:gd name="connsiteY767" fmla="*/ 5390731 h 5955635"/>
              <a:gd name="connsiteX768" fmla="*/ 4040284 w 6187971"/>
              <a:gd name="connsiteY768" fmla="*/ 5402627 h 5955635"/>
              <a:gd name="connsiteX769" fmla="*/ 4035780 w 6187971"/>
              <a:gd name="connsiteY769" fmla="*/ 5403589 h 5955635"/>
              <a:gd name="connsiteX770" fmla="*/ 3926065 w 6187971"/>
              <a:gd name="connsiteY770" fmla="*/ 5441158 h 5955635"/>
              <a:gd name="connsiteX771" fmla="*/ 3925102 w 6187971"/>
              <a:gd name="connsiteY771" fmla="*/ 5436653 h 5955635"/>
              <a:gd name="connsiteX772" fmla="*/ 3902581 w 6187971"/>
              <a:gd name="connsiteY772" fmla="*/ 5441465 h 5955635"/>
              <a:gd name="connsiteX773" fmla="*/ 3877482 w 6187971"/>
              <a:gd name="connsiteY773" fmla="*/ 5456246 h 5955635"/>
              <a:gd name="connsiteX774" fmla="*/ 3862045 w 6187971"/>
              <a:gd name="connsiteY774" fmla="*/ 5450125 h 5955635"/>
              <a:gd name="connsiteX775" fmla="*/ 3804454 w 6187971"/>
              <a:gd name="connsiteY775" fmla="*/ 5467139 h 5955635"/>
              <a:gd name="connsiteX776" fmla="*/ 3761338 w 6187971"/>
              <a:gd name="connsiteY776" fmla="*/ 5485770 h 5955635"/>
              <a:gd name="connsiteX777" fmla="*/ 3755871 w 6187971"/>
              <a:gd name="connsiteY777" fmla="*/ 5482228 h 5955635"/>
              <a:gd name="connsiteX778" fmla="*/ 3684769 w 6187971"/>
              <a:gd name="connsiteY778" fmla="*/ 5502128 h 5955635"/>
              <a:gd name="connsiteX779" fmla="*/ 3675760 w 6187971"/>
              <a:gd name="connsiteY779" fmla="*/ 5504053 h 5955635"/>
              <a:gd name="connsiteX780" fmla="*/ 3674798 w 6187971"/>
              <a:gd name="connsiteY780" fmla="*/ 5499549 h 5955635"/>
              <a:gd name="connsiteX781" fmla="*/ 3669332 w 6187971"/>
              <a:gd name="connsiteY781" fmla="*/ 5496007 h 5955635"/>
              <a:gd name="connsiteX782" fmla="*/ 3665790 w 6187971"/>
              <a:gd name="connsiteY782" fmla="*/ 5501473 h 5955635"/>
              <a:gd name="connsiteX783" fmla="*/ 3618170 w 6187971"/>
              <a:gd name="connsiteY783" fmla="*/ 5521067 h 5955635"/>
              <a:gd name="connsiteX784" fmla="*/ 3602733 w 6187971"/>
              <a:gd name="connsiteY784" fmla="*/ 5514945 h 5955635"/>
              <a:gd name="connsiteX785" fmla="*/ 3603695 w 6187971"/>
              <a:gd name="connsiteY785" fmla="*/ 5519449 h 5955635"/>
              <a:gd name="connsiteX786" fmla="*/ 3584717 w 6187971"/>
              <a:gd name="connsiteY786" fmla="*/ 5518794 h 5955635"/>
              <a:gd name="connsiteX787" fmla="*/ 3558655 w 6187971"/>
              <a:gd name="connsiteY787" fmla="*/ 5529072 h 5955635"/>
              <a:gd name="connsiteX788" fmla="*/ 3531630 w 6187971"/>
              <a:gd name="connsiteY788" fmla="*/ 5534846 h 5955635"/>
              <a:gd name="connsiteX789" fmla="*/ 3521660 w 6187971"/>
              <a:gd name="connsiteY789" fmla="*/ 5532266 h 5955635"/>
              <a:gd name="connsiteX790" fmla="*/ 3507186 w 6187971"/>
              <a:gd name="connsiteY790" fmla="*/ 5530649 h 5955635"/>
              <a:gd name="connsiteX791" fmla="*/ 3502681 w 6187971"/>
              <a:gd name="connsiteY791" fmla="*/ 5531612 h 5955635"/>
              <a:gd name="connsiteX792" fmla="*/ 3424187 w 6187971"/>
              <a:gd name="connsiteY792" fmla="*/ 5538962 h 5955635"/>
              <a:gd name="connsiteX793" fmla="*/ 3328639 w 6187971"/>
              <a:gd name="connsiteY793" fmla="*/ 5554666 h 5955635"/>
              <a:gd name="connsiteX794" fmla="*/ 3319631 w 6187971"/>
              <a:gd name="connsiteY794" fmla="*/ 5556591 h 5955635"/>
              <a:gd name="connsiteX795" fmla="*/ 3314165 w 6187971"/>
              <a:gd name="connsiteY795" fmla="*/ 5553049 h 5955635"/>
              <a:gd name="connsiteX796" fmla="*/ 3309661 w 6187971"/>
              <a:gd name="connsiteY796" fmla="*/ 5554011 h 5955635"/>
              <a:gd name="connsiteX797" fmla="*/ 3282636 w 6187971"/>
              <a:gd name="connsiteY797" fmla="*/ 5559784 h 5955635"/>
              <a:gd name="connsiteX798" fmla="*/ 3278132 w 6187971"/>
              <a:gd name="connsiteY798" fmla="*/ 5560747 h 5955635"/>
              <a:gd name="connsiteX799" fmla="*/ 3272666 w 6187971"/>
              <a:gd name="connsiteY799" fmla="*/ 5557205 h 5955635"/>
              <a:gd name="connsiteX800" fmla="*/ 3268162 w 6187971"/>
              <a:gd name="connsiteY800" fmla="*/ 5558167 h 5955635"/>
              <a:gd name="connsiteX801" fmla="*/ 3231167 w 6187971"/>
              <a:gd name="connsiteY801" fmla="*/ 5561362 h 5955635"/>
              <a:gd name="connsiteX802" fmla="*/ 3221197 w 6187971"/>
              <a:gd name="connsiteY802" fmla="*/ 5558782 h 5955635"/>
              <a:gd name="connsiteX803" fmla="*/ 3192247 w 6187971"/>
              <a:gd name="connsiteY803" fmla="*/ 5555548 h 5955635"/>
              <a:gd name="connsiteX804" fmla="*/ 3193209 w 6187971"/>
              <a:gd name="connsiteY804" fmla="*/ 5560051 h 5955635"/>
              <a:gd name="connsiteX805" fmla="*/ 3183239 w 6187971"/>
              <a:gd name="connsiteY805" fmla="*/ 5557472 h 5955635"/>
              <a:gd name="connsiteX806" fmla="*/ 3189836 w 6187971"/>
              <a:gd name="connsiteY806" fmla="*/ 5552530 h 5955635"/>
              <a:gd name="connsiteX807" fmla="*/ 3185794 w 6187971"/>
              <a:gd name="connsiteY807" fmla="*/ 5544792 h 5955635"/>
              <a:gd name="connsiteX808" fmla="*/ 3199331 w 6187971"/>
              <a:gd name="connsiteY808" fmla="*/ 5544615 h 5955635"/>
              <a:gd name="connsiteX809" fmla="*/ 3342806 w 6187971"/>
              <a:gd name="connsiteY809" fmla="*/ 5532801 h 5955635"/>
              <a:gd name="connsiteX810" fmla="*/ 3695394 w 6187971"/>
              <a:gd name="connsiteY810" fmla="*/ 5485729 h 5955635"/>
              <a:gd name="connsiteX811" fmla="*/ 3771963 w 6187971"/>
              <a:gd name="connsiteY811" fmla="*/ 5469371 h 5955635"/>
              <a:gd name="connsiteX812" fmla="*/ 3784514 w 6187971"/>
              <a:gd name="connsiteY812" fmla="*/ 5461979 h 5955635"/>
              <a:gd name="connsiteX813" fmla="*/ 3789017 w 6187971"/>
              <a:gd name="connsiteY813" fmla="*/ 5461017 h 5955635"/>
              <a:gd name="connsiteX814" fmla="*/ 3798026 w 6187971"/>
              <a:gd name="connsiteY814" fmla="*/ 5459093 h 5955635"/>
              <a:gd name="connsiteX815" fmla="*/ 3891649 w 6187971"/>
              <a:gd name="connsiteY815" fmla="*/ 5434382 h 5955635"/>
              <a:gd name="connsiteX816" fmla="*/ 4026464 w 6187971"/>
              <a:gd name="connsiteY816" fmla="*/ 5382030 h 5955635"/>
              <a:gd name="connsiteX817" fmla="*/ 4129751 w 6187971"/>
              <a:gd name="connsiteY817" fmla="*/ 5336416 h 5955635"/>
              <a:gd name="connsiteX818" fmla="*/ 4167400 w 6187971"/>
              <a:gd name="connsiteY818" fmla="*/ 5314243 h 5955635"/>
              <a:gd name="connsiteX819" fmla="*/ 4181875 w 6187971"/>
              <a:gd name="connsiteY819" fmla="*/ 5315860 h 5955635"/>
              <a:gd name="connsiteX820" fmla="*/ 4197004 w 6187971"/>
              <a:gd name="connsiteY820" fmla="*/ 5298499 h 5955635"/>
              <a:gd name="connsiteX821" fmla="*/ 4232075 w 6187971"/>
              <a:gd name="connsiteY821" fmla="*/ 5286297 h 5955635"/>
              <a:gd name="connsiteX822" fmla="*/ 4350491 w 6187971"/>
              <a:gd name="connsiteY822" fmla="*/ 5223321 h 5955635"/>
              <a:gd name="connsiteX823" fmla="*/ 4370125 w 6187971"/>
              <a:gd name="connsiteY823" fmla="*/ 5204997 h 5955635"/>
              <a:gd name="connsiteX824" fmla="*/ 4490158 w 6187971"/>
              <a:gd name="connsiteY824" fmla="*/ 5127546 h 5955635"/>
              <a:gd name="connsiteX825" fmla="*/ 4596679 w 6187971"/>
              <a:gd name="connsiteY825" fmla="*/ 5052983 h 5955635"/>
              <a:gd name="connsiteX826" fmla="*/ 4603762 w 6187971"/>
              <a:gd name="connsiteY826" fmla="*/ 5042050 h 5955635"/>
              <a:gd name="connsiteX827" fmla="*/ 4604725 w 6187971"/>
              <a:gd name="connsiteY827" fmla="*/ 5046554 h 5955635"/>
              <a:gd name="connsiteX828" fmla="*/ 4652038 w 6187971"/>
              <a:gd name="connsiteY828" fmla="*/ 5003479 h 5955635"/>
              <a:gd name="connsiteX829" fmla="*/ 4681642 w 6187971"/>
              <a:gd name="connsiteY829" fmla="*/ 4987735 h 5955635"/>
              <a:gd name="connsiteX830" fmla="*/ 4675213 w 6187971"/>
              <a:gd name="connsiteY830" fmla="*/ 4979689 h 5955635"/>
              <a:gd name="connsiteX831" fmla="*/ 4694847 w 6187971"/>
              <a:gd name="connsiteY831" fmla="*/ 4961365 h 5955635"/>
              <a:gd name="connsiteX832" fmla="*/ 4709321 w 6187971"/>
              <a:gd name="connsiteY832" fmla="*/ 4962983 h 5955635"/>
              <a:gd name="connsiteX833" fmla="*/ 4798482 w 6187971"/>
              <a:gd name="connsiteY833" fmla="*/ 4873290 h 5955635"/>
              <a:gd name="connsiteX834" fmla="*/ 4806527 w 6187971"/>
              <a:gd name="connsiteY834" fmla="*/ 4866861 h 5955635"/>
              <a:gd name="connsiteX835" fmla="*/ 4810069 w 6187971"/>
              <a:gd name="connsiteY835" fmla="*/ 4861394 h 5955635"/>
              <a:gd name="connsiteX836" fmla="*/ 4805565 w 6187971"/>
              <a:gd name="connsiteY836" fmla="*/ 4862357 h 5955635"/>
              <a:gd name="connsiteX837" fmla="*/ 4801060 w 6187971"/>
              <a:gd name="connsiteY837" fmla="*/ 4863319 h 5955635"/>
              <a:gd name="connsiteX838" fmla="*/ 4898266 w 6187971"/>
              <a:gd name="connsiteY838" fmla="*/ 4767198 h 5955635"/>
              <a:gd name="connsiteX839" fmla="*/ 4912741 w 6187971"/>
              <a:gd name="connsiteY839" fmla="*/ 4768815 h 5955635"/>
              <a:gd name="connsiteX840" fmla="*/ 5052449 w 6187971"/>
              <a:gd name="connsiteY840" fmla="*/ 4607097 h 5955635"/>
              <a:gd name="connsiteX841" fmla="*/ 5184765 w 6187971"/>
              <a:gd name="connsiteY841" fmla="*/ 4432830 h 5955635"/>
              <a:gd name="connsiteX842" fmla="*/ 5143881 w 6187971"/>
              <a:gd name="connsiteY842" fmla="*/ 4483951 h 5955635"/>
              <a:gd name="connsiteX843" fmla="*/ 5131330 w 6187971"/>
              <a:gd name="connsiteY843" fmla="*/ 4491343 h 5955635"/>
              <a:gd name="connsiteX844" fmla="*/ 5037974 w 6187971"/>
              <a:gd name="connsiteY844" fmla="*/ 4605480 h 5955635"/>
              <a:gd name="connsiteX845" fmla="*/ 4920480 w 6187971"/>
              <a:gd name="connsiteY845" fmla="*/ 4738904 h 5955635"/>
              <a:gd name="connsiteX846" fmla="*/ 4903425 w 6187971"/>
              <a:gd name="connsiteY846" fmla="*/ 4747257 h 5955635"/>
              <a:gd name="connsiteX847" fmla="*/ 4838404 w 6187971"/>
              <a:gd name="connsiteY847" fmla="*/ 4817664 h 5955635"/>
              <a:gd name="connsiteX848" fmla="*/ 4829395 w 6187971"/>
              <a:gd name="connsiteY848" fmla="*/ 4819589 h 5955635"/>
              <a:gd name="connsiteX849" fmla="*/ 4831320 w 6187971"/>
              <a:gd name="connsiteY849" fmla="*/ 4828597 h 5955635"/>
              <a:gd name="connsiteX850" fmla="*/ 4739274 w 6187971"/>
              <a:gd name="connsiteY850" fmla="*/ 4904777 h 5955635"/>
              <a:gd name="connsiteX851" fmla="*/ 4750861 w 6187971"/>
              <a:gd name="connsiteY851" fmla="*/ 4892883 h 5955635"/>
              <a:gd name="connsiteX852" fmla="*/ 4781119 w 6187971"/>
              <a:gd name="connsiteY852" fmla="*/ 4858161 h 5955635"/>
              <a:gd name="connsiteX853" fmla="*/ 4838096 w 6187971"/>
              <a:gd name="connsiteY853" fmla="*/ 4794182 h 5955635"/>
              <a:gd name="connsiteX854" fmla="*/ 4846142 w 6187971"/>
              <a:gd name="connsiteY854" fmla="*/ 4787753 h 5955635"/>
              <a:gd name="connsiteX855" fmla="*/ 4855150 w 6187971"/>
              <a:gd name="connsiteY855" fmla="*/ 4785829 h 5955635"/>
              <a:gd name="connsiteX856" fmla="*/ 4872859 w 6187971"/>
              <a:gd name="connsiteY856" fmla="*/ 4758497 h 5955635"/>
              <a:gd name="connsiteX857" fmla="*/ 4899577 w 6187971"/>
              <a:gd name="connsiteY857" fmla="*/ 4729241 h 5955635"/>
              <a:gd name="connsiteX858" fmla="*/ 4951393 w 6187971"/>
              <a:gd name="connsiteY858" fmla="*/ 4685203 h 5955635"/>
              <a:gd name="connsiteX859" fmla="*/ 4950431 w 6187971"/>
              <a:gd name="connsiteY859" fmla="*/ 4680699 h 5955635"/>
              <a:gd name="connsiteX860" fmla="*/ 4965561 w 6187971"/>
              <a:gd name="connsiteY860" fmla="*/ 4663338 h 5955635"/>
              <a:gd name="connsiteX861" fmla="*/ 4969103 w 6187971"/>
              <a:gd name="connsiteY861" fmla="*/ 4657871 h 5955635"/>
              <a:gd name="connsiteX862" fmla="*/ 4999362 w 6187971"/>
              <a:gd name="connsiteY862" fmla="*/ 4623149 h 5955635"/>
              <a:gd name="connsiteX863" fmla="*/ 5014491 w 6187971"/>
              <a:gd name="connsiteY863" fmla="*/ 4605787 h 5955635"/>
              <a:gd name="connsiteX864" fmla="*/ 5059879 w 6187971"/>
              <a:gd name="connsiteY864" fmla="*/ 4553704 h 5955635"/>
              <a:gd name="connsiteX865" fmla="*/ 5078551 w 6187971"/>
              <a:gd name="connsiteY865" fmla="*/ 4530876 h 5955635"/>
              <a:gd name="connsiteX866" fmla="*/ 5083055 w 6187971"/>
              <a:gd name="connsiteY866" fmla="*/ 4529914 h 5955635"/>
              <a:gd name="connsiteX867" fmla="*/ 5086597 w 6187971"/>
              <a:gd name="connsiteY867" fmla="*/ 4524447 h 5955635"/>
              <a:gd name="connsiteX868" fmla="*/ 5085635 w 6187971"/>
              <a:gd name="connsiteY868" fmla="*/ 4519944 h 5955635"/>
              <a:gd name="connsiteX869" fmla="*/ 5090139 w 6187971"/>
              <a:gd name="connsiteY869" fmla="*/ 4518982 h 5955635"/>
              <a:gd name="connsiteX870" fmla="*/ 5159358 w 6187971"/>
              <a:gd name="connsiteY870" fmla="*/ 4424129 h 5955635"/>
              <a:gd name="connsiteX871" fmla="*/ 5167403 w 6187971"/>
              <a:gd name="connsiteY871" fmla="*/ 4417701 h 5955635"/>
              <a:gd name="connsiteX872" fmla="*/ 5171907 w 6187971"/>
              <a:gd name="connsiteY872" fmla="*/ 4416738 h 5955635"/>
              <a:gd name="connsiteX873" fmla="*/ 5175450 w 6187971"/>
              <a:gd name="connsiteY873" fmla="*/ 4411272 h 5955635"/>
              <a:gd name="connsiteX874" fmla="*/ 5174487 w 6187971"/>
              <a:gd name="connsiteY874" fmla="*/ 4406768 h 5955635"/>
              <a:gd name="connsiteX875" fmla="*/ 5198318 w 6187971"/>
              <a:gd name="connsiteY875" fmla="*/ 4363999 h 5955635"/>
              <a:gd name="connsiteX876" fmla="*/ 5201860 w 6187971"/>
              <a:gd name="connsiteY876" fmla="*/ 4358534 h 5955635"/>
              <a:gd name="connsiteX877" fmla="*/ 5204439 w 6187971"/>
              <a:gd name="connsiteY877" fmla="*/ 4348563 h 5955635"/>
              <a:gd name="connsiteX878" fmla="*/ 5195619 w 6187971"/>
              <a:gd name="connsiteY878" fmla="*/ 4350447 h 5955635"/>
              <a:gd name="connsiteX879" fmla="*/ 5203077 w 6187971"/>
              <a:gd name="connsiteY879" fmla="*/ 4339435 h 5955635"/>
              <a:gd name="connsiteX880" fmla="*/ 5204128 w 6187971"/>
              <a:gd name="connsiteY880" fmla="*/ 4325131 h 5955635"/>
              <a:gd name="connsiteX881" fmla="*/ 5204204 w 6187971"/>
              <a:gd name="connsiteY881" fmla="*/ 4325020 h 5955635"/>
              <a:gd name="connsiteX882" fmla="*/ 5218092 w 6187971"/>
              <a:gd name="connsiteY882" fmla="*/ 4313267 h 5955635"/>
              <a:gd name="connsiteX883" fmla="*/ 5229887 w 6187971"/>
              <a:gd name="connsiteY883" fmla="*/ 4291321 h 5955635"/>
              <a:gd name="connsiteX884" fmla="*/ 5234391 w 6187971"/>
              <a:gd name="connsiteY884" fmla="*/ 4290358 h 5955635"/>
              <a:gd name="connsiteX885" fmla="*/ 5233429 w 6187971"/>
              <a:gd name="connsiteY885" fmla="*/ 4285854 h 5955635"/>
              <a:gd name="connsiteX886" fmla="*/ 5232466 w 6187971"/>
              <a:gd name="connsiteY886" fmla="*/ 4281350 h 5955635"/>
              <a:gd name="connsiteX887" fmla="*/ 5245016 w 6187971"/>
              <a:gd name="connsiteY887" fmla="*/ 4273959 h 5955635"/>
              <a:gd name="connsiteX888" fmla="*/ 5241474 w 6187971"/>
              <a:gd name="connsiteY888" fmla="*/ 4279425 h 5955635"/>
              <a:gd name="connsiteX889" fmla="*/ 5238895 w 6187971"/>
              <a:gd name="connsiteY889" fmla="*/ 4289396 h 5955635"/>
              <a:gd name="connsiteX890" fmla="*/ 5246941 w 6187971"/>
              <a:gd name="connsiteY890" fmla="*/ 4282967 h 5955635"/>
              <a:gd name="connsiteX891" fmla="*/ 5251445 w 6187971"/>
              <a:gd name="connsiteY891" fmla="*/ 4282005 h 5955635"/>
              <a:gd name="connsiteX892" fmla="*/ 5238240 w 6187971"/>
              <a:gd name="connsiteY892" fmla="*/ 4308374 h 5955635"/>
              <a:gd name="connsiteX893" fmla="*/ 5347073 w 6187971"/>
              <a:gd name="connsiteY893" fmla="*/ 4134414 h 5955635"/>
              <a:gd name="connsiteX894" fmla="*/ 5356737 w 6187971"/>
              <a:gd name="connsiteY894" fmla="*/ 4113510 h 5955635"/>
              <a:gd name="connsiteX895" fmla="*/ 5360278 w 6187971"/>
              <a:gd name="connsiteY895" fmla="*/ 4108045 h 5955635"/>
              <a:gd name="connsiteX896" fmla="*/ 5440163 w 6187971"/>
              <a:gd name="connsiteY896" fmla="*/ 3930850 h 5955635"/>
              <a:gd name="connsiteX897" fmla="*/ 5447247 w 6187971"/>
              <a:gd name="connsiteY897" fmla="*/ 3919918 h 5955635"/>
              <a:gd name="connsiteX898" fmla="*/ 5441125 w 6187971"/>
              <a:gd name="connsiteY898" fmla="*/ 3935354 h 5955635"/>
              <a:gd name="connsiteX899" fmla="*/ 5443050 w 6187971"/>
              <a:gd name="connsiteY899" fmla="*/ 3944362 h 5955635"/>
              <a:gd name="connsiteX900" fmla="*/ 5437891 w 6187971"/>
              <a:gd name="connsiteY900" fmla="*/ 3964303 h 5955635"/>
              <a:gd name="connsiteX901" fmla="*/ 5434349 w 6187971"/>
              <a:gd name="connsiteY901" fmla="*/ 3969770 h 5955635"/>
              <a:gd name="connsiteX902" fmla="*/ 5435311 w 6187971"/>
              <a:gd name="connsiteY902" fmla="*/ 3974273 h 5955635"/>
              <a:gd name="connsiteX903" fmla="*/ 5425955 w 6187971"/>
              <a:gd name="connsiteY903" fmla="*/ 4018659 h 5955635"/>
              <a:gd name="connsiteX904" fmla="*/ 5428535 w 6187971"/>
              <a:gd name="connsiteY904" fmla="*/ 4008688 h 5955635"/>
              <a:gd name="connsiteX905" fmla="*/ 5430460 w 6187971"/>
              <a:gd name="connsiteY905" fmla="*/ 4017697 h 5955635"/>
              <a:gd name="connsiteX906" fmla="*/ 5438505 w 6187971"/>
              <a:gd name="connsiteY906" fmla="*/ 4011268 h 5955635"/>
              <a:gd name="connsiteX907" fmla="*/ 5439468 w 6187971"/>
              <a:gd name="connsiteY907" fmla="*/ 4015773 h 5955635"/>
              <a:gd name="connsiteX908" fmla="*/ 5435926 w 6187971"/>
              <a:gd name="connsiteY908" fmla="*/ 4021238 h 5955635"/>
              <a:gd name="connsiteX909" fmla="*/ 5436889 w 6187971"/>
              <a:gd name="connsiteY909" fmla="*/ 4025742 h 5955635"/>
              <a:gd name="connsiteX910" fmla="*/ 5429150 w 6187971"/>
              <a:gd name="connsiteY910" fmla="*/ 4055653 h 5955635"/>
              <a:gd name="connsiteX911" fmla="*/ 5430112 w 6187971"/>
              <a:gd name="connsiteY911" fmla="*/ 4060158 h 5955635"/>
              <a:gd name="connsiteX912" fmla="*/ 5433654 w 6187971"/>
              <a:gd name="connsiteY912" fmla="*/ 4054691 h 5955635"/>
              <a:gd name="connsiteX913" fmla="*/ 5438158 w 6187971"/>
              <a:gd name="connsiteY913" fmla="*/ 4053729 h 5955635"/>
              <a:gd name="connsiteX914" fmla="*/ 5410438 w 6187971"/>
              <a:gd name="connsiteY914" fmla="*/ 4144425 h 5955635"/>
              <a:gd name="connsiteX915" fmla="*/ 5377252 w 6187971"/>
              <a:gd name="connsiteY915" fmla="*/ 4231578 h 5955635"/>
              <a:gd name="connsiteX916" fmla="*/ 5378214 w 6187971"/>
              <a:gd name="connsiteY916" fmla="*/ 4236082 h 5955635"/>
              <a:gd name="connsiteX917" fmla="*/ 5373710 w 6187971"/>
              <a:gd name="connsiteY917" fmla="*/ 4237045 h 5955635"/>
              <a:gd name="connsiteX918" fmla="*/ 5374672 w 6187971"/>
              <a:gd name="connsiteY918" fmla="*/ 4241549 h 5955635"/>
              <a:gd name="connsiteX919" fmla="*/ 5371130 w 6187971"/>
              <a:gd name="connsiteY919" fmla="*/ 4247016 h 5955635"/>
              <a:gd name="connsiteX920" fmla="*/ 5365009 w 6187971"/>
              <a:gd name="connsiteY920" fmla="*/ 4262452 h 5955635"/>
              <a:gd name="connsiteX921" fmla="*/ 5366934 w 6187971"/>
              <a:gd name="connsiteY921" fmla="*/ 4271460 h 5955635"/>
              <a:gd name="connsiteX922" fmla="*/ 5372092 w 6187971"/>
              <a:gd name="connsiteY922" fmla="*/ 4251519 h 5955635"/>
              <a:gd name="connsiteX923" fmla="*/ 5376597 w 6187971"/>
              <a:gd name="connsiteY923" fmla="*/ 4250557 h 5955635"/>
              <a:gd name="connsiteX924" fmla="*/ 5377559 w 6187971"/>
              <a:gd name="connsiteY924" fmla="*/ 4255061 h 5955635"/>
              <a:gd name="connsiteX925" fmla="*/ 5381101 w 6187971"/>
              <a:gd name="connsiteY925" fmla="*/ 4249594 h 5955635"/>
              <a:gd name="connsiteX926" fmla="*/ 5380139 w 6187971"/>
              <a:gd name="connsiteY926" fmla="*/ 4245091 h 5955635"/>
              <a:gd name="connsiteX927" fmla="*/ 5383681 w 6187971"/>
              <a:gd name="connsiteY927" fmla="*/ 4239624 h 5955635"/>
              <a:gd name="connsiteX928" fmla="*/ 5389802 w 6187971"/>
              <a:gd name="connsiteY928" fmla="*/ 4224188 h 5955635"/>
              <a:gd name="connsiteX929" fmla="*/ 5387877 w 6187971"/>
              <a:gd name="connsiteY929" fmla="*/ 4215179 h 5955635"/>
              <a:gd name="connsiteX930" fmla="*/ 5396885 w 6187971"/>
              <a:gd name="connsiteY930" fmla="*/ 4213255 h 5955635"/>
              <a:gd name="connsiteX931" fmla="*/ 5403662 w 6187971"/>
              <a:gd name="connsiteY931" fmla="*/ 4178840 h 5955635"/>
              <a:gd name="connsiteX932" fmla="*/ 5428147 w 6187971"/>
              <a:gd name="connsiteY932" fmla="*/ 4117093 h 5955635"/>
              <a:gd name="connsiteX933" fmla="*/ 5423643 w 6187971"/>
              <a:gd name="connsiteY933" fmla="*/ 4118055 h 5955635"/>
              <a:gd name="connsiteX934" fmla="*/ 5430726 w 6187971"/>
              <a:gd name="connsiteY934" fmla="*/ 4107123 h 5955635"/>
              <a:gd name="connsiteX935" fmla="*/ 5428802 w 6187971"/>
              <a:gd name="connsiteY935" fmla="*/ 4098114 h 5955635"/>
              <a:gd name="connsiteX936" fmla="*/ 5433306 w 6187971"/>
              <a:gd name="connsiteY936" fmla="*/ 4097152 h 5955635"/>
              <a:gd name="connsiteX937" fmla="*/ 5440389 w 6187971"/>
              <a:gd name="connsiteY937" fmla="*/ 4086220 h 5955635"/>
              <a:gd name="connsiteX938" fmla="*/ 5458446 w 6187971"/>
              <a:gd name="connsiteY938" fmla="*/ 4016427 h 5955635"/>
              <a:gd name="connsiteX939" fmla="*/ 5449438 w 6187971"/>
              <a:gd name="connsiteY939" fmla="*/ 4018351 h 5955635"/>
              <a:gd name="connsiteX940" fmla="*/ 5482318 w 6187971"/>
              <a:gd name="connsiteY940" fmla="*/ 3907715 h 5955635"/>
              <a:gd name="connsiteX941" fmla="*/ 5505533 w 6187971"/>
              <a:gd name="connsiteY941" fmla="*/ 3817982 h 5955635"/>
              <a:gd name="connsiteX942" fmla="*/ 5510038 w 6187971"/>
              <a:gd name="connsiteY942" fmla="*/ 3817020 h 5955635"/>
              <a:gd name="connsiteX943" fmla="*/ 5525514 w 6187971"/>
              <a:gd name="connsiteY943" fmla="*/ 3757197 h 5955635"/>
              <a:gd name="connsiteX944" fmla="*/ 5528401 w 6187971"/>
              <a:gd name="connsiteY944" fmla="*/ 3770709 h 5955635"/>
              <a:gd name="connsiteX945" fmla="*/ 5520048 w 6187971"/>
              <a:gd name="connsiteY945" fmla="*/ 3753656 h 5955635"/>
              <a:gd name="connsiteX946" fmla="*/ 5543571 w 6187971"/>
              <a:gd name="connsiteY946" fmla="*/ 3687405 h 5955635"/>
              <a:gd name="connsiteX947" fmla="*/ 5547113 w 6187971"/>
              <a:gd name="connsiteY947" fmla="*/ 3681939 h 5955635"/>
              <a:gd name="connsiteX948" fmla="*/ 5546151 w 6187971"/>
              <a:gd name="connsiteY948" fmla="*/ 3677434 h 5955635"/>
              <a:gd name="connsiteX949" fmla="*/ 5541647 w 6187971"/>
              <a:gd name="connsiteY949" fmla="*/ 3678397 h 5955635"/>
              <a:gd name="connsiteX950" fmla="*/ 5544226 w 6187971"/>
              <a:gd name="connsiteY950" fmla="*/ 3668427 h 5955635"/>
              <a:gd name="connsiteX951" fmla="*/ 5545189 w 6187971"/>
              <a:gd name="connsiteY951" fmla="*/ 3672930 h 5955635"/>
              <a:gd name="connsiteX952" fmla="*/ 5549693 w 6187971"/>
              <a:gd name="connsiteY952" fmla="*/ 3671968 h 5955635"/>
              <a:gd name="connsiteX953" fmla="*/ 5547768 w 6187971"/>
              <a:gd name="connsiteY953" fmla="*/ 3662960 h 5955635"/>
              <a:gd name="connsiteX954" fmla="*/ 5551310 w 6187971"/>
              <a:gd name="connsiteY954" fmla="*/ 3657493 h 5955635"/>
              <a:gd name="connsiteX955" fmla="*/ 5548423 w 6187971"/>
              <a:gd name="connsiteY955" fmla="*/ 3643981 h 5955635"/>
              <a:gd name="connsiteX956" fmla="*/ 5551003 w 6187971"/>
              <a:gd name="connsiteY956" fmla="*/ 3634011 h 5955635"/>
              <a:gd name="connsiteX957" fmla="*/ 5547461 w 6187971"/>
              <a:gd name="connsiteY957" fmla="*/ 3639478 h 5955635"/>
              <a:gd name="connsiteX958" fmla="*/ 5543919 w 6187971"/>
              <a:gd name="connsiteY958" fmla="*/ 3644943 h 5955635"/>
              <a:gd name="connsiteX959" fmla="*/ 5541995 w 6187971"/>
              <a:gd name="connsiteY959" fmla="*/ 3635936 h 5955635"/>
              <a:gd name="connsiteX960" fmla="*/ 5549733 w 6187971"/>
              <a:gd name="connsiteY960" fmla="*/ 3606025 h 5955635"/>
              <a:gd name="connsiteX961" fmla="*/ 5561668 w 6187971"/>
              <a:gd name="connsiteY961" fmla="*/ 3551669 h 5955635"/>
              <a:gd name="connsiteX962" fmla="*/ 5565210 w 6187971"/>
              <a:gd name="connsiteY962" fmla="*/ 3546202 h 5955635"/>
              <a:gd name="connsiteX963" fmla="*/ 5564248 w 6187971"/>
              <a:gd name="connsiteY963" fmla="*/ 3541699 h 5955635"/>
              <a:gd name="connsiteX964" fmla="*/ 5568445 w 6187971"/>
              <a:gd name="connsiteY964" fmla="*/ 3517253 h 5955635"/>
              <a:gd name="connsiteX965" fmla="*/ 5569100 w 6187971"/>
              <a:gd name="connsiteY965" fmla="*/ 3498276 h 5955635"/>
              <a:gd name="connsiteX966" fmla="*/ 5580380 w 6187971"/>
              <a:gd name="connsiteY966" fmla="*/ 3462898 h 5955635"/>
              <a:gd name="connsiteX967" fmla="*/ 5584885 w 6187971"/>
              <a:gd name="connsiteY967" fmla="*/ 3461936 h 5955635"/>
              <a:gd name="connsiteX968" fmla="*/ 5582960 w 6187971"/>
              <a:gd name="connsiteY968" fmla="*/ 3452927 h 5955635"/>
              <a:gd name="connsiteX969" fmla="*/ 5581998 w 6187971"/>
              <a:gd name="connsiteY969" fmla="*/ 3448424 h 5955635"/>
              <a:gd name="connsiteX970" fmla="*/ 5578456 w 6187971"/>
              <a:gd name="connsiteY970" fmla="*/ 3453889 h 5955635"/>
              <a:gd name="connsiteX971" fmla="*/ 5585232 w 6187971"/>
              <a:gd name="connsiteY971" fmla="*/ 3419474 h 5955635"/>
              <a:gd name="connsiteX972" fmla="*/ 5588774 w 6187971"/>
              <a:gd name="connsiteY972" fmla="*/ 3414008 h 5955635"/>
              <a:gd name="connsiteX973" fmla="*/ 5587812 w 6187971"/>
              <a:gd name="connsiteY973" fmla="*/ 3409504 h 5955635"/>
              <a:gd name="connsiteX974" fmla="*/ 5590084 w 6187971"/>
              <a:gd name="connsiteY974" fmla="*/ 3376051 h 5955635"/>
              <a:gd name="connsiteX975" fmla="*/ 5591047 w 6187971"/>
              <a:gd name="connsiteY975" fmla="*/ 3380555 h 5955635"/>
              <a:gd name="connsiteX976" fmla="*/ 5593934 w 6187971"/>
              <a:gd name="connsiteY976" fmla="*/ 3394067 h 5955635"/>
              <a:gd name="connsiteX977" fmla="*/ 5596512 w 6187971"/>
              <a:gd name="connsiteY977" fmla="*/ 3384097 h 5955635"/>
              <a:gd name="connsiteX978" fmla="*/ 5600054 w 6187971"/>
              <a:gd name="connsiteY978" fmla="*/ 3378631 h 5955635"/>
              <a:gd name="connsiteX979" fmla="*/ 5599399 w 6187971"/>
              <a:gd name="connsiteY979" fmla="*/ 3397610 h 5955635"/>
              <a:gd name="connsiteX980" fmla="*/ 5609370 w 6187971"/>
              <a:gd name="connsiteY980" fmla="*/ 3400188 h 5955635"/>
              <a:gd name="connsiteX981" fmla="*/ 5616146 w 6187971"/>
              <a:gd name="connsiteY981" fmla="*/ 3365773 h 5955635"/>
              <a:gd name="connsiteX982" fmla="*/ 5619688 w 6187971"/>
              <a:gd name="connsiteY982" fmla="*/ 3360307 h 5955635"/>
              <a:gd name="connsiteX983" fmla="*/ 5618726 w 6187971"/>
              <a:gd name="connsiteY983" fmla="*/ 3355803 h 5955635"/>
              <a:gd name="connsiteX984" fmla="*/ 5617764 w 6187971"/>
              <a:gd name="connsiteY984" fmla="*/ 3351299 h 5955635"/>
              <a:gd name="connsiteX985" fmla="*/ 5614222 w 6187971"/>
              <a:gd name="connsiteY985" fmla="*/ 3356765 h 5955635"/>
              <a:gd name="connsiteX986" fmla="*/ 5611335 w 6187971"/>
              <a:gd name="connsiteY986" fmla="*/ 3343253 h 5955635"/>
              <a:gd name="connsiteX987" fmla="*/ 5605868 w 6187971"/>
              <a:gd name="connsiteY987" fmla="*/ 3339711 h 5955635"/>
              <a:gd name="connsiteX988" fmla="*/ 5601672 w 6187971"/>
              <a:gd name="connsiteY988" fmla="*/ 3364156 h 5955635"/>
              <a:gd name="connsiteX989" fmla="*/ 5600710 w 6187971"/>
              <a:gd name="connsiteY989" fmla="*/ 3359652 h 5955635"/>
              <a:gd name="connsiteX990" fmla="*/ 5594281 w 6187971"/>
              <a:gd name="connsiteY990" fmla="*/ 3351607 h 5955635"/>
              <a:gd name="connsiteX991" fmla="*/ 5592057 w 6187971"/>
              <a:gd name="connsiteY991" fmla="*/ 3360201 h 5955635"/>
              <a:gd name="connsiteX992" fmla="*/ 5590783 w 6187971"/>
              <a:gd name="connsiteY992" fmla="*/ 3351765 h 5955635"/>
              <a:gd name="connsiteX993" fmla="*/ 5593974 w 6187971"/>
              <a:gd name="connsiteY993" fmla="*/ 3328124 h 5955635"/>
              <a:gd name="connsiteX994" fmla="*/ 5577575 w 6187971"/>
              <a:gd name="connsiteY994" fmla="*/ 3317498 h 5955635"/>
              <a:gd name="connsiteX995" fmla="*/ 5583041 w 6187971"/>
              <a:gd name="connsiteY995" fmla="*/ 3321040 h 5955635"/>
              <a:gd name="connsiteX996" fmla="*/ 5587545 w 6187971"/>
              <a:gd name="connsiteY996" fmla="*/ 3320078 h 5955635"/>
              <a:gd name="connsiteX997" fmla="*/ 5592049 w 6187971"/>
              <a:gd name="connsiteY997" fmla="*/ 3319116 h 5955635"/>
              <a:gd name="connsiteX998" fmla="*/ 5590125 w 6187971"/>
              <a:gd name="connsiteY998" fmla="*/ 3310107 h 5955635"/>
              <a:gd name="connsiteX999" fmla="*/ 5589163 w 6187971"/>
              <a:gd name="connsiteY999" fmla="*/ 3305604 h 5955635"/>
              <a:gd name="connsiteX1000" fmla="*/ 5596246 w 6187971"/>
              <a:gd name="connsiteY1000" fmla="*/ 3294671 h 5955635"/>
              <a:gd name="connsiteX1001" fmla="*/ 5598170 w 6187971"/>
              <a:gd name="connsiteY1001" fmla="*/ 3303679 h 5955635"/>
              <a:gd name="connsiteX1002" fmla="*/ 5602675 w 6187971"/>
              <a:gd name="connsiteY1002" fmla="*/ 3302717 h 5955635"/>
              <a:gd name="connsiteX1003" fmla="*/ 5605254 w 6187971"/>
              <a:gd name="connsiteY1003" fmla="*/ 3292746 h 5955635"/>
              <a:gd name="connsiteX1004" fmla="*/ 5603330 w 6187971"/>
              <a:gd name="connsiteY1004" fmla="*/ 3283738 h 5955635"/>
              <a:gd name="connsiteX1005" fmla="*/ 5592397 w 6187971"/>
              <a:gd name="connsiteY1005" fmla="*/ 3276655 h 5955635"/>
              <a:gd name="connsiteX1006" fmla="*/ 5586930 w 6187971"/>
              <a:gd name="connsiteY1006" fmla="*/ 3273113 h 5955635"/>
              <a:gd name="connsiteX1007" fmla="*/ 5583389 w 6187971"/>
              <a:gd name="connsiteY1007" fmla="*/ 3278580 h 5955635"/>
              <a:gd name="connsiteX1008" fmla="*/ 5583081 w 6187971"/>
              <a:gd name="connsiteY1008" fmla="*/ 3255097 h 5955635"/>
              <a:gd name="connsiteX1009" fmla="*/ 5585968 w 6187971"/>
              <a:gd name="connsiteY1009" fmla="*/ 3268609 h 5955635"/>
              <a:gd name="connsiteX1010" fmla="*/ 5591127 w 6187971"/>
              <a:gd name="connsiteY1010" fmla="*/ 3248668 h 5955635"/>
              <a:gd name="connsiteX1011" fmla="*/ 5595632 w 6187971"/>
              <a:gd name="connsiteY1011" fmla="*/ 3247705 h 5955635"/>
              <a:gd name="connsiteX1012" fmla="*/ 5594669 w 6187971"/>
              <a:gd name="connsiteY1012" fmla="*/ 3243202 h 5955635"/>
              <a:gd name="connsiteX1013" fmla="*/ 5593707 w 6187971"/>
              <a:gd name="connsiteY1013" fmla="*/ 3238698 h 5955635"/>
              <a:gd name="connsiteX1014" fmla="*/ 5589203 w 6187971"/>
              <a:gd name="connsiteY1014" fmla="*/ 3239660 h 5955635"/>
              <a:gd name="connsiteX1015" fmla="*/ 5596286 w 6187971"/>
              <a:gd name="connsiteY1015" fmla="*/ 3228728 h 5955635"/>
              <a:gd name="connsiteX1016" fmla="*/ 5590512 w 6187971"/>
              <a:gd name="connsiteY1016" fmla="*/ 3201704 h 5955635"/>
              <a:gd name="connsiteX1017" fmla="*/ 5592437 w 6187971"/>
              <a:gd name="connsiteY1017" fmla="*/ 3210711 h 5955635"/>
              <a:gd name="connsiteX1018" fmla="*/ 5595672 w 6187971"/>
              <a:gd name="connsiteY1018" fmla="*/ 3181763 h 5955635"/>
              <a:gd name="connsiteX1019" fmla="*/ 5601139 w 6187971"/>
              <a:gd name="connsiteY1019" fmla="*/ 3185304 h 5955635"/>
              <a:gd name="connsiteX1020" fmla="*/ 5600176 w 6187971"/>
              <a:gd name="connsiteY1020" fmla="*/ 3180800 h 5955635"/>
              <a:gd name="connsiteX1021" fmla="*/ 5604680 w 6187971"/>
              <a:gd name="connsiteY1021" fmla="*/ 3179838 h 5955635"/>
              <a:gd name="connsiteX1022" fmla="*/ 5610146 w 6187971"/>
              <a:gd name="connsiteY1022" fmla="*/ 3183379 h 5955635"/>
              <a:gd name="connsiteX1023" fmla="*/ 5609799 w 6187971"/>
              <a:gd name="connsiteY1023" fmla="*/ 3225841 h 5955635"/>
              <a:gd name="connsiteX1024" fmla="*/ 5605295 w 6187971"/>
              <a:gd name="connsiteY1024" fmla="*/ 3226803 h 5955635"/>
              <a:gd name="connsiteX1025" fmla="*/ 5604639 w 6187971"/>
              <a:gd name="connsiteY1025" fmla="*/ 3245781 h 5955635"/>
              <a:gd name="connsiteX1026" fmla="*/ 5610761 w 6187971"/>
              <a:gd name="connsiteY1026" fmla="*/ 3230344 h 5955635"/>
              <a:gd name="connsiteX1027" fmla="*/ 5611068 w 6187971"/>
              <a:gd name="connsiteY1027" fmla="*/ 3253827 h 5955635"/>
              <a:gd name="connsiteX1028" fmla="*/ 5607526 w 6187971"/>
              <a:gd name="connsiteY1028" fmla="*/ 3259294 h 5955635"/>
              <a:gd name="connsiteX1029" fmla="*/ 5608488 w 6187971"/>
              <a:gd name="connsiteY1029" fmla="*/ 3263797 h 5955635"/>
              <a:gd name="connsiteX1030" fmla="*/ 5613955 w 6187971"/>
              <a:gd name="connsiteY1030" fmla="*/ 3267339 h 5955635"/>
              <a:gd name="connsiteX1031" fmla="*/ 5617497 w 6187971"/>
              <a:gd name="connsiteY1031" fmla="*/ 3261873 h 5955635"/>
              <a:gd name="connsiteX1032" fmla="*/ 5620076 w 6187971"/>
              <a:gd name="connsiteY1032" fmla="*/ 3251903 h 5955635"/>
              <a:gd name="connsiteX1033" fmla="*/ 5619114 w 6187971"/>
              <a:gd name="connsiteY1033" fmla="*/ 3247399 h 5955635"/>
              <a:gd name="connsiteX1034" fmla="*/ 5614610 w 6187971"/>
              <a:gd name="connsiteY1034" fmla="*/ 3248361 h 5955635"/>
              <a:gd name="connsiteX1035" fmla="*/ 5614651 w 6187971"/>
              <a:gd name="connsiteY1035" fmla="*/ 3182417 h 5955635"/>
              <a:gd name="connsiteX1036" fmla="*/ 5618192 w 6187971"/>
              <a:gd name="connsiteY1036" fmla="*/ 3176951 h 5955635"/>
              <a:gd name="connsiteX1037" fmla="*/ 5617229 w 6187971"/>
              <a:gd name="connsiteY1037" fmla="*/ 3172447 h 5955635"/>
              <a:gd name="connsiteX1038" fmla="*/ 5616267 w 6187971"/>
              <a:gd name="connsiteY1038" fmla="*/ 3167943 h 5955635"/>
              <a:gd name="connsiteX1039" fmla="*/ 5619502 w 6187971"/>
              <a:gd name="connsiteY1039" fmla="*/ 3138994 h 5955635"/>
              <a:gd name="connsiteX1040" fmla="*/ 5614998 w 6187971"/>
              <a:gd name="connsiteY1040" fmla="*/ 3139956 h 5955635"/>
              <a:gd name="connsiteX1041" fmla="*/ 5618540 w 6187971"/>
              <a:gd name="connsiteY1041" fmla="*/ 3134491 h 5955635"/>
              <a:gd name="connsiteX1042" fmla="*/ 5621120 w 6187971"/>
              <a:gd name="connsiteY1042" fmla="*/ 3124519 h 5955635"/>
              <a:gd name="connsiteX1043" fmla="*/ 5615653 w 6187971"/>
              <a:gd name="connsiteY1043" fmla="*/ 3120977 h 5955635"/>
              <a:gd name="connsiteX1044" fmla="*/ 5607995 w 6187971"/>
              <a:gd name="connsiteY1044" fmla="*/ 3019002 h 5955635"/>
              <a:gd name="connsiteX1045" fmla="*/ 5610575 w 6187971"/>
              <a:gd name="connsiteY1045" fmla="*/ 3009032 h 5955635"/>
              <a:gd name="connsiteX1046" fmla="*/ 5609613 w 6187971"/>
              <a:gd name="connsiteY1046" fmla="*/ 3004527 h 5955635"/>
              <a:gd name="connsiteX1047" fmla="*/ 5605109 w 6187971"/>
              <a:gd name="connsiteY1047" fmla="*/ 3005490 h 5955635"/>
              <a:gd name="connsiteX1048" fmla="*/ 5608343 w 6187971"/>
              <a:gd name="connsiteY1048" fmla="*/ 2976541 h 5955635"/>
              <a:gd name="connsiteX1049" fmla="*/ 5607380 w 6187971"/>
              <a:gd name="connsiteY1049" fmla="*/ 2972037 h 5955635"/>
              <a:gd name="connsiteX1050" fmla="*/ 5605456 w 6187971"/>
              <a:gd name="connsiteY1050" fmla="*/ 2963029 h 5955635"/>
              <a:gd name="connsiteX1051" fmla="*/ 5604494 w 6187971"/>
              <a:gd name="connsiteY1051" fmla="*/ 2958525 h 5955635"/>
              <a:gd name="connsiteX1052" fmla="*/ 5608036 w 6187971"/>
              <a:gd name="connsiteY1052" fmla="*/ 2953059 h 5955635"/>
              <a:gd name="connsiteX1053" fmla="*/ 5607073 w 6187971"/>
              <a:gd name="connsiteY1053" fmla="*/ 2948555 h 5955635"/>
              <a:gd name="connsiteX1054" fmla="*/ 5601300 w 6187971"/>
              <a:gd name="connsiteY1054" fmla="*/ 2921531 h 5955635"/>
              <a:gd name="connsiteX1055" fmla="*/ 5600338 w 6187971"/>
              <a:gd name="connsiteY1055" fmla="*/ 2917026 h 5955635"/>
              <a:gd name="connsiteX1056" fmla="*/ 5598413 w 6187971"/>
              <a:gd name="connsiteY1056" fmla="*/ 2908019 h 5955635"/>
              <a:gd name="connsiteX1057" fmla="*/ 5597451 w 6187971"/>
              <a:gd name="connsiteY1057" fmla="*/ 2903514 h 5955635"/>
              <a:gd name="connsiteX1058" fmla="*/ 5590715 w 6187971"/>
              <a:gd name="connsiteY1058" fmla="*/ 2871986 h 5955635"/>
              <a:gd name="connsiteX1059" fmla="*/ 5595874 w 6187971"/>
              <a:gd name="connsiteY1059" fmla="*/ 2852045 h 5955635"/>
              <a:gd name="connsiteX1060" fmla="*/ 5599416 w 6187971"/>
              <a:gd name="connsiteY1060" fmla="*/ 2846579 h 5955635"/>
              <a:gd name="connsiteX1061" fmla="*/ 5598453 w 6187971"/>
              <a:gd name="connsiteY1061" fmla="*/ 2842075 h 5955635"/>
              <a:gd name="connsiteX1062" fmla="*/ 5593950 w 6187971"/>
              <a:gd name="connsiteY1062" fmla="*/ 2843037 h 5955635"/>
              <a:gd name="connsiteX1063" fmla="*/ 5594912 w 6187971"/>
              <a:gd name="connsiteY1063" fmla="*/ 2847541 h 5955635"/>
              <a:gd name="connsiteX1064" fmla="*/ 5586559 w 6187971"/>
              <a:gd name="connsiteY1064" fmla="*/ 2830487 h 5955635"/>
              <a:gd name="connsiteX1065" fmla="*/ 5595567 w 6187971"/>
              <a:gd name="connsiteY1065" fmla="*/ 2828563 h 5955635"/>
              <a:gd name="connsiteX1066" fmla="*/ 5600701 w 6187971"/>
              <a:gd name="connsiteY1066" fmla="*/ 2831889 h 5955635"/>
              <a:gd name="connsiteX1067" fmla="*/ 5604441 w 6187971"/>
              <a:gd name="connsiteY1067" fmla="*/ 2857353 h 5955635"/>
              <a:gd name="connsiteX1068" fmla="*/ 5620278 w 6187971"/>
              <a:gd name="connsiteY1068" fmla="*/ 2922185 h 5955635"/>
              <a:gd name="connsiteX1069" fmla="*/ 5616736 w 6187971"/>
              <a:gd name="connsiteY1069" fmla="*/ 2927652 h 5955635"/>
              <a:gd name="connsiteX1070" fmla="*/ 5617699 w 6187971"/>
              <a:gd name="connsiteY1070" fmla="*/ 2932156 h 5955635"/>
              <a:gd name="connsiteX1071" fmla="*/ 5627014 w 6187971"/>
              <a:gd name="connsiteY1071" fmla="*/ 2953713 h 5955635"/>
              <a:gd name="connsiteX1072" fmla="*/ 5623165 w 6187971"/>
              <a:gd name="connsiteY1072" fmla="*/ 2935697 h 5955635"/>
              <a:gd name="connsiteX1073" fmla="*/ 5628632 w 6187971"/>
              <a:gd name="connsiteY1073" fmla="*/ 2939239 h 5955635"/>
              <a:gd name="connsiteX1074" fmla="*/ 5627670 w 6187971"/>
              <a:gd name="connsiteY1074" fmla="*/ 2934735 h 5955635"/>
              <a:gd name="connsiteX1075" fmla="*/ 5626707 w 6187971"/>
              <a:gd name="connsiteY1075" fmla="*/ 2930231 h 5955635"/>
              <a:gd name="connsiteX1076" fmla="*/ 5625745 w 6187971"/>
              <a:gd name="connsiteY1076" fmla="*/ 2925727 h 5955635"/>
              <a:gd name="connsiteX1077" fmla="*/ 5638642 w 6187971"/>
              <a:gd name="connsiteY1077" fmla="*/ 2875875 h 5955635"/>
              <a:gd name="connsiteX1078" fmla="*/ 5658009 w 6187971"/>
              <a:gd name="connsiteY1078" fmla="*/ 2768126 h 5955635"/>
              <a:gd name="connsiteX1079" fmla="*/ 5661551 w 6187971"/>
              <a:gd name="connsiteY1079" fmla="*/ 2762659 h 5955635"/>
              <a:gd name="connsiteX1080" fmla="*/ 5665093 w 6187971"/>
              <a:gd name="connsiteY1080" fmla="*/ 2757194 h 5955635"/>
              <a:gd name="connsiteX1081" fmla="*/ 5670559 w 6187971"/>
              <a:gd name="connsiteY1081" fmla="*/ 2760735 h 5955635"/>
              <a:gd name="connsiteX1082" fmla="*/ 5667672 w 6187971"/>
              <a:gd name="connsiteY1082" fmla="*/ 2747222 h 5955635"/>
              <a:gd name="connsiteX1083" fmla="*/ 5667406 w 6187971"/>
              <a:gd name="connsiteY1083" fmla="*/ 2657797 h 5955635"/>
              <a:gd name="connsiteX1084" fmla="*/ 5673834 w 6187971"/>
              <a:gd name="connsiteY1084" fmla="*/ 2665842 h 5955635"/>
              <a:gd name="connsiteX1085" fmla="*/ 5689312 w 6187971"/>
              <a:gd name="connsiteY1085" fmla="*/ 2606020 h 5955635"/>
              <a:gd name="connsiteX1086" fmla="*/ 5691236 w 6187971"/>
              <a:gd name="connsiteY1086" fmla="*/ 2615028 h 5955635"/>
              <a:gd name="connsiteX1087" fmla="*/ 5692198 w 6187971"/>
              <a:gd name="connsiteY1087" fmla="*/ 2619532 h 5955635"/>
              <a:gd name="connsiteX1088" fmla="*/ 5695739 w 6187971"/>
              <a:gd name="connsiteY1088" fmla="*/ 2614066 h 5955635"/>
              <a:gd name="connsiteX1089" fmla="*/ 5693815 w 6187971"/>
              <a:gd name="connsiteY1089" fmla="*/ 2605058 h 5955635"/>
              <a:gd name="connsiteX1090" fmla="*/ 5709211 w 6187971"/>
              <a:gd name="connsiteY1090" fmla="*/ 2677123 h 5955635"/>
              <a:gd name="connsiteX1091" fmla="*/ 5729234 w 6187971"/>
              <a:gd name="connsiteY1091" fmla="*/ 2550395 h 5955635"/>
              <a:gd name="connsiteX1092" fmla="*/ 5744362 w 6187971"/>
              <a:gd name="connsiteY1092" fmla="*/ 2533034 h 5955635"/>
              <a:gd name="connsiteX1093" fmla="*/ 5538793 w 6187971"/>
              <a:gd name="connsiteY1093" fmla="*/ 2562824 h 5955635"/>
              <a:gd name="connsiteX1094" fmla="*/ 5560618 w 6187971"/>
              <a:gd name="connsiteY1094" fmla="*/ 2642934 h 5955635"/>
              <a:gd name="connsiteX1095" fmla="*/ 5581828 w 6187971"/>
              <a:gd name="connsiteY1095" fmla="*/ 2676080 h 5955635"/>
              <a:gd name="connsiteX1096" fmla="*/ 5595955 w 6187971"/>
              <a:gd name="connsiteY1096" fmla="*/ 2720158 h 5955635"/>
              <a:gd name="connsiteX1097" fmla="*/ 5603306 w 6187971"/>
              <a:gd name="connsiteY1097" fmla="*/ 2798652 h 5955635"/>
              <a:gd name="connsiteX1098" fmla="*/ 5597839 w 6187971"/>
              <a:gd name="connsiteY1098" fmla="*/ 2795110 h 5955635"/>
              <a:gd name="connsiteX1099" fmla="*/ 5598802 w 6187971"/>
              <a:gd name="connsiteY1099" fmla="*/ 2799614 h 5955635"/>
              <a:gd name="connsiteX1100" fmla="*/ 5598146 w 6187971"/>
              <a:gd name="connsiteY1100" fmla="*/ 2818592 h 5955635"/>
              <a:gd name="connsiteX1101" fmla="*/ 5599109 w 6187971"/>
              <a:gd name="connsiteY1101" fmla="*/ 2823096 h 5955635"/>
              <a:gd name="connsiteX1102" fmla="*/ 5594817 w 6187971"/>
              <a:gd name="connsiteY1102" fmla="*/ 2824013 h 5955635"/>
              <a:gd name="connsiteX1103" fmla="*/ 5593589 w 6187971"/>
              <a:gd name="connsiteY1103" fmla="*/ 2816549 h 5955635"/>
              <a:gd name="connsiteX1104" fmla="*/ 5584327 w 6187971"/>
              <a:gd name="connsiteY1104" fmla="*/ 2797996 h 5955635"/>
              <a:gd name="connsiteX1105" fmla="*/ 5587868 w 6187971"/>
              <a:gd name="connsiteY1105" fmla="*/ 2792530 h 5955635"/>
              <a:gd name="connsiteX1106" fmla="*/ 5586906 w 6187971"/>
              <a:gd name="connsiteY1106" fmla="*/ 2788027 h 5955635"/>
              <a:gd name="connsiteX1107" fmla="*/ 5590448 w 6187971"/>
              <a:gd name="connsiteY1107" fmla="*/ 2782560 h 5955635"/>
              <a:gd name="connsiteX1108" fmla="*/ 5589486 w 6187971"/>
              <a:gd name="connsiteY1108" fmla="*/ 2778056 h 5955635"/>
              <a:gd name="connsiteX1109" fmla="*/ 5584982 w 6187971"/>
              <a:gd name="connsiteY1109" fmla="*/ 2779018 h 5955635"/>
              <a:gd name="connsiteX1110" fmla="*/ 5572780 w 6187971"/>
              <a:gd name="connsiteY1110" fmla="*/ 2743948 h 5955635"/>
              <a:gd name="connsiteX1111" fmla="*/ 5577284 w 6187971"/>
              <a:gd name="connsiteY1111" fmla="*/ 2742986 h 5955635"/>
              <a:gd name="connsiteX1112" fmla="*/ 5575359 w 6187971"/>
              <a:gd name="connsiteY1112" fmla="*/ 2733977 h 5955635"/>
              <a:gd name="connsiteX1113" fmla="*/ 5574397 w 6187971"/>
              <a:gd name="connsiteY1113" fmla="*/ 2729474 h 5955635"/>
              <a:gd name="connsiteX1114" fmla="*/ 5569278 w 6187971"/>
              <a:gd name="connsiteY1114" fmla="*/ 2683471 h 5955635"/>
              <a:gd name="connsiteX1115" fmla="*/ 5564774 w 6187971"/>
              <a:gd name="connsiteY1115" fmla="*/ 2684433 h 5955635"/>
              <a:gd name="connsiteX1116" fmla="*/ 5568316 w 6187971"/>
              <a:gd name="connsiteY1116" fmla="*/ 2678967 h 5955635"/>
              <a:gd name="connsiteX1117" fmla="*/ 5562849 w 6187971"/>
              <a:gd name="connsiteY1117" fmla="*/ 2675425 h 5955635"/>
              <a:gd name="connsiteX1118" fmla="*/ 5557076 w 6187971"/>
              <a:gd name="connsiteY1118" fmla="*/ 2648401 h 5955635"/>
              <a:gd name="connsiteX1119" fmla="*/ 5549686 w 6187971"/>
              <a:gd name="connsiteY1119" fmla="*/ 2635851 h 5955635"/>
              <a:gd name="connsiteX1120" fmla="*/ 5553227 w 6187971"/>
              <a:gd name="connsiteY1120" fmla="*/ 2630384 h 5955635"/>
              <a:gd name="connsiteX1121" fmla="*/ 5543257 w 6187971"/>
              <a:gd name="connsiteY1121" fmla="*/ 2627805 h 5955635"/>
              <a:gd name="connsiteX1122" fmla="*/ 5547761 w 6187971"/>
              <a:gd name="connsiteY1122" fmla="*/ 2626843 h 5955635"/>
              <a:gd name="connsiteX1123" fmla="*/ 5546799 w 6187971"/>
              <a:gd name="connsiteY1123" fmla="*/ 2622339 h 5955635"/>
              <a:gd name="connsiteX1124" fmla="*/ 5545837 w 6187971"/>
              <a:gd name="connsiteY1124" fmla="*/ 2617834 h 5955635"/>
              <a:gd name="connsiteX1125" fmla="*/ 5544874 w 6187971"/>
              <a:gd name="connsiteY1125" fmla="*/ 2613331 h 5955635"/>
              <a:gd name="connsiteX1126" fmla="*/ 5543912 w 6187971"/>
              <a:gd name="connsiteY1126" fmla="*/ 2608826 h 5955635"/>
              <a:gd name="connsiteX1127" fmla="*/ 5546491 w 6187971"/>
              <a:gd name="connsiteY1127" fmla="*/ 2598857 h 5955635"/>
              <a:gd name="connsiteX1128" fmla="*/ 5540063 w 6187971"/>
              <a:gd name="connsiteY1128" fmla="*/ 2590810 h 5955635"/>
              <a:gd name="connsiteX1129" fmla="*/ 5538793 w 6187971"/>
              <a:gd name="connsiteY1129" fmla="*/ 2562824 h 5955635"/>
              <a:gd name="connsiteX1130" fmla="*/ 665421 w 6187971"/>
              <a:gd name="connsiteY1130" fmla="*/ 3538061 h 5955635"/>
              <a:gd name="connsiteX1131" fmla="*/ 668307 w 6187971"/>
              <a:gd name="connsiteY1131" fmla="*/ 3551573 h 5955635"/>
              <a:gd name="connsiteX1132" fmla="*/ 661880 w 6187971"/>
              <a:gd name="connsiteY1132" fmla="*/ 3543528 h 5955635"/>
              <a:gd name="connsiteX1133" fmla="*/ 665421 w 6187971"/>
              <a:gd name="connsiteY1133" fmla="*/ 3538061 h 5955635"/>
              <a:gd name="connsiteX1134" fmla="*/ 727864 w 6187971"/>
              <a:gd name="connsiteY1134" fmla="*/ 3477624 h 5955635"/>
              <a:gd name="connsiteX1135" fmla="*/ 733330 w 6187971"/>
              <a:gd name="connsiteY1135" fmla="*/ 3481166 h 5955635"/>
              <a:gd name="connsiteX1136" fmla="*/ 729788 w 6187971"/>
              <a:gd name="connsiteY1136" fmla="*/ 3486633 h 5955635"/>
              <a:gd name="connsiteX1137" fmla="*/ 727864 w 6187971"/>
              <a:gd name="connsiteY1137" fmla="*/ 3477624 h 5955635"/>
              <a:gd name="connsiteX1138" fmla="*/ 5425431 w 6187971"/>
              <a:gd name="connsiteY1138" fmla="*/ 2252659 h 5955635"/>
              <a:gd name="connsiteX1139" fmla="*/ 5432822 w 6187971"/>
              <a:gd name="connsiteY1139" fmla="*/ 2265209 h 5955635"/>
              <a:gd name="connsiteX1140" fmla="*/ 5433785 w 6187971"/>
              <a:gd name="connsiteY1140" fmla="*/ 2269713 h 5955635"/>
              <a:gd name="connsiteX1141" fmla="*/ 5434747 w 6187971"/>
              <a:gd name="connsiteY1141" fmla="*/ 2274217 h 5955635"/>
              <a:gd name="connsiteX1142" fmla="*/ 5435709 w 6187971"/>
              <a:gd name="connsiteY1142" fmla="*/ 2278721 h 5955635"/>
              <a:gd name="connsiteX1143" fmla="*/ 5429280 w 6187971"/>
              <a:gd name="connsiteY1143" fmla="*/ 2270676 h 5955635"/>
              <a:gd name="connsiteX1144" fmla="*/ 5425431 w 6187971"/>
              <a:gd name="connsiteY1144" fmla="*/ 2252659 h 5955635"/>
              <a:gd name="connsiteX1145" fmla="*/ 697152 w 6187971"/>
              <a:gd name="connsiteY1145" fmla="*/ 3201608 h 5955635"/>
              <a:gd name="connsiteX1146" fmla="*/ 701656 w 6187971"/>
              <a:gd name="connsiteY1146" fmla="*/ 3200646 h 5955635"/>
              <a:gd name="connsiteX1147" fmla="*/ 702618 w 6187971"/>
              <a:gd name="connsiteY1147" fmla="*/ 3205149 h 5955635"/>
              <a:gd name="connsiteX1148" fmla="*/ 697152 w 6187971"/>
              <a:gd name="connsiteY1148" fmla="*/ 3201608 h 5955635"/>
              <a:gd name="connsiteX1149" fmla="*/ 23704 w 6187971"/>
              <a:gd name="connsiteY1149" fmla="*/ 3000785 h 5955635"/>
              <a:gd name="connsiteX1150" fmla="*/ 25950 w 6187971"/>
              <a:gd name="connsiteY1150" fmla="*/ 3003797 h 5955635"/>
              <a:gd name="connsiteX1151" fmla="*/ 28196 w 6187971"/>
              <a:gd name="connsiteY1151" fmla="*/ 3006809 h 5955635"/>
              <a:gd name="connsiteX1152" fmla="*/ 22935 w 6187971"/>
              <a:gd name="connsiteY1152" fmla="*/ 3006044 h 5955635"/>
              <a:gd name="connsiteX1153" fmla="*/ 23704 w 6187971"/>
              <a:gd name="connsiteY1153" fmla="*/ 3000785 h 5955635"/>
              <a:gd name="connsiteX1154" fmla="*/ 5144618 w 6187971"/>
              <a:gd name="connsiteY1154" fmla="*/ 1709820 h 5955635"/>
              <a:gd name="connsiteX1155" fmla="*/ 5178685 w 6187971"/>
              <a:gd name="connsiteY1155" fmla="*/ 1759057 h 5955635"/>
              <a:gd name="connsiteX1156" fmla="*/ 5174182 w 6187971"/>
              <a:gd name="connsiteY1156" fmla="*/ 1760019 h 5955635"/>
              <a:gd name="connsiteX1157" fmla="*/ 5165829 w 6187971"/>
              <a:gd name="connsiteY1157" fmla="*/ 1742966 h 5955635"/>
              <a:gd name="connsiteX1158" fmla="*/ 5152972 w 6187971"/>
              <a:gd name="connsiteY1158" fmla="*/ 1726875 h 5955635"/>
              <a:gd name="connsiteX1159" fmla="*/ 5147505 w 6187971"/>
              <a:gd name="connsiteY1159" fmla="*/ 1723332 h 5955635"/>
              <a:gd name="connsiteX1160" fmla="*/ 5141076 w 6187971"/>
              <a:gd name="connsiteY1160" fmla="*/ 1715287 h 5955635"/>
              <a:gd name="connsiteX1161" fmla="*/ 5144618 w 6187971"/>
              <a:gd name="connsiteY1161" fmla="*/ 1709820 h 5955635"/>
              <a:gd name="connsiteX1162" fmla="*/ 726773 w 6187971"/>
              <a:gd name="connsiteY1162" fmla="*/ 2634833 h 5955635"/>
              <a:gd name="connsiteX1163" fmla="*/ 727736 w 6187971"/>
              <a:gd name="connsiteY1163" fmla="*/ 2639338 h 5955635"/>
              <a:gd name="connsiteX1164" fmla="*/ 723231 w 6187971"/>
              <a:gd name="connsiteY1164" fmla="*/ 2640300 h 5955635"/>
              <a:gd name="connsiteX1165" fmla="*/ 726773 w 6187971"/>
              <a:gd name="connsiteY1165" fmla="*/ 2634833 h 5955635"/>
              <a:gd name="connsiteX1166" fmla="*/ 760478 w 6187971"/>
              <a:gd name="connsiteY1166" fmla="*/ 2435480 h 5955635"/>
              <a:gd name="connsiteX1167" fmla="*/ 760347 w 6187971"/>
              <a:gd name="connsiteY1167" fmla="*/ 2439276 h 5955635"/>
              <a:gd name="connsiteX1168" fmla="*/ 756805 w 6187971"/>
              <a:gd name="connsiteY1168" fmla="*/ 2444741 h 5955635"/>
              <a:gd name="connsiteX1169" fmla="*/ 779150 w 6187971"/>
              <a:gd name="connsiteY1169" fmla="*/ 2373847 h 5955635"/>
              <a:gd name="connsiteX1170" fmla="*/ 779366 w 6187971"/>
              <a:gd name="connsiteY1170" fmla="*/ 2373987 h 5955635"/>
              <a:gd name="connsiteX1171" fmla="*/ 778898 w 6187971"/>
              <a:gd name="connsiteY1171" fmla="*/ 2374800 h 5955635"/>
              <a:gd name="connsiteX1172" fmla="*/ 82769 w 6187971"/>
              <a:gd name="connsiteY1172" fmla="*/ 2413119 h 5955635"/>
              <a:gd name="connsiteX1173" fmla="*/ 52067 w 6187971"/>
              <a:gd name="connsiteY1173" fmla="*/ 2604720 h 5955635"/>
              <a:gd name="connsiteX1174" fmla="*/ 56497 w 6187971"/>
              <a:gd name="connsiteY1174" fmla="*/ 2629537 h 5955635"/>
              <a:gd name="connsiteX1175" fmla="*/ 43546 w 6187971"/>
              <a:gd name="connsiteY1175" fmla="*/ 2681370 h 5955635"/>
              <a:gd name="connsiteX1176" fmla="*/ 47915 w 6187971"/>
              <a:gd name="connsiteY1176" fmla="*/ 2724979 h 5955635"/>
              <a:gd name="connsiteX1177" fmla="*/ 31949 w 6187971"/>
              <a:gd name="connsiteY1177" fmla="*/ 2779060 h 5955635"/>
              <a:gd name="connsiteX1178" fmla="*/ 21428 w 6187971"/>
              <a:gd name="connsiteY1178" fmla="*/ 2777530 h 5955635"/>
              <a:gd name="connsiteX1179" fmla="*/ 18290 w 6187971"/>
              <a:gd name="connsiteY1179" fmla="*/ 2817361 h 5955635"/>
              <a:gd name="connsiteX1180" fmla="*/ 21305 w 6187971"/>
              <a:gd name="connsiteY1180" fmla="*/ 2815114 h 5955635"/>
              <a:gd name="connsiteX1181" fmla="*/ 22074 w 6187971"/>
              <a:gd name="connsiteY1181" fmla="*/ 2809854 h 5955635"/>
              <a:gd name="connsiteX1182" fmla="*/ 24320 w 6187971"/>
              <a:gd name="connsiteY1182" fmla="*/ 2812866 h 5955635"/>
              <a:gd name="connsiteX1183" fmla="*/ 31118 w 6187971"/>
              <a:gd name="connsiteY1183" fmla="*/ 2803112 h 5955635"/>
              <a:gd name="connsiteX1184" fmla="*/ 29518 w 6187971"/>
              <a:gd name="connsiteY1184" fmla="*/ 2832423 h 5955635"/>
              <a:gd name="connsiteX1185" fmla="*/ 31764 w 6187971"/>
              <a:gd name="connsiteY1185" fmla="*/ 2835435 h 5955635"/>
              <a:gd name="connsiteX1186" fmla="*/ 28750 w 6187971"/>
              <a:gd name="connsiteY1186" fmla="*/ 2837683 h 5955635"/>
              <a:gd name="connsiteX1187" fmla="*/ 30226 w 6187971"/>
              <a:gd name="connsiteY1187" fmla="*/ 2845955 h 5955635"/>
              <a:gd name="connsiteX1188" fmla="*/ 27211 w 6187971"/>
              <a:gd name="connsiteY1188" fmla="*/ 2848202 h 5955635"/>
              <a:gd name="connsiteX1189" fmla="*/ 33057 w 6187971"/>
              <a:gd name="connsiteY1189" fmla="*/ 2900083 h 5955635"/>
              <a:gd name="connsiteX1190" fmla="*/ 21643 w 6187971"/>
              <a:gd name="connsiteY1190" fmla="*/ 2941397 h 5955635"/>
              <a:gd name="connsiteX1191" fmla="*/ 20874 w 6187971"/>
              <a:gd name="connsiteY1191" fmla="*/ 2946657 h 5955635"/>
              <a:gd name="connsiteX1192" fmla="*/ 19336 w 6187971"/>
              <a:gd name="connsiteY1192" fmla="*/ 2957176 h 5955635"/>
              <a:gd name="connsiteX1193" fmla="*/ 17091 w 6187971"/>
              <a:gd name="connsiteY1193" fmla="*/ 2954164 h 5955635"/>
              <a:gd name="connsiteX1194" fmla="*/ 17860 w 6187971"/>
              <a:gd name="connsiteY1194" fmla="*/ 2948904 h 5955635"/>
              <a:gd name="connsiteX1195" fmla="*/ 15614 w 6187971"/>
              <a:gd name="connsiteY1195" fmla="*/ 2945892 h 5955635"/>
              <a:gd name="connsiteX1196" fmla="*/ 19275 w 6187971"/>
              <a:gd name="connsiteY1196" fmla="*/ 2975968 h 5955635"/>
              <a:gd name="connsiteX1197" fmla="*/ 20044 w 6187971"/>
              <a:gd name="connsiteY1197" fmla="*/ 2970708 h 5955635"/>
              <a:gd name="connsiteX1198" fmla="*/ 22290 w 6187971"/>
              <a:gd name="connsiteY1198" fmla="*/ 2973720 h 5955635"/>
              <a:gd name="connsiteX1199" fmla="*/ 24535 w 6187971"/>
              <a:gd name="connsiteY1199" fmla="*/ 2976733 h 5955635"/>
              <a:gd name="connsiteX1200" fmla="*/ 28319 w 6187971"/>
              <a:gd name="connsiteY1200" fmla="*/ 2969225 h 5955635"/>
              <a:gd name="connsiteX1201" fmla="*/ 24474 w 6187971"/>
              <a:gd name="connsiteY1201" fmla="*/ 2995525 h 5955635"/>
              <a:gd name="connsiteX1202" fmla="*/ 23704 w 6187971"/>
              <a:gd name="connsiteY1202" fmla="*/ 3000785 h 5955635"/>
              <a:gd name="connsiteX1203" fmla="*/ 21090 w 6187971"/>
              <a:gd name="connsiteY1203" fmla="*/ 3110523 h 5955635"/>
              <a:gd name="connsiteX1204" fmla="*/ 20321 w 6187971"/>
              <a:gd name="connsiteY1204" fmla="*/ 3115783 h 5955635"/>
              <a:gd name="connsiteX1205" fmla="*/ 21797 w 6187971"/>
              <a:gd name="connsiteY1205" fmla="*/ 3124055 h 5955635"/>
              <a:gd name="connsiteX1206" fmla="*/ 19552 w 6187971"/>
              <a:gd name="connsiteY1206" fmla="*/ 3121043 h 5955635"/>
              <a:gd name="connsiteX1207" fmla="*/ 32964 w 6187971"/>
              <a:gd name="connsiteY1207" fmla="*/ 3157909 h 5955635"/>
              <a:gd name="connsiteX1208" fmla="*/ 31488 w 6187971"/>
              <a:gd name="connsiteY1208" fmla="*/ 3149636 h 5955635"/>
              <a:gd name="connsiteX1209" fmla="*/ 34503 w 6187971"/>
              <a:gd name="connsiteY1209" fmla="*/ 3147389 h 5955635"/>
              <a:gd name="connsiteX1210" fmla="*/ 35979 w 6187971"/>
              <a:gd name="connsiteY1210" fmla="*/ 3155661 h 5955635"/>
              <a:gd name="connsiteX1211" fmla="*/ 36796 w 6187971"/>
              <a:gd name="connsiteY1211" fmla="*/ 3156756 h 5955635"/>
              <a:gd name="connsiteX1212" fmla="*/ 36814 w 6187971"/>
              <a:gd name="connsiteY1212" fmla="*/ 3159140 h 5955635"/>
              <a:gd name="connsiteX1213" fmla="*/ 37456 w 6187971"/>
              <a:gd name="connsiteY1213" fmla="*/ 3163933 h 5955635"/>
              <a:gd name="connsiteX1214" fmla="*/ 38225 w 6187971"/>
              <a:gd name="connsiteY1214" fmla="*/ 3158673 h 5955635"/>
              <a:gd name="connsiteX1215" fmla="*/ 36796 w 6187971"/>
              <a:gd name="connsiteY1215" fmla="*/ 3156756 h 5955635"/>
              <a:gd name="connsiteX1216" fmla="*/ 36748 w 6187971"/>
              <a:gd name="connsiteY1216" fmla="*/ 3150401 h 5955635"/>
              <a:gd name="connsiteX1217" fmla="*/ 66281 w 6187971"/>
              <a:gd name="connsiteY1217" fmla="*/ 3315844 h 5955635"/>
              <a:gd name="connsiteX1218" fmla="*/ 65450 w 6187971"/>
              <a:gd name="connsiteY1218" fmla="*/ 3339896 h 5955635"/>
              <a:gd name="connsiteX1219" fmla="*/ 72956 w 6187971"/>
              <a:gd name="connsiteY1219" fmla="*/ 3343673 h 5955635"/>
              <a:gd name="connsiteX1220" fmla="*/ 72187 w 6187971"/>
              <a:gd name="connsiteY1220" fmla="*/ 3348933 h 5955635"/>
              <a:gd name="connsiteX1221" fmla="*/ 73664 w 6187971"/>
              <a:gd name="connsiteY1221" fmla="*/ 3357205 h 5955635"/>
              <a:gd name="connsiteX1222" fmla="*/ 81694 w 6187971"/>
              <a:gd name="connsiteY1222" fmla="*/ 3430890 h 5955635"/>
              <a:gd name="connsiteX1223" fmla="*/ 82462 w 6187971"/>
              <a:gd name="connsiteY1223" fmla="*/ 3425630 h 5955635"/>
              <a:gd name="connsiteX1224" fmla="*/ 87723 w 6187971"/>
              <a:gd name="connsiteY1224" fmla="*/ 3426395 h 5955635"/>
              <a:gd name="connsiteX1225" fmla="*/ 86954 w 6187971"/>
              <a:gd name="connsiteY1225" fmla="*/ 3431654 h 5955635"/>
              <a:gd name="connsiteX1226" fmla="*/ 89199 w 6187971"/>
              <a:gd name="connsiteY1226" fmla="*/ 3434667 h 5955635"/>
              <a:gd name="connsiteX1227" fmla="*/ 97998 w 6187971"/>
              <a:gd name="connsiteY1227" fmla="*/ 3503092 h 5955635"/>
              <a:gd name="connsiteX1228" fmla="*/ 124762 w 6187971"/>
              <a:gd name="connsiteY1228" fmla="*/ 3595615 h 5955635"/>
              <a:gd name="connsiteX1229" fmla="*/ 92676 w 6187971"/>
              <a:gd name="connsiteY1229" fmla="*/ 3521119 h 5955635"/>
              <a:gd name="connsiteX1230" fmla="*/ 86123 w 6187971"/>
              <a:gd name="connsiteY1230" fmla="*/ 3455706 h 5955635"/>
              <a:gd name="connsiteX1231" fmla="*/ 80863 w 6187971"/>
              <a:gd name="connsiteY1231" fmla="*/ 3454941 h 5955635"/>
              <a:gd name="connsiteX1232" fmla="*/ 80155 w 6187971"/>
              <a:gd name="connsiteY1232" fmla="*/ 3441409 h 5955635"/>
              <a:gd name="connsiteX1233" fmla="*/ 80924 w 6187971"/>
              <a:gd name="connsiteY1233" fmla="*/ 3436150 h 5955635"/>
              <a:gd name="connsiteX1234" fmla="*/ 77909 w 6187971"/>
              <a:gd name="connsiteY1234" fmla="*/ 3438397 h 5955635"/>
              <a:gd name="connsiteX1235" fmla="*/ 62313 w 6187971"/>
              <a:gd name="connsiteY1235" fmla="*/ 3379727 h 5955635"/>
              <a:gd name="connsiteX1236" fmla="*/ 60067 w 6187971"/>
              <a:gd name="connsiteY1236" fmla="*/ 3376715 h 5955635"/>
              <a:gd name="connsiteX1237" fmla="*/ 57821 w 6187971"/>
              <a:gd name="connsiteY1237" fmla="*/ 3373703 h 5955635"/>
              <a:gd name="connsiteX1238" fmla="*/ 55576 w 6187971"/>
              <a:gd name="connsiteY1238" fmla="*/ 3370690 h 5955635"/>
              <a:gd name="connsiteX1239" fmla="*/ 58590 w 6187971"/>
              <a:gd name="connsiteY1239" fmla="*/ 3368443 h 5955635"/>
              <a:gd name="connsiteX1240" fmla="*/ 53330 w 6187971"/>
              <a:gd name="connsiteY1240" fmla="*/ 3367678 h 5955635"/>
              <a:gd name="connsiteX1241" fmla="*/ 41394 w 6187971"/>
              <a:gd name="connsiteY1241" fmla="*/ 3339084 h 5955635"/>
              <a:gd name="connsiteX1242" fmla="*/ 33057 w 6187971"/>
              <a:gd name="connsiteY1242" fmla="*/ 3359359 h 5955635"/>
              <a:gd name="connsiteX1243" fmla="*/ 30073 w 6187971"/>
              <a:gd name="connsiteY1243" fmla="*/ 3352210 h 5955635"/>
              <a:gd name="connsiteX1244" fmla="*/ 28581 w 6187971"/>
              <a:gd name="connsiteY1244" fmla="*/ 3348636 h 5955635"/>
              <a:gd name="connsiteX1245" fmla="*/ 29335 w 6187971"/>
              <a:gd name="connsiteY1245" fmla="*/ 3348074 h 5955635"/>
              <a:gd name="connsiteX1246" fmla="*/ 27089 w 6187971"/>
              <a:gd name="connsiteY1246" fmla="*/ 3345062 h 5955635"/>
              <a:gd name="connsiteX1247" fmla="*/ 28581 w 6187971"/>
              <a:gd name="connsiteY1247" fmla="*/ 3348636 h 5955635"/>
              <a:gd name="connsiteX1248" fmla="*/ 26320 w 6187971"/>
              <a:gd name="connsiteY1248" fmla="*/ 3350322 h 5955635"/>
              <a:gd name="connsiteX1249" fmla="*/ 24074 w 6187971"/>
              <a:gd name="connsiteY1249" fmla="*/ 3347310 h 5955635"/>
              <a:gd name="connsiteX1250" fmla="*/ 21828 w 6187971"/>
              <a:gd name="connsiteY1250" fmla="*/ 3344297 h 5955635"/>
              <a:gd name="connsiteX1251" fmla="*/ 19644 w 6187971"/>
              <a:gd name="connsiteY1251" fmla="*/ 3322493 h 5955635"/>
              <a:gd name="connsiteX1252" fmla="*/ 20413 w 6187971"/>
              <a:gd name="connsiteY1252" fmla="*/ 3317233 h 5955635"/>
              <a:gd name="connsiteX1253" fmla="*/ 18937 w 6187971"/>
              <a:gd name="connsiteY1253" fmla="*/ 3308961 h 5955635"/>
              <a:gd name="connsiteX1254" fmla="*/ 19706 w 6187971"/>
              <a:gd name="connsiteY1254" fmla="*/ 3303701 h 5955635"/>
              <a:gd name="connsiteX1255" fmla="*/ 21182 w 6187971"/>
              <a:gd name="connsiteY1255" fmla="*/ 3311973 h 5955635"/>
              <a:gd name="connsiteX1256" fmla="*/ 22659 w 6187971"/>
              <a:gd name="connsiteY1256" fmla="*/ 3320245 h 5955635"/>
              <a:gd name="connsiteX1257" fmla="*/ 26504 w 6187971"/>
              <a:gd name="connsiteY1257" fmla="*/ 3293946 h 5955635"/>
              <a:gd name="connsiteX1258" fmla="*/ 42286 w 6187971"/>
              <a:gd name="connsiteY1258" fmla="*/ 3296241 h 5955635"/>
              <a:gd name="connsiteX1259" fmla="*/ 16537 w 6187971"/>
              <a:gd name="connsiteY1259" fmla="*/ 3123291 h 5955635"/>
              <a:gd name="connsiteX1260" fmla="*/ 15060 w 6187971"/>
              <a:gd name="connsiteY1260" fmla="*/ 3115018 h 5955635"/>
              <a:gd name="connsiteX1261" fmla="*/ 15829 w 6187971"/>
              <a:gd name="connsiteY1261" fmla="*/ 3109758 h 5955635"/>
              <a:gd name="connsiteX1262" fmla="*/ 10046 w 6187971"/>
              <a:gd name="connsiteY1262" fmla="*/ 3039086 h 5955635"/>
              <a:gd name="connsiteX1263" fmla="*/ 1309 w 6187971"/>
              <a:gd name="connsiteY1263" fmla="*/ 2951870 h 5955635"/>
              <a:gd name="connsiteX1264" fmla="*/ 3862 w 6187971"/>
              <a:gd name="connsiteY1264" fmla="*/ 2860923 h 5955635"/>
              <a:gd name="connsiteX1265" fmla="*/ 7308 w 6187971"/>
              <a:gd name="connsiteY1265" fmla="*/ 2727132 h 5955635"/>
              <a:gd name="connsiteX1266" fmla="*/ 30195 w 6187971"/>
              <a:gd name="connsiteY1266" fmla="*/ 2625713 h 5955635"/>
              <a:gd name="connsiteX1267" fmla="*/ 27888 w 6187971"/>
              <a:gd name="connsiteY1267" fmla="*/ 2641492 h 5955635"/>
              <a:gd name="connsiteX1268" fmla="*/ 31672 w 6187971"/>
              <a:gd name="connsiteY1268" fmla="*/ 2633985 h 5955635"/>
              <a:gd name="connsiteX1269" fmla="*/ 32441 w 6187971"/>
              <a:gd name="connsiteY1269" fmla="*/ 2628725 h 5955635"/>
              <a:gd name="connsiteX1270" fmla="*/ 33917 w 6187971"/>
              <a:gd name="connsiteY1270" fmla="*/ 2636997 h 5955635"/>
              <a:gd name="connsiteX1271" fmla="*/ 36163 w 6187971"/>
              <a:gd name="connsiteY1271" fmla="*/ 2640009 h 5955635"/>
              <a:gd name="connsiteX1272" fmla="*/ 47822 w 6187971"/>
              <a:gd name="connsiteY1272" fmla="*/ 2523528 h 5955635"/>
              <a:gd name="connsiteX1273" fmla="*/ 82769 w 6187971"/>
              <a:gd name="connsiteY1273" fmla="*/ 2413119 h 5955635"/>
              <a:gd name="connsiteX1274" fmla="*/ 842852 w 6187971"/>
              <a:gd name="connsiteY1274" fmla="*/ 2186167 h 5955635"/>
              <a:gd name="connsiteX1275" fmla="*/ 844776 w 6187971"/>
              <a:gd name="connsiteY1275" fmla="*/ 2195175 h 5955635"/>
              <a:gd name="connsiteX1276" fmla="*/ 807086 w 6187971"/>
              <a:gd name="connsiteY1276" fmla="*/ 2283291 h 5955635"/>
              <a:gd name="connsiteX1277" fmla="*/ 802365 w 6187971"/>
              <a:gd name="connsiteY1277" fmla="*/ 2310792 h 5955635"/>
              <a:gd name="connsiteX1278" fmla="*/ 785915 w 6187971"/>
              <a:gd name="connsiteY1278" fmla="*/ 2348273 h 5955635"/>
              <a:gd name="connsiteX1279" fmla="*/ 807499 w 6187971"/>
              <a:gd name="connsiteY1279" fmla="*/ 2266692 h 5955635"/>
              <a:gd name="connsiteX1280" fmla="*/ 823460 w 6187971"/>
              <a:gd name="connsiteY1280" fmla="*/ 2218568 h 5955635"/>
              <a:gd name="connsiteX1281" fmla="*/ 830609 w 6187971"/>
              <a:gd name="connsiteY1281" fmla="*/ 2217040 h 5955635"/>
              <a:gd name="connsiteX1282" fmla="*/ 839310 w 6187971"/>
              <a:gd name="connsiteY1282" fmla="*/ 2191634 h 5955635"/>
              <a:gd name="connsiteX1283" fmla="*/ 842852 w 6187971"/>
              <a:gd name="connsiteY1283" fmla="*/ 2186167 h 5955635"/>
              <a:gd name="connsiteX1284" fmla="*/ 840927 w 6187971"/>
              <a:gd name="connsiteY1284" fmla="*/ 2177159 h 5955635"/>
              <a:gd name="connsiteX1285" fmla="*/ 838347 w 6187971"/>
              <a:gd name="connsiteY1285" fmla="*/ 2187130 h 5955635"/>
              <a:gd name="connsiteX1286" fmla="*/ 834806 w 6187971"/>
              <a:gd name="connsiteY1286" fmla="*/ 2192596 h 5955635"/>
              <a:gd name="connsiteX1287" fmla="*/ 827275 w 6187971"/>
              <a:gd name="connsiteY1287" fmla="*/ 2207064 h 5955635"/>
              <a:gd name="connsiteX1288" fmla="*/ 834303 w 6187971"/>
              <a:gd name="connsiteY1288" fmla="*/ 2185873 h 5955635"/>
              <a:gd name="connsiteX1289" fmla="*/ 837385 w 6187971"/>
              <a:gd name="connsiteY1289" fmla="*/ 2182625 h 5955635"/>
              <a:gd name="connsiteX1290" fmla="*/ 836151 w 6187971"/>
              <a:gd name="connsiteY1290" fmla="*/ 2180302 h 5955635"/>
              <a:gd name="connsiteX1291" fmla="*/ 836748 w 6187971"/>
              <a:gd name="connsiteY1291" fmla="*/ 2178498 h 5955635"/>
              <a:gd name="connsiteX1292" fmla="*/ 839464 w 6187971"/>
              <a:gd name="connsiteY1292" fmla="*/ 2170309 h 5955635"/>
              <a:gd name="connsiteX1293" fmla="*/ 839965 w 6187971"/>
              <a:gd name="connsiteY1293" fmla="*/ 2172655 h 5955635"/>
              <a:gd name="connsiteX1294" fmla="*/ 838208 w 6187971"/>
              <a:gd name="connsiteY1294" fmla="*/ 2174097 h 5955635"/>
              <a:gd name="connsiteX1295" fmla="*/ 845313 w 6187971"/>
              <a:gd name="connsiteY1295" fmla="*/ 2152674 h 5955635"/>
              <a:gd name="connsiteX1296" fmla="*/ 849628 w 6187971"/>
              <a:gd name="connsiteY1296" fmla="*/ 2151752 h 5955635"/>
              <a:gd name="connsiteX1297" fmla="*/ 847050 w 6187971"/>
              <a:gd name="connsiteY1297" fmla="*/ 2161723 h 5955635"/>
              <a:gd name="connsiteX1298" fmla="*/ 846087 w 6187971"/>
              <a:gd name="connsiteY1298" fmla="*/ 2157218 h 5955635"/>
              <a:gd name="connsiteX1299" fmla="*/ 843632 w 6187971"/>
              <a:gd name="connsiteY1299" fmla="*/ 2157743 h 5955635"/>
              <a:gd name="connsiteX1300" fmla="*/ 875203 w 6187971"/>
              <a:gd name="connsiteY1300" fmla="*/ 2077877 h 5955635"/>
              <a:gd name="connsiteX1301" fmla="*/ 874366 w 6187971"/>
              <a:gd name="connsiteY1301" fmla="*/ 2081194 h 5955635"/>
              <a:gd name="connsiteX1302" fmla="*/ 881198 w 6187971"/>
              <a:gd name="connsiteY1302" fmla="*/ 2079073 h 5955635"/>
              <a:gd name="connsiteX1303" fmla="*/ 852208 w 6187971"/>
              <a:gd name="connsiteY1303" fmla="*/ 2141782 h 5955635"/>
              <a:gd name="connsiteX1304" fmla="*/ 848676 w 6187971"/>
              <a:gd name="connsiteY1304" fmla="*/ 2142537 h 5955635"/>
              <a:gd name="connsiteX1305" fmla="*/ 849759 w 6187971"/>
              <a:gd name="connsiteY1305" fmla="*/ 2139271 h 5955635"/>
              <a:gd name="connsiteX1306" fmla="*/ 4931467 w 6187971"/>
              <a:gd name="connsiteY1306" fmla="*/ 1175063 h 5955635"/>
              <a:gd name="connsiteX1307" fmla="*/ 4937140 w 6187971"/>
              <a:gd name="connsiteY1307" fmla="*/ 1179573 h 5955635"/>
              <a:gd name="connsiteX1308" fmla="*/ 4931674 w 6187971"/>
              <a:gd name="connsiteY1308" fmla="*/ 1176031 h 5955635"/>
              <a:gd name="connsiteX1309" fmla="*/ 561352 w 6187971"/>
              <a:gd name="connsiteY1309" fmla="*/ 2088239 h 5955635"/>
              <a:gd name="connsiteX1310" fmla="*/ 573826 w 6187971"/>
              <a:gd name="connsiteY1310" fmla="*/ 2087987 h 5955635"/>
              <a:gd name="connsiteX1311" fmla="*/ 582872 w 6187971"/>
              <a:gd name="connsiteY1311" fmla="*/ 2092891 h 5955635"/>
              <a:gd name="connsiteX1312" fmla="*/ 578185 w 6187971"/>
              <a:gd name="connsiteY1312" fmla="*/ 2103852 h 5955635"/>
              <a:gd name="connsiteX1313" fmla="*/ 404548 w 6187971"/>
              <a:gd name="connsiteY1313" fmla="*/ 3073332 h 5955635"/>
              <a:gd name="connsiteX1314" fmla="*/ 414356 w 6187971"/>
              <a:gd name="connsiteY1314" fmla="*/ 3260413 h 5955635"/>
              <a:gd name="connsiteX1315" fmla="*/ 410289 w 6187971"/>
              <a:gd name="connsiteY1315" fmla="*/ 3235547 h 5955635"/>
              <a:gd name="connsiteX1316" fmla="*/ 403101 w 6187971"/>
              <a:gd name="connsiteY1316" fmla="*/ 2771698 h 5955635"/>
              <a:gd name="connsiteX1317" fmla="*/ 408415 w 6187971"/>
              <a:gd name="connsiteY1317" fmla="*/ 2604354 h 5955635"/>
              <a:gd name="connsiteX1318" fmla="*/ 435141 w 6187971"/>
              <a:gd name="connsiteY1318" fmla="*/ 2583001 h 5955635"/>
              <a:gd name="connsiteX1319" fmla="*/ 449176 w 6187971"/>
              <a:gd name="connsiteY1319" fmla="*/ 2566314 h 5955635"/>
              <a:gd name="connsiteX1320" fmla="*/ 552039 w 6187971"/>
              <a:gd name="connsiteY1320" fmla="*/ 2114152 h 5955635"/>
              <a:gd name="connsiteX1321" fmla="*/ 561352 w 6187971"/>
              <a:gd name="connsiteY1321" fmla="*/ 2088239 h 5955635"/>
              <a:gd name="connsiteX1322" fmla="*/ 5705773 w 6187971"/>
              <a:gd name="connsiteY1322" fmla="*/ 955466 h 5955635"/>
              <a:gd name="connsiteX1323" fmla="*/ 5709740 w 6187971"/>
              <a:gd name="connsiteY1323" fmla="*/ 967367 h 5955635"/>
              <a:gd name="connsiteX1324" fmla="*/ 5705773 w 6187971"/>
              <a:gd name="connsiteY1324" fmla="*/ 955466 h 5955635"/>
              <a:gd name="connsiteX1325" fmla="*/ 968004 w 6187971"/>
              <a:gd name="connsiteY1325" fmla="*/ 1863229 h 5955635"/>
              <a:gd name="connsiteX1326" fmla="*/ 968776 w 6187971"/>
              <a:gd name="connsiteY1326" fmla="*/ 1863422 h 5955635"/>
              <a:gd name="connsiteX1327" fmla="*/ 957715 w 6187971"/>
              <a:gd name="connsiteY1327" fmla="*/ 1886114 h 5955635"/>
              <a:gd name="connsiteX1328" fmla="*/ 938869 w 6187971"/>
              <a:gd name="connsiteY1328" fmla="*/ 1930172 h 5955635"/>
              <a:gd name="connsiteX1329" fmla="*/ 906645 w 6187971"/>
              <a:gd name="connsiteY1329" fmla="*/ 2021830 h 5955635"/>
              <a:gd name="connsiteX1330" fmla="*/ 901179 w 6187971"/>
              <a:gd name="connsiteY1330" fmla="*/ 2018288 h 5955635"/>
              <a:gd name="connsiteX1331" fmla="*/ 890505 w 6187971"/>
              <a:gd name="connsiteY1331" fmla="*/ 2048238 h 5955635"/>
              <a:gd name="connsiteX1332" fmla="*/ 877626 w 6187971"/>
              <a:gd name="connsiteY1332" fmla="*/ 2072031 h 5955635"/>
              <a:gd name="connsiteX1333" fmla="*/ 952342 w 6187971"/>
              <a:gd name="connsiteY1333" fmla="*/ 1891751 h 5955635"/>
              <a:gd name="connsiteX1334" fmla="*/ 959967 w 6187971"/>
              <a:gd name="connsiteY1334" fmla="*/ 1872523 h 5955635"/>
              <a:gd name="connsiteX1335" fmla="*/ 968004 w 6187971"/>
              <a:gd name="connsiteY1335" fmla="*/ 1863229 h 5955635"/>
              <a:gd name="connsiteX1336" fmla="*/ 4343712 w 6187971"/>
              <a:gd name="connsiteY1336" fmla="*/ 1135297 h 5955635"/>
              <a:gd name="connsiteX1337" fmla="*/ 4388447 w 6187971"/>
              <a:gd name="connsiteY1337" fmla="*/ 1168954 h 5955635"/>
              <a:gd name="connsiteX1338" fmla="*/ 4474271 w 6187971"/>
              <a:gd name="connsiteY1338" fmla="*/ 1238784 h 5955635"/>
              <a:gd name="connsiteX1339" fmla="*/ 4471193 w 6187971"/>
              <a:gd name="connsiteY1339" fmla="*/ 1238219 h 5955635"/>
              <a:gd name="connsiteX1340" fmla="*/ 4461959 w 6187971"/>
              <a:gd name="connsiteY1340" fmla="*/ 1236526 h 5955635"/>
              <a:gd name="connsiteX1341" fmla="*/ 4467551 w 6187971"/>
              <a:gd name="connsiteY1341" fmla="*/ 1240734 h 5955635"/>
              <a:gd name="connsiteX1342" fmla="*/ 4368285 w 6187971"/>
              <a:gd name="connsiteY1342" fmla="*/ 1174804 h 5955635"/>
              <a:gd name="connsiteX1343" fmla="*/ 4302825 w 6187971"/>
              <a:gd name="connsiteY1343" fmla="*/ 1150076 h 5955635"/>
              <a:gd name="connsiteX1344" fmla="*/ 4474219 w 6187971"/>
              <a:gd name="connsiteY1344" fmla="*/ 1273777 h 5955635"/>
              <a:gd name="connsiteX1345" fmla="*/ 4527622 w 6187971"/>
              <a:gd name="connsiteY1345" fmla="*/ 1312207 h 5955635"/>
              <a:gd name="connsiteX1346" fmla="*/ 4519208 w 6187971"/>
              <a:gd name="connsiteY1346" fmla="*/ 1323392 h 5955635"/>
              <a:gd name="connsiteX1347" fmla="*/ 4535984 w 6187971"/>
              <a:gd name="connsiteY1347" fmla="*/ 1336014 h 5955635"/>
              <a:gd name="connsiteX1348" fmla="*/ 4543833 w 6187971"/>
              <a:gd name="connsiteY1348" fmla="*/ 1327907 h 5955635"/>
              <a:gd name="connsiteX1349" fmla="*/ 4631607 w 6187971"/>
              <a:gd name="connsiteY1349" fmla="*/ 1404458 h 5955635"/>
              <a:gd name="connsiteX1350" fmla="*/ 4674083 w 6187971"/>
              <a:gd name="connsiteY1350" fmla="*/ 1450430 h 5955635"/>
              <a:gd name="connsiteX1351" fmla="*/ 4719073 w 6187971"/>
              <a:gd name="connsiteY1351" fmla="*/ 1500045 h 5955635"/>
              <a:gd name="connsiteX1352" fmla="*/ 4701734 w 6187971"/>
              <a:gd name="connsiteY1352" fmla="*/ 1490503 h 5955635"/>
              <a:gd name="connsiteX1353" fmla="*/ 4700605 w 6187971"/>
              <a:gd name="connsiteY1353" fmla="*/ 1496660 h 5955635"/>
              <a:gd name="connsiteX1354" fmla="*/ 4734976 w 6187971"/>
              <a:gd name="connsiteY1354" fmla="*/ 1534781 h 5955635"/>
              <a:gd name="connsiteX1355" fmla="*/ 4743645 w 6187971"/>
              <a:gd name="connsiteY1355" fmla="*/ 1539553 h 5955635"/>
              <a:gd name="connsiteX1356" fmla="*/ 4748981 w 6187971"/>
              <a:gd name="connsiteY1356" fmla="*/ 1527803 h 5955635"/>
              <a:gd name="connsiteX1357" fmla="*/ 4787814 w 6187971"/>
              <a:gd name="connsiteY1357" fmla="*/ 1576290 h 5955635"/>
              <a:gd name="connsiteX1358" fmla="*/ 4835318 w 6187971"/>
              <a:gd name="connsiteY1358" fmla="*/ 1629548 h 5955635"/>
              <a:gd name="connsiteX1359" fmla="*/ 4841474 w 6187971"/>
              <a:gd name="connsiteY1359" fmla="*/ 1630676 h 5955635"/>
              <a:gd name="connsiteX1360" fmla="*/ 4867175 w 6187971"/>
              <a:gd name="connsiteY1360" fmla="*/ 1664027 h 5955635"/>
              <a:gd name="connsiteX1361" fmla="*/ 4885335 w 6187971"/>
              <a:gd name="connsiteY1361" fmla="*/ 1686449 h 5955635"/>
              <a:gd name="connsiteX1362" fmla="*/ 4983932 w 6187971"/>
              <a:gd name="connsiteY1362" fmla="*/ 1825444 h 5955635"/>
              <a:gd name="connsiteX1363" fmla="*/ 4997064 w 6187971"/>
              <a:gd name="connsiteY1363" fmla="*/ 1840580 h 5955635"/>
              <a:gd name="connsiteX1364" fmla="*/ 5000399 w 6187971"/>
              <a:gd name="connsiteY1364" fmla="*/ 1857102 h 5955635"/>
              <a:gd name="connsiteX1365" fmla="*/ 4978032 w 6187971"/>
              <a:gd name="connsiteY1365" fmla="*/ 1840273 h 5955635"/>
              <a:gd name="connsiteX1366" fmla="*/ 4997577 w 6187971"/>
              <a:gd name="connsiteY1366" fmla="*/ 1872495 h 5955635"/>
              <a:gd name="connsiteX1367" fmla="*/ 4998962 w 6187971"/>
              <a:gd name="connsiteY1367" fmla="*/ 1882295 h 5955635"/>
              <a:gd name="connsiteX1368" fmla="*/ 4997577 w 6187971"/>
              <a:gd name="connsiteY1368" fmla="*/ 1872495 h 5955635"/>
              <a:gd name="connsiteX1369" fmla="*/ 5021329 w 6187971"/>
              <a:gd name="connsiteY1369" fmla="*/ 1899124 h 5955635"/>
              <a:gd name="connsiteX1370" fmla="*/ 5021072 w 6187971"/>
              <a:gd name="connsiteY1370" fmla="*/ 1883167 h 5955635"/>
              <a:gd name="connsiteX1371" fmla="*/ 5029742 w 6187971"/>
              <a:gd name="connsiteY1371" fmla="*/ 1887937 h 5955635"/>
              <a:gd name="connsiteX1372" fmla="*/ 5038977 w 6187971"/>
              <a:gd name="connsiteY1372" fmla="*/ 1889630 h 5955635"/>
              <a:gd name="connsiteX1373" fmla="*/ 5036463 w 6187971"/>
              <a:gd name="connsiteY1373" fmla="*/ 1885988 h 5955635"/>
              <a:gd name="connsiteX1374" fmla="*/ 5035898 w 6187971"/>
              <a:gd name="connsiteY1374" fmla="*/ 1889066 h 5955635"/>
              <a:gd name="connsiteX1375" fmla="*/ 5035334 w 6187971"/>
              <a:gd name="connsiteY1375" fmla="*/ 1892145 h 5955635"/>
              <a:gd name="connsiteX1376" fmla="*/ 5040926 w 6187971"/>
              <a:gd name="connsiteY1376" fmla="*/ 1896352 h 5955635"/>
              <a:gd name="connsiteX1377" fmla="*/ 5052930 w 6187971"/>
              <a:gd name="connsiteY1377" fmla="*/ 1917645 h 5955635"/>
              <a:gd name="connsiteX1378" fmla="*/ 5057957 w 6187971"/>
              <a:gd name="connsiteY1378" fmla="*/ 1924931 h 5955635"/>
              <a:gd name="connsiteX1379" fmla="*/ 5056008 w 6187971"/>
              <a:gd name="connsiteY1379" fmla="*/ 1918210 h 5955635"/>
              <a:gd name="connsiteX1380" fmla="*/ 5056572 w 6187971"/>
              <a:gd name="connsiteY1380" fmla="*/ 1915131 h 5955635"/>
              <a:gd name="connsiteX1381" fmla="*/ 5100125 w 6187971"/>
              <a:gd name="connsiteY1381" fmla="*/ 1989940 h 5955635"/>
              <a:gd name="connsiteX1382" fmla="*/ 5074115 w 6187971"/>
              <a:gd name="connsiteY1382" fmla="*/ 1975625 h 5955635"/>
              <a:gd name="connsiteX1383" fmla="*/ 5074372 w 6187971"/>
              <a:gd name="connsiteY1383" fmla="*/ 1991583 h 5955635"/>
              <a:gd name="connsiteX1384" fmla="*/ 5095301 w 6187971"/>
              <a:gd name="connsiteY1384" fmla="*/ 2033605 h 5955635"/>
              <a:gd name="connsiteX1385" fmla="*/ 5098943 w 6187971"/>
              <a:gd name="connsiteY1385" fmla="*/ 2031091 h 5955635"/>
              <a:gd name="connsiteX1386" fmla="*/ 5116231 w 6187971"/>
              <a:gd name="connsiteY1386" fmla="*/ 2075627 h 5955635"/>
              <a:gd name="connsiteX1387" fmla="*/ 5153627 w 6187971"/>
              <a:gd name="connsiteY1387" fmla="*/ 2149306 h 5955635"/>
              <a:gd name="connsiteX1388" fmla="*/ 5149420 w 6187971"/>
              <a:gd name="connsiteY1388" fmla="*/ 2154900 h 5955635"/>
              <a:gd name="connsiteX1389" fmla="*/ 5179788 w 6187971"/>
              <a:gd name="connsiteY1389" fmla="*/ 2249565 h 5955635"/>
              <a:gd name="connsiteX1390" fmla="*/ 5208206 w 6187971"/>
              <a:gd name="connsiteY1390" fmla="*/ 2337510 h 5955635"/>
              <a:gd name="connsiteX1391" fmla="*/ 5214363 w 6187971"/>
              <a:gd name="connsiteY1391" fmla="*/ 2338638 h 5955635"/>
              <a:gd name="connsiteX1392" fmla="*/ 5216568 w 6187971"/>
              <a:gd name="connsiteY1392" fmla="*/ 2361317 h 5955635"/>
              <a:gd name="connsiteX1393" fmla="*/ 5236624 w 6187971"/>
              <a:gd name="connsiteY1393" fmla="*/ 2425454 h 5955635"/>
              <a:gd name="connsiteX1394" fmla="*/ 5235187 w 6187971"/>
              <a:gd name="connsiteY1394" fmla="*/ 2450647 h 5955635"/>
              <a:gd name="connsiteX1395" fmla="*/ 5243805 w 6187971"/>
              <a:gd name="connsiteY1395" fmla="*/ 2490413 h 5955635"/>
              <a:gd name="connsiteX1396" fmla="*/ 5256629 w 6187971"/>
              <a:gd name="connsiteY1396" fmla="*/ 2524584 h 5955635"/>
              <a:gd name="connsiteX1397" fmla="*/ 5251963 w 6187971"/>
              <a:gd name="connsiteY1397" fmla="*/ 2463269 h 5955635"/>
              <a:gd name="connsiteX1398" fmla="*/ 5233034 w 6187971"/>
              <a:gd name="connsiteY1398" fmla="*/ 2392975 h 5955635"/>
              <a:gd name="connsiteX1399" fmla="*/ 5229701 w 6187971"/>
              <a:gd name="connsiteY1399" fmla="*/ 2376453 h 5955635"/>
              <a:gd name="connsiteX1400" fmla="*/ 5206362 w 6187971"/>
              <a:gd name="connsiteY1400" fmla="*/ 2260801 h 5955635"/>
              <a:gd name="connsiteX1401" fmla="*/ 5137469 w 6187971"/>
              <a:gd name="connsiteY1401" fmla="*/ 2098614 h 5955635"/>
              <a:gd name="connsiteX1402" fmla="*/ 5143369 w 6187971"/>
              <a:gd name="connsiteY1402" fmla="*/ 2083784 h 5955635"/>
              <a:gd name="connsiteX1403" fmla="*/ 5128031 w 6187971"/>
              <a:gd name="connsiteY1403" fmla="*/ 2045969 h 5955635"/>
              <a:gd name="connsiteX1404" fmla="*/ 5130544 w 6187971"/>
              <a:gd name="connsiteY1404" fmla="*/ 2049612 h 5955635"/>
              <a:gd name="connsiteX1405" fmla="*/ 5133058 w 6187971"/>
              <a:gd name="connsiteY1405" fmla="*/ 2053255 h 5955635"/>
              <a:gd name="connsiteX1406" fmla="*/ 5131109 w 6187971"/>
              <a:gd name="connsiteY1406" fmla="*/ 2046534 h 5955635"/>
              <a:gd name="connsiteX1407" fmla="*/ 5128595 w 6187971"/>
              <a:gd name="connsiteY1407" fmla="*/ 2042891 h 5955635"/>
              <a:gd name="connsiteX1408" fmla="*/ 5129159 w 6187971"/>
              <a:gd name="connsiteY1408" fmla="*/ 2039812 h 5955635"/>
              <a:gd name="connsiteX1409" fmla="*/ 5099868 w 6187971"/>
              <a:gd name="connsiteY1409" fmla="*/ 1973982 h 5955635"/>
              <a:gd name="connsiteX1410" fmla="*/ 5039284 w 6187971"/>
              <a:gd name="connsiteY1410" fmla="*/ 1870595 h 5955635"/>
              <a:gd name="connsiteX1411" fmla="*/ 5022818 w 6187971"/>
              <a:gd name="connsiteY1411" fmla="*/ 1838937 h 5955635"/>
              <a:gd name="connsiteX1412" fmla="*/ 4949357 w 6187971"/>
              <a:gd name="connsiteY1412" fmla="*/ 1736371 h 5955635"/>
              <a:gd name="connsiteX1413" fmla="*/ 4937353 w 6187971"/>
              <a:gd name="connsiteY1413" fmla="*/ 1715077 h 5955635"/>
              <a:gd name="connsiteX1414" fmla="*/ 4939867 w 6187971"/>
              <a:gd name="connsiteY1414" fmla="*/ 1718720 h 5955635"/>
              <a:gd name="connsiteX1415" fmla="*/ 4942945 w 6187971"/>
              <a:gd name="connsiteY1415" fmla="*/ 1719285 h 5955635"/>
              <a:gd name="connsiteX1416" fmla="*/ 4937918 w 6187971"/>
              <a:gd name="connsiteY1416" fmla="*/ 1711999 h 5955635"/>
              <a:gd name="connsiteX1417" fmla="*/ 4935404 w 6187971"/>
              <a:gd name="connsiteY1417" fmla="*/ 1708356 h 5955635"/>
              <a:gd name="connsiteX1418" fmla="*/ 4962234 w 6187971"/>
              <a:gd name="connsiteY1418" fmla="*/ 1735550 h 5955635"/>
              <a:gd name="connsiteX1419" fmla="*/ 4950794 w 6187971"/>
              <a:gd name="connsiteY1419" fmla="*/ 1711178 h 5955635"/>
              <a:gd name="connsiteX1420" fmla="*/ 4953873 w 6187971"/>
              <a:gd name="connsiteY1420" fmla="*/ 1711742 h 5955635"/>
              <a:gd name="connsiteX1421" fmla="*/ 4956387 w 6187971"/>
              <a:gd name="connsiteY1421" fmla="*/ 1715384 h 5955635"/>
              <a:gd name="connsiteX1422" fmla="*/ 4954437 w 6187971"/>
              <a:gd name="connsiteY1422" fmla="*/ 1708663 h 5955635"/>
              <a:gd name="connsiteX1423" fmla="*/ 4951924 w 6187971"/>
              <a:gd name="connsiteY1423" fmla="*/ 1705020 h 5955635"/>
              <a:gd name="connsiteX1424" fmla="*/ 4963107 w 6187971"/>
              <a:gd name="connsiteY1424" fmla="*/ 1713436 h 5955635"/>
              <a:gd name="connsiteX1425" fmla="*/ 4922888 w 6187971"/>
              <a:gd name="connsiteY1425" fmla="*/ 1655149 h 5955635"/>
              <a:gd name="connsiteX1426" fmla="*/ 4892416 w 6187971"/>
              <a:gd name="connsiteY1426" fmla="*/ 1630469 h 5955635"/>
              <a:gd name="connsiteX1427" fmla="*/ 4889903 w 6187971"/>
              <a:gd name="connsiteY1427" fmla="*/ 1626826 h 5955635"/>
              <a:gd name="connsiteX1428" fmla="*/ 4884876 w 6187971"/>
              <a:gd name="connsiteY1428" fmla="*/ 1619540 h 5955635"/>
              <a:gd name="connsiteX1429" fmla="*/ 4884310 w 6187971"/>
              <a:gd name="connsiteY1429" fmla="*/ 1622619 h 5955635"/>
              <a:gd name="connsiteX1430" fmla="*/ 4886824 w 6187971"/>
              <a:gd name="connsiteY1430" fmla="*/ 1626263 h 5955635"/>
              <a:gd name="connsiteX1431" fmla="*/ 4870050 w 6187971"/>
              <a:gd name="connsiteY1431" fmla="*/ 1613640 h 5955635"/>
              <a:gd name="connsiteX1432" fmla="*/ 4856608 w 6187971"/>
              <a:gd name="connsiteY1432" fmla="*/ 1617541 h 5955635"/>
              <a:gd name="connsiteX1433" fmla="*/ 4794023 w 6187971"/>
              <a:gd name="connsiteY1433" fmla="*/ 1542425 h 5955635"/>
              <a:gd name="connsiteX1434" fmla="*/ 4774734 w 6187971"/>
              <a:gd name="connsiteY1434" fmla="*/ 1526160 h 5955635"/>
              <a:gd name="connsiteX1435" fmla="*/ 4686704 w 6187971"/>
              <a:gd name="connsiteY1435" fmla="*/ 1433652 h 5955635"/>
              <a:gd name="connsiteX1436" fmla="*/ 4598109 w 6187971"/>
              <a:gd name="connsiteY1436" fmla="*/ 1344221 h 5955635"/>
              <a:gd name="connsiteX1437" fmla="*/ 4601187 w 6187971"/>
              <a:gd name="connsiteY1437" fmla="*/ 1344786 h 5955635"/>
              <a:gd name="connsiteX1438" fmla="*/ 4606779 w 6187971"/>
              <a:gd name="connsiteY1438" fmla="*/ 1348993 h 5955635"/>
              <a:gd name="connsiteX1439" fmla="*/ 4601751 w 6187971"/>
              <a:gd name="connsiteY1439" fmla="*/ 1341707 h 5955635"/>
              <a:gd name="connsiteX1440" fmla="*/ 4596160 w 6187971"/>
              <a:gd name="connsiteY1440" fmla="*/ 1337500 h 5955635"/>
              <a:gd name="connsiteX1441" fmla="*/ 4602316 w 6187971"/>
              <a:gd name="connsiteY1441" fmla="*/ 1338629 h 5955635"/>
              <a:gd name="connsiteX1442" fmla="*/ 4687012 w 6187971"/>
              <a:gd name="connsiteY1442" fmla="*/ 1414615 h 5955635"/>
              <a:gd name="connsiteX1443" fmla="*/ 4688706 w 6187971"/>
              <a:gd name="connsiteY1443" fmla="*/ 1405380 h 5955635"/>
              <a:gd name="connsiteX1444" fmla="*/ 4663260 w 6187971"/>
              <a:gd name="connsiteY1444" fmla="*/ 1387986 h 5955635"/>
              <a:gd name="connsiteX1445" fmla="*/ 4628326 w 6187971"/>
              <a:gd name="connsiteY1445" fmla="*/ 1352943 h 5955635"/>
              <a:gd name="connsiteX1446" fmla="*/ 4505052 w 6187971"/>
              <a:gd name="connsiteY1446" fmla="*/ 1244426 h 5955635"/>
              <a:gd name="connsiteX1447" fmla="*/ 4490790 w 6187971"/>
              <a:gd name="connsiteY1447" fmla="*/ 1235448 h 5955635"/>
              <a:gd name="connsiteX1448" fmla="*/ 4434308 w 6187971"/>
              <a:gd name="connsiteY1448" fmla="*/ 1196454 h 5955635"/>
              <a:gd name="connsiteX1449" fmla="*/ 4430410 w 6187971"/>
              <a:gd name="connsiteY1449" fmla="*/ 1183012 h 5955635"/>
              <a:gd name="connsiteX1450" fmla="*/ 4400759 w 6187971"/>
              <a:gd name="connsiteY1450" fmla="*/ 1171212 h 5955635"/>
              <a:gd name="connsiteX1451" fmla="*/ 4407479 w 6187971"/>
              <a:gd name="connsiteY1451" fmla="*/ 1169261 h 5955635"/>
              <a:gd name="connsiteX1452" fmla="*/ 4343712 w 6187971"/>
              <a:gd name="connsiteY1452" fmla="*/ 1135297 h 5955635"/>
              <a:gd name="connsiteX1453" fmla="*/ 1318845 w 6187971"/>
              <a:gd name="connsiteY1453" fmla="*/ 1535771 h 5955635"/>
              <a:gd name="connsiteX1454" fmla="*/ 1298829 w 6187971"/>
              <a:gd name="connsiteY1454" fmla="*/ 1573056 h 5955635"/>
              <a:gd name="connsiteX1455" fmla="*/ 1293203 w 6187971"/>
              <a:gd name="connsiteY1455" fmla="*/ 1595921 h 5955635"/>
              <a:gd name="connsiteX1456" fmla="*/ 1293532 w 6187971"/>
              <a:gd name="connsiteY1456" fmla="*/ 1599724 h 5955635"/>
              <a:gd name="connsiteX1457" fmla="*/ 1289333 w 6187971"/>
              <a:gd name="connsiteY1457" fmla="*/ 1608630 h 5955635"/>
              <a:gd name="connsiteX1458" fmla="*/ 1270060 w 6187971"/>
              <a:gd name="connsiteY1458" fmla="*/ 1628642 h 5955635"/>
              <a:gd name="connsiteX1459" fmla="*/ 1238185 w 6187971"/>
              <a:gd name="connsiteY1459" fmla="*/ 1677840 h 5955635"/>
              <a:gd name="connsiteX1460" fmla="*/ 1233025 w 6187971"/>
              <a:gd name="connsiteY1460" fmla="*/ 1697780 h 5955635"/>
              <a:gd name="connsiteX1461" fmla="*/ 1232063 w 6187971"/>
              <a:gd name="connsiteY1461" fmla="*/ 1693276 h 5955635"/>
              <a:gd name="connsiteX1462" fmla="*/ 1231100 w 6187971"/>
              <a:gd name="connsiteY1462" fmla="*/ 1688772 h 5955635"/>
              <a:gd name="connsiteX1463" fmla="*/ 1226596 w 6187971"/>
              <a:gd name="connsiteY1463" fmla="*/ 1689735 h 5955635"/>
              <a:gd name="connsiteX1464" fmla="*/ 1223055 w 6187971"/>
              <a:gd name="connsiteY1464" fmla="*/ 1695201 h 5955635"/>
              <a:gd name="connsiteX1465" fmla="*/ 1225942 w 6187971"/>
              <a:gd name="connsiteY1465" fmla="*/ 1708713 h 5955635"/>
              <a:gd name="connsiteX1466" fmla="*/ 1219820 w 6187971"/>
              <a:gd name="connsiteY1466" fmla="*/ 1724150 h 5955635"/>
              <a:gd name="connsiteX1467" fmla="*/ 1210812 w 6187971"/>
              <a:gd name="connsiteY1467" fmla="*/ 1726074 h 5955635"/>
              <a:gd name="connsiteX1468" fmla="*/ 1209850 w 6187971"/>
              <a:gd name="connsiteY1468" fmla="*/ 1721570 h 5955635"/>
              <a:gd name="connsiteX1469" fmla="*/ 1205346 w 6187971"/>
              <a:gd name="connsiteY1469" fmla="*/ 1722532 h 5955635"/>
              <a:gd name="connsiteX1470" fmla="*/ 1206308 w 6187971"/>
              <a:gd name="connsiteY1470" fmla="*/ 1727037 h 5955635"/>
              <a:gd name="connsiteX1471" fmla="*/ 1207270 w 6187971"/>
              <a:gd name="connsiteY1471" fmla="*/ 1731541 h 5955635"/>
              <a:gd name="connsiteX1472" fmla="*/ 1204690 w 6187971"/>
              <a:gd name="connsiteY1472" fmla="*/ 1741511 h 5955635"/>
              <a:gd name="connsiteX1473" fmla="*/ 1201149 w 6187971"/>
              <a:gd name="connsiteY1473" fmla="*/ 1746977 h 5955635"/>
              <a:gd name="connsiteX1474" fmla="*/ 1196645 w 6187971"/>
              <a:gd name="connsiteY1474" fmla="*/ 1747940 h 5955635"/>
              <a:gd name="connsiteX1475" fmla="*/ 1193103 w 6187971"/>
              <a:gd name="connsiteY1475" fmla="*/ 1753405 h 5955635"/>
              <a:gd name="connsiteX1476" fmla="*/ 1197607 w 6187971"/>
              <a:gd name="connsiteY1476" fmla="*/ 1752443 h 5955635"/>
              <a:gd name="connsiteX1477" fmla="*/ 1194065 w 6187971"/>
              <a:gd name="connsiteY1477" fmla="*/ 1757910 h 5955635"/>
              <a:gd name="connsiteX1478" fmla="*/ 1155105 w 6187971"/>
              <a:gd name="connsiteY1478" fmla="*/ 1818040 h 5955635"/>
              <a:gd name="connsiteX1479" fmla="*/ 1150601 w 6187971"/>
              <a:gd name="connsiteY1479" fmla="*/ 1819002 h 5955635"/>
              <a:gd name="connsiteX1480" fmla="*/ 1151563 w 6187971"/>
              <a:gd name="connsiteY1480" fmla="*/ 1823506 h 5955635"/>
              <a:gd name="connsiteX1481" fmla="*/ 1148022 w 6187971"/>
              <a:gd name="connsiteY1481" fmla="*/ 1828972 h 5955635"/>
              <a:gd name="connsiteX1482" fmla="*/ 1148984 w 6187971"/>
              <a:gd name="connsiteY1482" fmla="*/ 1833476 h 5955635"/>
              <a:gd name="connsiteX1483" fmla="*/ 1142555 w 6187971"/>
              <a:gd name="connsiteY1483" fmla="*/ 1825430 h 5955635"/>
              <a:gd name="connsiteX1484" fmla="*/ 1128388 w 6187971"/>
              <a:gd name="connsiteY1484" fmla="*/ 1847295 h 5955635"/>
              <a:gd name="connsiteX1485" fmla="*/ 1123884 w 6187971"/>
              <a:gd name="connsiteY1485" fmla="*/ 1848258 h 5955635"/>
              <a:gd name="connsiteX1486" fmla="*/ 1121709 w 6187971"/>
              <a:gd name="connsiteY1486" fmla="*/ 1845626 h 5955635"/>
              <a:gd name="connsiteX1487" fmla="*/ 1123442 w 6187971"/>
              <a:gd name="connsiteY1487" fmla="*/ 1842951 h 5955635"/>
              <a:gd name="connsiteX1488" fmla="*/ 1125256 w 6187971"/>
              <a:gd name="connsiteY1488" fmla="*/ 1840901 h 5955635"/>
              <a:gd name="connsiteX1489" fmla="*/ 1130005 w 6187971"/>
              <a:gd name="connsiteY1489" fmla="*/ 1832821 h 5955635"/>
              <a:gd name="connsiteX1490" fmla="*/ 1123442 w 6187971"/>
              <a:gd name="connsiteY1490" fmla="*/ 1842951 h 5955635"/>
              <a:gd name="connsiteX1491" fmla="*/ 1121403 w 6187971"/>
              <a:gd name="connsiteY1491" fmla="*/ 1845256 h 5955635"/>
              <a:gd name="connsiteX1492" fmla="*/ 1121709 w 6187971"/>
              <a:gd name="connsiteY1492" fmla="*/ 1845626 h 5955635"/>
              <a:gd name="connsiteX1493" fmla="*/ 1105213 w 6187971"/>
              <a:gd name="connsiteY1493" fmla="*/ 1871085 h 5955635"/>
              <a:gd name="connsiteX1494" fmla="*/ 1087503 w 6187971"/>
              <a:gd name="connsiteY1494" fmla="*/ 1898417 h 5955635"/>
              <a:gd name="connsiteX1495" fmla="*/ 1074299 w 6187971"/>
              <a:gd name="connsiteY1495" fmla="*/ 1924786 h 5955635"/>
              <a:gd name="connsiteX1496" fmla="*/ 1042423 w 6187971"/>
              <a:gd name="connsiteY1496" fmla="*/ 1973983 h 5955635"/>
              <a:gd name="connsiteX1497" fmla="*/ 1036301 w 6187971"/>
              <a:gd name="connsiteY1497" fmla="*/ 1989420 h 5955635"/>
              <a:gd name="connsiteX1498" fmla="*/ 1028255 w 6187971"/>
              <a:gd name="connsiteY1498" fmla="*/ 1995849 h 5955635"/>
              <a:gd name="connsiteX1499" fmla="*/ 1024713 w 6187971"/>
              <a:gd name="connsiteY1499" fmla="*/ 2001315 h 5955635"/>
              <a:gd name="connsiteX1500" fmla="*/ 1015050 w 6187971"/>
              <a:gd name="connsiteY1500" fmla="*/ 2022217 h 5955635"/>
              <a:gd name="connsiteX1501" fmla="*/ 1008928 w 6187971"/>
              <a:gd name="connsiteY1501" fmla="*/ 2037654 h 5955635"/>
              <a:gd name="connsiteX1502" fmla="*/ 998303 w 6187971"/>
              <a:gd name="connsiteY1502" fmla="*/ 2054054 h 5955635"/>
              <a:gd name="connsiteX1503" fmla="*/ 910066 w 6187971"/>
              <a:gd name="connsiteY1503" fmla="*/ 2214194 h 5955635"/>
              <a:gd name="connsiteX1504" fmla="*/ 907117 w 6187971"/>
              <a:gd name="connsiteY1504" fmla="*/ 2214824 h 5955635"/>
              <a:gd name="connsiteX1505" fmla="*/ 908116 w 6187971"/>
              <a:gd name="connsiteY1505" fmla="*/ 2211343 h 5955635"/>
              <a:gd name="connsiteX1506" fmla="*/ 972795 w 6187971"/>
              <a:gd name="connsiteY1506" fmla="*/ 2040882 h 5955635"/>
              <a:gd name="connsiteX1507" fmla="*/ 979961 w 6187971"/>
              <a:gd name="connsiteY1507" fmla="*/ 2024343 h 5955635"/>
              <a:gd name="connsiteX1508" fmla="*/ 983522 w 6187971"/>
              <a:gd name="connsiteY1508" fmla="*/ 2028953 h 5955635"/>
              <a:gd name="connsiteX1509" fmla="*/ 986429 w 6187971"/>
              <a:gd name="connsiteY1509" fmla="*/ 2010313 h 5955635"/>
              <a:gd name="connsiteX1510" fmla="*/ 991511 w 6187971"/>
              <a:gd name="connsiteY1510" fmla="*/ 1999574 h 5955635"/>
              <a:gd name="connsiteX1511" fmla="*/ 994802 w 6187971"/>
              <a:gd name="connsiteY1511" fmla="*/ 1993577 h 5955635"/>
              <a:gd name="connsiteX1512" fmla="*/ 999306 w 6187971"/>
              <a:gd name="connsiteY1512" fmla="*/ 1992615 h 5955635"/>
              <a:gd name="connsiteX1513" fmla="*/ 1000115 w 6187971"/>
              <a:gd name="connsiteY1513" fmla="*/ 1985377 h 5955635"/>
              <a:gd name="connsiteX1514" fmla="*/ 1000698 w 6187971"/>
              <a:gd name="connsiteY1514" fmla="*/ 1980161 h 5955635"/>
              <a:gd name="connsiteX1515" fmla="*/ 1001566 w 6187971"/>
              <a:gd name="connsiteY1515" fmla="*/ 1978326 h 5955635"/>
              <a:gd name="connsiteX1516" fmla="*/ 1004140 w 6187971"/>
              <a:gd name="connsiteY1516" fmla="*/ 1979072 h 5955635"/>
              <a:gd name="connsiteX1517" fmla="*/ 1018633 w 6187971"/>
              <a:gd name="connsiteY1517" fmla="*/ 1950808 h 5955635"/>
              <a:gd name="connsiteX1518" fmla="*/ 1038266 w 6187971"/>
              <a:gd name="connsiteY1518" fmla="*/ 1932485 h 5955635"/>
              <a:gd name="connsiteX1519" fmla="*/ 1099132 w 6187971"/>
              <a:gd name="connsiteY1519" fmla="*/ 1820578 h 5955635"/>
              <a:gd name="connsiteX1520" fmla="*/ 1113299 w 6187971"/>
              <a:gd name="connsiteY1520" fmla="*/ 1798714 h 5955635"/>
              <a:gd name="connsiteX1521" fmla="*/ 1204731 w 6187971"/>
              <a:gd name="connsiteY1521" fmla="*/ 1675567 h 5955635"/>
              <a:gd name="connsiteX1522" fmla="*/ 1226944 w 6187971"/>
              <a:gd name="connsiteY1522" fmla="*/ 1647273 h 5955635"/>
              <a:gd name="connsiteX1523" fmla="*/ 1225982 w 6187971"/>
              <a:gd name="connsiteY1523" fmla="*/ 1642769 h 5955635"/>
              <a:gd name="connsiteX1524" fmla="*/ 1231449 w 6187971"/>
              <a:gd name="connsiteY1524" fmla="*/ 1646311 h 5955635"/>
              <a:gd name="connsiteX1525" fmla="*/ 1238532 w 6187971"/>
              <a:gd name="connsiteY1525" fmla="*/ 1635378 h 5955635"/>
              <a:gd name="connsiteX1526" fmla="*/ 1242074 w 6187971"/>
              <a:gd name="connsiteY1526" fmla="*/ 1629913 h 5955635"/>
              <a:gd name="connsiteX1527" fmla="*/ 1237570 w 6187971"/>
              <a:gd name="connsiteY1527" fmla="*/ 1630875 h 5955635"/>
              <a:gd name="connsiteX1528" fmla="*/ 1290042 w 6187971"/>
              <a:gd name="connsiteY1528" fmla="*/ 1567858 h 5955635"/>
              <a:gd name="connsiteX1529" fmla="*/ 1314235 w 6187971"/>
              <a:gd name="connsiteY1529" fmla="*/ 1540908 h 5955635"/>
              <a:gd name="connsiteX1530" fmla="*/ 4439702 w 6187971"/>
              <a:gd name="connsiteY1530" fmla="*/ 857271 h 5955635"/>
              <a:gd name="connsiteX1531" fmla="*/ 4444206 w 6187971"/>
              <a:gd name="connsiteY1531" fmla="*/ 856309 h 5955635"/>
              <a:gd name="connsiteX1532" fmla="*/ 4445168 w 6187971"/>
              <a:gd name="connsiteY1532" fmla="*/ 860813 h 5955635"/>
              <a:gd name="connsiteX1533" fmla="*/ 4439702 w 6187971"/>
              <a:gd name="connsiteY1533" fmla="*/ 857271 h 5955635"/>
              <a:gd name="connsiteX1534" fmla="*/ 4439395 w 6187971"/>
              <a:gd name="connsiteY1534" fmla="*/ 833789 h 5955635"/>
              <a:gd name="connsiteX1535" fmla="*/ 4444862 w 6187971"/>
              <a:gd name="connsiteY1535" fmla="*/ 837331 h 5955635"/>
              <a:gd name="connsiteX1536" fmla="*/ 4440357 w 6187971"/>
              <a:gd name="connsiteY1536" fmla="*/ 838293 h 5955635"/>
              <a:gd name="connsiteX1537" fmla="*/ 4439395 w 6187971"/>
              <a:gd name="connsiteY1537" fmla="*/ 833789 h 5955635"/>
              <a:gd name="connsiteX1538" fmla="*/ 3878041 w 6187971"/>
              <a:gd name="connsiteY1538" fmla="*/ 775787 h 5955635"/>
              <a:gd name="connsiteX1539" fmla="*/ 3885822 w 6187971"/>
              <a:gd name="connsiteY1539" fmla="*/ 777801 h 5955635"/>
              <a:gd name="connsiteX1540" fmla="*/ 3881318 w 6187971"/>
              <a:gd name="connsiteY1540" fmla="*/ 778763 h 5955635"/>
              <a:gd name="connsiteX1541" fmla="*/ 1104676 w 6187971"/>
              <a:gd name="connsiteY1541" fmla="*/ 1330248 h 5955635"/>
              <a:gd name="connsiteX1542" fmla="*/ 1094527 w 6187971"/>
              <a:gd name="connsiteY1542" fmla="*/ 1352482 h 5955635"/>
              <a:gd name="connsiteX1543" fmla="*/ 1064045 w 6187971"/>
              <a:gd name="connsiteY1543" fmla="*/ 1398591 h 5955635"/>
              <a:gd name="connsiteX1544" fmla="*/ 578456 w 6187971"/>
              <a:gd name="connsiteY1544" fmla="*/ 2585624 h 5955635"/>
              <a:gd name="connsiteX1545" fmla="*/ 575225 w 6187971"/>
              <a:gd name="connsiteY1545" fmla="*/ 2625422 h 5955635"/>
              <a:gd name="connsiteX1546" fmla="*/ 589292 w 6187971"/>
              <a:gd name="connsiteY1546" fmla="*/ 2984165 h 5955635"/>
              <a:gd name="connsiteX1547" fmla="*/ 621678 w 6187971"/>
              <a:gd name="connsiteY1547" fmla="*/ 3309663 h 5955635"/>
              <a:gd name="connsiteX1548" fmla="*/ 637489 w 6187971"/>
              <a:gd name="connsiteY1548" fmla="*/ 3228070 h 5955635"/>
              <a:gd name="connsiteX1549" fmla="*/ 616036 w 6187971"/>
              <a:gd name="connsiteY1549" fmla="*/ 2935433 h 5955635"/>
              <a:gd name="connsiteX1550" fmla="*/ 887499 w 6187971"/>
              <a:gd name="connsiteY1550" fmla="*/ 1780458 h 5955635"/>
              <a:gd name="connsiteX1551" fmla="*/ 997109 w 6187971"/>
              <a:gd name="connsiteY1551" fmla="*/ 1643628 h 5955635"/>
              <a:gd name="connsiteX1552" fmla="*/ 1014774 w 6187971"/>
              <a:gd name="connsiteY1552" fmla="*/ 1589014 h 5955635"/>
              <a:gd name="connsiteX1553" fmla="*/ 1051413 w 6187971"/>
              <a:gd name="connsiteY1553" fmla="*/ 1522524 h 5955635"/>
              <a:gd name="connsiteX1554" fmla="*/ 1104050 w 6187971"/>
              <a:gd name="connsiteY1554" fmla="*/ 1503457 h 5955635"/>
              <a:gd name="connsiteX1555" fmla="*/ 1050162 w 6187971"/>
              <a:gd name="connsiteY1555" fmla="*/ 1599052 h 5955635"/>
              <a:gd name="connsiteX1556" fmla="*/ 889954 w 6187971"/>
              <a:gd name="connsiteY1556" fmla="*/ 1910945 h 5955635"/>
              <a:gd name="connsiteX1557" fmla="*/ 871201 w 6187971"/>
              <a:gd name="connsiteY1557" fmla="*/ 1997079 h 5955635"/>
              <a:gd name="connsiteX1558" fmla="*/ 857404 w 6187971"/>
              <a:gd name="connsiteY1558" fmla="*/ 2060644 h 5955635"/>
              <a:gd name="connsiteX1559" fmla="*/ 753411 w 6187971"/>
              <a:gd name="connsiteY1559" fmla="*/ 2397680 h 5955635"/>
              <a:gd name="connsiteX1560" fmla="*/ 756336 w 6187971"/>
              <a:gd name="connsiteY1560" fmla="*/ 2420520 h 5955635"/>
              <a:gd name="connsiteX1561" fmla="*/ 764421 w 6187971"/>
              <a:gd name="connsiteY1561" fmla="*/ 2415547 h 5955635"/>
              <a:gd name="connsiteX1562" fmla="*/ 761396 w 6187971"/>
              <a:gd name="connsiteY1562" fmla="*/ 2433165 h 5955635"/>
              <a:gd name="connsiteX1563" fmla="*/ 760478 w 6187971"/>
              <a:gd name="connsiteY1563" fmla="*/ 2435480 h 5955635"/>
              <a:gd name="connsiteX1564" fmla="*/ 760592 w 6187971"/>
              <a:gd name="connsiteY1564" fmla="*/ 2432158 h 5955635"/>
              <a:gd name="connsiteX1565" fmla="*/ 757460 w 6187971"/>
              <a:gd name="connsiteY1565" fmla="*/ 2425764 h 5955635"/>
              <a:gd name="connsiteX1566" fmla="*/ 750377 w 6187971"/>
              <a:gd name="connsiteY1566" fmla="*/ 2436696 h 5955635"/>
              <a:gd name="connsiteX1567" fmla="*/ 751339 w 6187971"/>
              <a:gd name="connsiteY1567" fmla="*/ 2441200 h 5955635"/>
              <a:gd name="connsiteX1568" fmla="*/ 751994 w 6187971"/>
              <a:gd name="connsiteY1568" fmla="*/ 2422222 h 5955635"/>
              <a:gd name="connsiteX1569" fmla="*/ 742023 w 6187971"/>
              <a:gd name="connsiteY1569" fmla="*/ 2419642 h 5955635"/>
              <a:gd name="connsiteX1570" fmla="*/ 729781 w 6187971"/>
              <a:gd name="connsiteY1570" fmla="*/ 2450515 h 5955635"/>
              <a:gd name="connsiteX1571" fmla="*/ 730743 w 6187971"/>
              <a:gd name="connsiteY1571" fmla="*/ 2455019 h 5955635"/>
              <a:gd name="connsiteX1572" fmla="*/ 726239 w 6187971"/>
              <a:gd name="connsiteY1572" fmla="*/ 2455982 h 5955635"/>
              <a:gd name="connsiteX1573" fmla="*/ 727201 w 6187971"/>
              <a:gd name="connsiteY1573" fmla="*/ 2460486 h 5955635"/>
              <a:gd name="connsiteX1574" fmla="*/ 728163 w 6187971"/>
              <a:gd name="connsiteY1574" fmla="*/ 2464990 h 5955635"/>
              <a:gd name="connsiteX1575" fmla="*/ 731705 w 6187971"/>
              <a:gd name="connsiteY1575" fmla="*/ 2459524 h 5955635"/>
              <a:gd name="connsiteX1576" fmla="*/ 731050 w 6187971"/>
              <a:gd name="connsiteY1576" fmla="*/ 2478502 h 5955635"/>
              <a:gd name="connsiteX1577" fmla="*/ 735554 w 6187971"/>
              <a:gd name="connsiteY1577" fmla="*/ 2477540 h 5955635"/>
              <a:gd name="connsiteX1578" fmla="*/ 745218 w 6187971"/>
              <a:gd name="connsiteY1578" fmla="*/ 2456637 h 5955635"/>
              <a:gd name="connsiteX1579" fmla="*/ 749722 w 6187971"/>
              <a:gd name="connsiteY1579" fmla="*/ 2455675 h 5955635"/>
              <a:gd name="connsiteX1580" fmla="*/ 746180 w 6187971"/>
              <a:gd name="connsiteY1580" fmla="*/ 2461140 h 5955635"/>
              <a:gd name="connsiteX1581" fmla="*/ 752609 w 6187971"/>
              <a:gd name="connsiteY1581" fmla="*/ 2469187 h 5955635"/>
              <a:gd name="connsiteX1582" fmla="*/ 755188 w 6187971"/>
              <a:gd name="connsiteY1582" fmla="*/ 2459216 h 5955635"/>
              <a:gd name="connsiteX1583" fmla="*/ 754226 w 6187971"/>
              <a:gd name="connsiteY1583" fmla="*/ 2454712 h 5955635"/>
              <a:gd name="connsiteX1584" fmla="*/ 757767 w 6187971"/>
              <a:gd name="connsiteY1584" fmla="*/ 2449246 h 5955635"/>
              <a:gd name="connsiteX1585" fmla="*/ 748411 w 6187971"/>
              <a:gd name="connsiteY1585" fmla="*/ 2493631 h 5955635"/>
              <a:gd name="connsiteX1586" fmla="*/ 759344 w 6187971"/>
              <a:gd name="connsiteY1586" fmla="*/ 2500715 h 5955635"/>
              <a:gd name="connsiteX1587" fmla="*/ 760307 w 6187971"/>
              <a:gd name="connsiteY1587" fmla="*/ 2505219 h 5955635"/>
              <a:gd name="connsiteX1588" fmla="*/ 754840 w 6187971"/>
              <a:gd name="connsiteY1588" fmla="*/ 2501678 h 5955635"/>
              <a:gd name="connsiteX1589" fmla="*/ 753878 w 6187971"/>
              <a:gd name="connsiteY1589" fmla="*/ 2497173 h 5955635"/>
              <a:gd name="connsiteX1590" fmla="*/ 749373 w 6187971"/>
              <a:gd name="connsiteY1590" fmla="*/ 2498135 h 5955635"/>
              <a:gd name="connsiteX1591" fmla="*/ 746794 w 6187971"/>
              <a:gd name="connsiteY1591" fmla="*/ 2508105 h 5955635"/>
              <a:gd name="connsiteX1592" fmla="*/ 747757 w 6187971"/>
              <a:gd name="connsiteY1592" fmla="*/ 2512610 h 5955635"/>
              <a:gd name="connsiteX1593" fmla="*/ 740673 w 6187971"/>
              <a:gd name="connsiteY1593" fmla="*/ 2523542 h 5955635"/>
              <a:gd name="connsiteX1594" fmla="*/ 738748 w 6187971"/>
              <a:gd name="connsiteY1594" fmla="*/ 2514534 h 5955635"/>
              <a:gd name="connsiteX1595" fmla="*/ 734245 w 6187971"/>
              <a:gd name="connsiteY1595" fmla="*/ 2515496 h 5955635"/>
              <a:gd name="connsiteX1596" fmla="*/ 731665 w 6187971"/>
              <a:gd name="connsiteY1596" fmla="*/ 2525466 h 5955635"/>
              <a:gd name="connsiteX1597" fmla="*/ 733590 w 6187971"/>
              <a:gd name="connsiteY1597" fmla="*/ 2534475 h 5955635"/>
              <a:gd name="connsiteX1598" fmla="*/ 745484 w 6187971"/>
              <a:gd name="connsiteY1598" fmla="*/ 2546063 h 5955635"/>
              <a:gd name="connsiteX1599" fmla="*/ 743868 w 6187971"/>
              <a:gd name="connsiteY1599" fmla="*/ 2560537 h 5955635"/>
              <a:gd name="connsiteX1600" fmla="*/ 726773 w 6187971"/>
              <a:gd name="connsiteY1600" fmla="*/ 2634833 h 5955635"/>
              <a:gd name="connsiteX1601" fmla="*/ 721306 w 6187971"/>
              <a:gd name="connsiteY1601" fmla="*/ 2631292 h 5955635"/>
              <a:gd name="connsiteX1602" fmla="*/ 722269 w 6187971"/>
              <a:gd name="connsiteY1602" fmla="*/ 2635796 h 5955635"/>
              <a:gd name="connsiteX1603" fmla="*/ 717764 w 6187971"/>
              <a:gd name="connsiteY1603" fmla="*/ 2636758 h 5955635"/>
              <a:gd name="connsiteX1604" fmla="*/ 712298 w 6187971"/>
              <a:gd name="connsiteY1604" fmla="*/ 2633217 h 5955635"/>
              <a:gd name="connsiteX1605" fmla="*/ 717150 w 6187971"/>
              <a:gd name="connsiteY1605" fmla="*/ 2589793 h 5955635"/>
              <a:gd name="connsiteX1606" fmla="*/ 722616 w 6187971"/>
              <a:gd name="connsiteY1606" fmla="*/ 2593335 h 5955635"/>
              <a:gd name="connsiteX1607" fmla="*/ 727775 w 6187971"/>
              <a:gd name="connsiteY1607" fmla="*/ 2573394 h 5955635"/>
              <a:gd name="connsiteX1608" fmla="*/ 720691 w 6187971"/>
              <a:gd name="connsiteY1608" fmla="*/ 2584327 h 5955635"/>
              <a:gd name="connsiteX1609" fmla="*/ 721347 w 6187971"/>
              <a:gd name="connsiteY1609" fmla="*/ 2565348 h 5955635"/>
              <a:gd name="connsiteX1610" fmla="*/ 720385 w 6187971"/>
              <a:gd name="connsiteY1610" fmla="*/ 2560844 h 5955635"/>
              <a:gd name="connsiteX1611" fmla="*/ 723927 w 6187971"/>
              <a:gd name="connsiteY1611" fmla="*/ 2555379 h 5955635"/>
              <a:gd name="connsiteX1612" fmla="*/ 722964 w 6187971"/>
              <a:gd name="connsiteY1612" fmla="*/ 2550874 h 5955635"/>
              <a:gd name="connsiteX1613" fmla="*/ 722002 w 6187971"/>
              <a:gd name="connsiteY1613" fmla="*/ 2546370 h 5955635"/>
              <a:gd name="connsiteX1614" fmla="*/ 713956 w 6187971"/>
              <a:gd name="connsiteY1614" fmla="*/ 2552799 h 5955635"/>
              <a:gd name="connsiteX1615" fmla="*/ 711377 w 6187971"/>
              <a:gd name="connsiteY1615" fmla="*/ 2562769 h 5955635"/>
              <a:gd name="connsiteX1616" fmla="*/ 712339 w 6187971"/>
              <a:gd name="connsiteY1616" fmla="*/ 2567273 h 5955635"/>
              <a:gd name="connsiteX1617" fmla="*/ 716842 w 6187971"/>
              <a:gd name="connsiteY1617" fmla="*/ 2566311 h 5955635"/>
              <a:gd name="connsiteX1618" fmla="*/ 707794 w 6187971"/>
              <a:gd name="connsiteY1618" fmla="*/ 2634179 h 5955635"/>
              <a:gd name="connsiteX1619" fmla="*/ 704252 w 6187971"/>
              <a:gd name="connsiteY1619" fmla="*/ 2639645 h 5955635"/>
              <a:gd name="connsiteX1620" fmla="*/ 701673 w 6187971"/>
              <a:gd name="connsiteY1620" fmla="*/ 2649616 h 5955635"/>
              <a:gd name="connsiteX1621" fmla="*/ 706177 w 6187971"/>
              <a:gd name="connsiteY1621" fmla="*/ 2648653 h 5955635"/>
              <a:gd name="connsiteX1622" fmla="*/ 698438 w 6187971"/>
              <a:gd name="connsiteY1622" fmla="*/ 2678565 h 5955635"/>
              <a:gd name="connsiteX1623" fmla="*/ 695858 w 6187971"/>
              <a:gd name="connsiteY1623" fmla="*/ 2688534 h 5955635"/>
              <a:gd name="connsiteX1624" fmla="*/ 696821 w 6187971"/>
              <a:gd name="connsiteY1624" fmla="*/ 2693039 h 5955635"/>
              <a:gd name="connsiteX1625" fmla="*/ 701325 w 6187971"/>
              <a:gd name="connsiteY1625" fmla="*/ 2692076 h 5955635"/>
              <a:gd name="connsiteX1626" fmla="*/ 690967 w 6187971"/>
              <a:gd name="connsiteY1626" fmla="*/ 2797901 h 5955635"/>
              <a:gd name="connsiteX1627" fmla="*/ 687424 w 6187971"/>
              <a:gd name="connsiteY1627" fmla="*/ 2803368 h 5955635"/>
              <a:gd name="connsiteX1628" fmla="*/ 688387 w 6187971"/>
              <a:gd name="connsiteY1628" fmla="*/ 2807872 h 5955635"/>
              <a:gd name="connsiteX1629" fmla="*/ 689349 w 6187971"/>
              <a:gd name="connsiteY1629" fmla="*/ 2812375 h 5955635"/>
              <a:gd name="connsiteX1630" fmla="*/ 685152 w 6187971"/>
              <a:gd name="connsiteY1630" fmla="*/ 2836821 h 5955635"/>
              <a:gd name="connsiteX1631" fmla="*/ 681611 w 6187971"/>
              <a:gd name="connsiteY1631" fmla="*/ 2842288 h 5955635"/>
              <a:gd name="connsiteX1632" fmla="*/ 683535 w 6187971"/>
              <a:gd name="connsiteY1632" fmla="*/ 2851295 h 5955635"/>
              <a:gd name="connsiteX1633" fmla="*/ 684497 w 6187971"/>
              <a:gd name="connsiteY1633" fmla="*/ 2855799 h 5955635"/>
              <a:gd name="connsiteX1634" fmla="*/ 680955 w 6187971"/>
              <a:gd name="connsiteY1634" fmla="*/ 2861265 h 5955635"/>
              <a:gd name="connsiteX1635" fmla="*/ 681918 w 6187971"/>
              <a:gd name="connsiteY1635" fmla="*/ 2865770 h 5955635"/>
              <a:gd name="connsiteX1636" fmla="*/ 687691 w 6187971"/>
              <a:gd name="connsiteY1636" fmla="*/ 2892794 h 5955635"/>
              <a:gd name="connsiteX1637" fmla="*/ 684149 w 6187971"/>
              <a:gd name="connsiteY1637" fmla="*/ 2898260 h 5955635"/>
              <a:gd name="connsiteX1638" fmla="*/ 685112 w 6187971"/>
              <a:gd name="connsiteY1638" fmla="*/ 2902765 h 5955635"/>
              <a:gd name="connsiteX1639" fmla="*/ 683495 w 6187971"/>
              <a:gd name="connsiteY1639" fmla="*/ 2917239 h 5955635"/>
              <a:gd name="connsiteX1640" fmla="*/ 684457 w 6187971"/>
              <a:gd name="connsiteY1640" fmla="*/ 2921742 h 5955635"/>
              <a:gd name="connsiteX1641" fmla="*/ 678642 w 6187971"/>
              <a:gd name="connsiteY1641" fmla="*/ 2960662 h 5955635"/>
              <a:gd name="connsiteX1642" fmla="*/ 679604 w 6187971"/>
              <a:gd name="connsiteY1642" fmla="*/ 2965165 h 5955635"/>
              <a:gd name="connsiteX1643" fmla="*/ 675101 w 6187971"/>
              <a:gd name="connsiteY1643" fmla="*/ 2966128 h 5955635"/>
              <a:gd name="connsiteX1644" fmla="*/ 676063 w 6187971"/>
              <a:gd name="connsiteY1644" fmla="*/ 2970632 h 5955635"/>
              <a:gd name="connsiteX1645" fmla="*/ 677026 w 6187971"/>
              <a:gd name="connsiteY1645" fmla="*/ 2975136 h 5955635"/>
              <a:gd name="connsiteX1646" fmla="*/ 681529 w 6187971"/>
              <a:gd name="connsiteY1646" fmla="*/ 2974174 h 5955635"/>
              <a:gd name="connsiteX1647" fmla="*/ 679912 w 6187971"/>
              <a:gd name="connsiteY1647" fmla="*/ 2988648 h 5955635"/>
              <a:gd name="connsiteX1648" fmla="*/ 678950 w 6187971"/>
              <a:gd name="connsiteY1648" fmla="*/ 2984144 h 5955635"/>
              <a:gd name="connsiteX1649" fmla="*/ 678295 w 6187971"/>
              <a:gd name="connsiteY1649" fmla="*/ 3003123 h 5955635"/>
              <a:gd name="connsiteX1650" fmla="*/ 681182 w 6187971"/>
              <a:gd name="connsiteY1650" fmla="*/ 3016635 h 5955635"/>
              <a:gd name="connsiteX1651" fmla="*/ 677640 w 6187971"/>
              <a:gd name="connsiteY1651" fmla="*/ 3022102 h 5955635"/>
              <a:gd name="connsiteX1652" fmla="*/ 678602 w 6187971"/>
              <a:gd name="connsiteY1652" fmla="*/ 3026605 h 5955635"/>
              <a:gd name="connsiteX1653" fmla="*/ 675061 w 6187971"/>
              <a:gd name="connsiteY1653" fmla="*/ 3032071 h 5955635"/>
              <a:gd name="connsiteX1654" fmla="*/ 676023 w 6187971"/>
              <a:gd name="connsiteY1654" fmla="*/ 3036576 h 5955635"/>
              <a:gd name="connsiteX1655" fmla="*/ 680527 w 6187971"/>
              <a:gd name="connsiteY1655" fmla="*/ 3035613 h 5955635"/>
              <a:gd name="connsiteX1656" fmla="*/ 689187 w 6187971"/>
              <a:gd name="connsiteY1656" fmla="*/ 3076150 h 5955635"/>
              <a:gd name="connsiteX1657" fmla="*/ 683721 w 6187971"/>
              <a:gd name="connsiteY1657" fmla="*/ 3072608 h 5955635"/>
              <a:gd name="connsiteX1658" fmla="*/ 679217 w 6187971"/>
              <a:gd name="connsiteY1658" fmla="*/ 3073570 h 5955635"/>
              <a:gd name="connsiteX1659" fmla="*/ 681142 w 6187971"/>
              <a:gd name="connsiteY1659" fmla="*/ 3082578 h 5955635"/>
              <a:gd name="connsiteX1660" fmla="*/ 682104 w 6187971"/>
              <a:gd name="connsiteY1660" fmla="*/ 3087082 h 5955635"/>
              <a:gd name="connsiteX1661" fmla="*/ 682718 w 6187971"/>
              <a:gd name="connsiteY1661" fmla="*/ 3134047 h 5955635"/>
              <a:gd name="connsiteX1662" fmla="*/ 687222 w 6187971"/>
              <a:gd name="connsiteY1662" fmla="*/ 3133085 h 5955635"/>
              <a:gd name="connsiteX1663" fmla="*/ 683680 w 6187971"/>
              <a:gd name="connsiteY1663" fmla="*/ 3138551 h 5955635"/>
              <a:gd name="connsiteX1664" fmla="*/ 684642 w 6187971"/>
              <a:gd name="connsiteY1664" fmla="*/ 3143056 h 5955635"/>
              <a:gd name="connsiteX1665" fmla="*/ 690416 w 6187971"/>
              <a:gd name="connsiteY1665" fmla="*/ 3170080 h 5955635"/>
              <a:gd name="connsiteX1666" fmla="*/ 694395 w 6187971"/>
              <a:gd name="connsiteY1666" fmla="*/ 3173203 h 5955635"/>
              <a:gd name="connsiteX1667" fmla="*/ 697712 w 6187971"/>
              <a:gd name="connsiteY1667" fmla="*/ 3182366 h 5955635"/>
              <a:gd name="connsiteX1668" fmla="*/ 697129 w 6187971"/>
              <a:gd name="connsiteY1668" fmla="*/ 3182651 h 5955635"/>
              <a:gd name="connsiteX1669" fmla="*/ 691373 w 6187971"/>
              <a:gd name="connsiteY1669" fmla="*/ 3182827 h 5955635"/>
              <a:gd name="connsiteX1670" fmla="*/ 689762 w 6187971"/>
              <a:gd name="connsiteY1670" fmla="*/ 3189059 h 5955635"/>
              <a:gd name="connsiteX1671" fmla="*/ 696682 w 6187971"/>
              <a:gd name="connsiteY1671" fmla="*/ 3182870 h 5955635"/>
              <a:gd name="connsiteX1672" fmla="*/ 697129 w 6187971"/>
              <a:gd name="connsiteY1672" fmla="*/ 3182651 h 5955635"/>
              <a:gd name="connsiteX1673" fmla="*/ 697807 w 6187971"/>
              <a:gd name="connsiteY1673" fmla="*/ 3182630 h 5955635"/>
              <a:gd name="connsiteX1674" fmla="*/ 697712 w 6187971"/>
              <a:gd name="connsiteY1674" fmla="*/ 3182366 h 5955635"/>
              <a:gd name="connsiteX1675" fmla="*/ 698813 w 6187971"/>
              <a:gd name="connsiteY1675" fmla="*/ 3181826 h 5955635"/>
              <a:gd name="connsiteX1676" fmla="*/ 699731 w 6187971"/>
              <a:gd name="connsiteY1676" fmla="*/ 3191637 h 5955635"/>
              <a:gd name="connsiteX1677" fmla="*/ 696189 w 6187971"/>
              <a:gd name="connsiteY1677" fmla="*/ 3197104 h 5955635"/>
              <a:gd name="connsiteX1678" fmla="*/ 697152 w 6187971"/>
              <a:gd name="connsiteY1678" fmla="*/ 3201608 h 5955635"/>
              <a:gd name="connsiteX1679" fmla="*/ 693610 w 6187971"/>
              <a:gd name="connsiteY1679" fmla="*/ 3207074 h 5955635"/>
              <a:gd name="connsiteX1680" fmla="*/ 694573 w 6187971"/>
              <a:gd name="connsiteY1680" fmla="*/ 3211578 h 5955635"/>
              <a:gd name="connsiteX1681" fmla="*/ 696497 w 6187971"/>
              <a:gd name="connsiteY1681" fmla="*/ 3220587 h 5955635"/>
              <a:gd name="connsiteX1682" fmla="*/ 698422 w 6187971"/>
              <a:gd name="connsiteY1682" fmla="*/ 3229595 h 5955635"/>
              <a:gd name="connsiteX1683" fmla="*/ 695842 w 6187971"/>
              <a:gd name="connsiteY1683" fmla="*/ 3239565 h 5955635"/>
              <a:gd name="connsiteX1684" fmla="*/ 693262 w 6187971"/>
              <a:gd name="connsiteY1684" fmla="*/ 3249536 h 5955635"/>
              <a:gd name="connsiteX1685" fmla="*/ 694224 w 6187971"/>
              <a:gd name="connsiteY1685" fmla="*/ 3254039 h 5955635"/>
              <a:gd name="connsiteX1686" fmla="*/ 695187 w 6187971"/>
              <a:gd name="connsiteY1686" fmla="*/ 3258543 h 5955635"/>
              <a:gd name="connsiteX1687" fmla="*/ 690683 w 6187971"/>
              <a:gd name="connsiteY1687" fmla="*/ 3259506 h 5955635"/>
              <a:gd name="connsiteX1688" fmla="*/ 687141 w 6187971"/>
              <a:gd name="connsiteY1688" fmla="*/ 3264972 h 5955635"/>
              <a:gd name="connsiteX1689" fmla="*/ 688103 w 6187971"/>
              <a:gd name="connsiteY1689" fmla="*/ 3269476 h 5955635"/>
              <a:gd name="connsiteX1690" fmla="*/ 693569 w 6187971"/>
              <a:gd name="connsiteY1690" fmla="*/ 3273018 h 5955635"/>
              <a:gd name="connsiteX1691" fmla="*/ 694532 w 6187971"/>
              <a:gd name="connsiteY1691" fmla="*/ 3277522 h 5955635"/>
              <a:gd name="connsiteX1692" fmla="*/ 695494 w 6187971"/>
              <a:gd name="connsiteY1692" fmla="*/ 3282027 h 5955635"/>
              <a:gd name="connsiteX1693" fmla="*/ 698381 w 6187971"/>
              <a:gd name="connsiteY1693" fmla="*/ 3295539 h 5955635"/>
              <a:gd name="connsiteX1694" fmla="*/ 696764 w 6187971"/>
              <a:gd name="connsiteY1694" fmla="*/ 3310013 h 5955635"/>
              <a:gd name="connsiteX1695" fmla="*/ 697726 w 6187971"/>
              <a:gd name="connsiteY1695" fmla="*/ 3314516 h 5955635"/>
              <a:gd name="connsiteX1696" fmla="*/ 699651 w 6187971"/>
              <a:gd name="connsiteY1696" fmla="*/ 3323525 h 5955635"/>
              <a:gd name="connsiteX1697" fmla="*/ 704154 w 6187971"/>
              <a:gd name="connsiteY1697" fmla="*/ 3322563 h 5955635"/>
              <a:gd name="connsiteX1698" fmla="*/ 700613 w 6187971"/>
              <a:gd name="connsiteY1698" fmla="*/ 3328029 h 5955635"/>
              <a:gd name="connsiteX1699" fmla="*/ 702538 w 6187971"/>
              <a:gd name="connsiteY1699" fmla="*/ 3337037 h 5955635"/>
              <a:gd name="connsiteX1700" fmla="*/ 711198 w 6187971"/>
              <a:gd name="connsiteY1700" fmla="*/ 3377573 h 5955635"/>
              <a:gd name="connsiteX1701" fmla="*/ 707656 w 6187971"/>
              <a:gd name="connsiteY1701" fmla="*/ 3383040 h 5955635"/>
              <a:gd name="connsiteX1702" fmla="*/ 708618 w 6187971"/>
              <a:gd name="connsiteY1702" fmla="*/ 3387543 h 5955635"/>
              <a:gd name="connsiteX1703" fmla="*/ 713122 w 6187971"/>
              <a:gd name="connsiteY1703" fmla="*/ 3386581 h 5955635"/>
              <a:gd name="connsiteX1704" fmla="*/ 713430 w 6187971"/>
              <a:gd name="connsiteY1704" fmla="*/ 3410064 h 5955635"/>
              <a:gd name="connsiteX1705" fmla="*/ 714392 w 6187971"/>
              <a:gd name="connsiteY1705" fmla="*/ 3414569 h 5955635"/>
              <a:gd name="connsiteX1706" fmla="*/ 719858 w 6187971"/>
              <a:gd name="connsiteY1706" fmla="*/ 3418109 h 5955635"/>
              <a:gd name="connsiteX1707" fmla="*/ 722090 w 6187971"/>
              <a:gd name="connsiteY1707" fmla="*/ 3450600 h 5955635"/>
              <a:gd name="connsiteX1708" fmla="*/ 726594 w 6187971"/>
              <a:gd name="connsiteY1708" fmla="*/ 3449638 h 5955635"/>
              <a:gd name="connsiteX1709" fmla="*/ 730443 w 6187971"/>
              <a:gd name="connsiteY1709" fmla="*/ 3467654 h 5955635"/>
              <a:gd name="connsiteX1710" fmla="*/ 726902 w 6187971"/>
              <a:gd name="connsiteY1710" fmla="*/ 3473121 h 5955635"/>
              <a:gd name="connsiteX1711" fmla="*/ 716932 w 6187971"/>
              <a:gd name="connsiteY1711" fmla="*/ 3470541 h 5955635"/>
              <a:gd name="connsiteX1712" fmla="*/ 729788 w 6187971"/>
              <a:gd name="connsiteY1712" fmla="*/ 3486633 h 5955635"/>
              <a:gd name="connsiteX1713" fmla="*/ 749689 w 6187971"/>
              <a:gd name="connsiteY1713" fmla="*/ 3557735 h 5955635"/>
              <a:gd name="connsiteX1714" fmla="*/ 745185 w 6187971"/>
              <a:gd name="connsiteY1714" fmla="*/ 3558698 h 5955635"/>
              <a:gd name="connsiteX1715" fmla="*/ 747109 w 6187971"/>
              <a:gd name="connsiteY1715" fmla="*/ 3567705 h 5955635"/>
              <a:gd name="connsiteX1716" fmla="*/ 758656 w 6187971"/>
              <a:gd name="connsiteY1716" fmla="*/ 3621755 h 5955635"/>
              <a:gd name="connsiteX1717" fmla="*/ 759619 w 6187971"/>
              <a:gd name="connsiteY1717" fmla="*/ 3626258 h 5955635"/>
              <a:gd name="connsiteX1718" fmla="*/ 760581 w 6187971"/>
              <a:gd name="connsiteY1718" fmla="*/ 3630762 h 5955635"/>
              <a:gd name="connsiteX1719" fmla="*/ 773438 w 6187971"/>
              <a:gd name="connsiteY1719" fmla="*/ 3646854 h 5955635"/>
              <a:gd name="connsiteX1720" fmla="*/ 770859 w 6187971"/>
              <a:gd name="connsiteY1720" fmla="*/ 3656824 h 5955635"/>
              <a:gd name="connsiteX1721" fmla="*/ 771821 w 6187971"/>
              <a:gd name="connsiteY1721" fmla="*/ 3661329 h 5955635"/>
              <a:gd name="connsiteX1722" fmla="*/ 772783 w 6187971"/>
              <a:gd name="connsiteY1722" fmla="*/ 3665832 h 5955635"/>
              <a:gd name="connsiteX1723" fmla="*/ 773745 w 6187971"/>
              <a:gd name="connsiteY1723" fmla="*/ 3670336 h 5955635"/>
              <a:gd name="connsiteX1724" fmla="*/ 768586 w 6187971"/>
              <a:gd name="connsiteY1724" fmla="*/ 3690277 h 5955635"/>
              <a:gd name="connsiteX1725" fmla="*/ 779826 w 6187971"/>
              <a:gd name="connsiteY1725" fmla="*/ 3720843 h 5955635"/>
              <a:gd name="connsiteX1726" fmla="*/ 798149 w 6187971"/>
              <a:gd name="connsiteY1726" fmla="*/ 3740476 h 5955635"/>
              <a:gd name="connsiteX1727" fmla="*/ 793953 w 6187971"/>
              <a:gd name="connsiteY1727" fmla="*/ 3764922 h 5955635"/>
              <a:gd name="connsiteX1728" fmla="*/ 803268 w 6187971"/>
              <a:gd name="connsiteY1728" fmla="*/ 3786479 h 5955635"/>
              <a:gd name="connsiteX1729" fmla="*/ 815163 w 6187971"/>
              <a:gd name="connsiteY1729" fmla="*/ 3798067 h 5955635"/>
              <a:gd name="connsiteX1730" fmla="*/ 832177 w 6187971"/>
              <a:gd name="connsiteY1730" fmla="*/ 3855657 h 5955635"/>
              <a:gd name="connsiteX1731" fmla="*/ 823168 w 6187971"/>
              <a:gd name="connsiteY1731" fmla="*/ 3857582 h 5955635"/>
              <a:gd name="connsiteX1732" fmla="*/ 835064 w 6187971"/>
              <a:gd name="connsiteY1732" fmla="*/ 3869169 h 5955635"/>
              <a:gd name="connsiteX1733" fmla="*/ 834409 w 6187971"/>
              <a:gd name="connsiteY1733" fmla="*/ 3888148 h 5955635"/>
              <a:gd name="connsiteX1734" fmla="*/ 849190 w 6187971"/>
              <a:gd name="connsiteY1734" fmla="*/ 3913248 h 5955635"/>
              <a:gd name="connsiteX1735" fmla="*/ 845537 w 6187971"/>
              <a:gd name="connsiteY1735" fmla="*/ 3910175 h 5955635"/>
              <a:gd name="connsiteX1736" fmla="*/ 841800 w 6187971"/>
              <a:gd name="connsiteY1736" fmla="*/ 3900698 h 5955635"/>
              <a:gd name="connsiteX1737" fmla="*/ 844166 w 6187971"/>
              <a:gd name="connsiteY1737" fmla="*/ 3909023 h 5955635"/>
              <a:gd name="connsiteX1738" fmla="*/ 845537 w 6187971"/>
              <a:gd name="connsiteY1738" fmla="*/ 3910175 h 5955635"/>
              <a:gd name="connsiteX1739" fmla="*/ 852077 w 6187971"/>
              <a:gd name="connsiteY1739" fmla="*/ 3926760 h 5955635"/>
              <a:gd name="connsiteX1740" fmla="*/ 838565 w 6187971"/>
              <a:gd name="connsiteY1740" fmla="*/ 3929646 h 5955635"/>
              <a:gd name="connsiteX1741" fmla="*/ 808694 w 6187971"/>
              <a:gd name="connsiteY1741" fmla="*/ 3855965 h 5955635"/>
              <a:gd name="connsiteX1742" fmla="*/ 782980 w 6187971"/>
              <a:gd name="connsiteY1742" fmla="*/ 3823781 h 5955635"/>
              <a:gd name="connsiteX1743" fmla="*/ 773664 w 6187971"/>
              <a:gd name="connsiteY1743" fmla="*/ 3802224 h 5955635"/>
              <a:gd name="connsiteX1744" fmla="*/ 769815 w 6187971"/>
              <a:gd name="connsiteY1744" fmla="*/ 3784208 h 5955635"/>
              <a:gd name="connsiteX1745" fmla="*/ 756958 w 6187971"/>
              <a:gd name="connsiteY1745" fmla="*/ 3768116 h 5955635"/>
              <a:gd name="connsiteX1746" fmla="*/ 750222 w 6187971"/>
              <a:gd name="connsiteY1746" fmla="*/ 3736587 h 5955635"/>
              <a:gd name="connsiteX1747" fmla="*/ 751840 w 6187971"/>
              <a:gd name="connsiteY1747" fmla="*/ 3722113 h 5955635"/>
              <a:gd name="connsiteX1748" fmla="*/ 748953 w 6187971"/>
              <a:gd name="connsiteY1748" fmla="*/ 3708601 h 5955635"/>
              <a:gd name="connsiteX1749" fmla="*/ 747991 w 6187971"/>
              <a:gd name="connsiteY1749" fmla="*/ 3704096 h 5955635"/>
              <a:gd name="connsiteX1750" fmla="*/ 747028 w 6187971"/>
              <a:gd name="connsiteY1750" fmla="*/ 3699593 h 5955635"/>
              <a:gd name="connsiteX1751" fmla="*/ 752494 w 6187971"/>
              <a:gd name="connsiteY1751" fmla="*/ 3703134 h 5955635"/>
              <a:gd name="connsiteX1752" fmla="*/ 744142 w 6187971"/>
              <a:gd name="connsiteY1752" fmla="*/ 3686081 h 5955635"/>
              <a:gd name="connsiteX1753" fmla="*/ 747683 w 6187971"/>
              <a:gd name="connsiteY1753" fmla="*/ 3680614 h 5955635"/>
              <a:gd name="connsiteX1754" fmla="*/ 746720 w 6187971"/>
              <a:gd name="connsiteY1754" fmla="*/ 3676110 h 5955635"/>
              <a:gd name="connsiteX1755" fmla="*/ 745758 w 6187971"/>
              <a:gd name="connsiteY1755" fmla="*/ 3671606 h 5955635"/>
              <a:gd name="connsiteX1756" fmla="*/ 740292 w 6187971"/>
              <a:gd name="connsiteY1756" fmla="*/ 3668064 h 5955635"/>
              <a:gd name="connsiteX1757" fmla="*/ 734519 w 6187971"/>
              <a:gd name="connsiteY1757" fmla="*/ 3641040 h 5955635"/>
              <a:gd name="connsiteX1758" fmla="*/ 729052 w 6187971"/>
              <a:gd name="connsiteY1758" fmla="*/ 3637498 h 5955635"/>
              <a:gd name="connsiteX1759" fmla="*/ 723279 w 6187971"/>
              <a:gd name="connsiteY1759" fmla="*/ 3610474 h 5955635"/>
              <a:gd name="connsiteX1760" fmla="*/ 722316 w 6187971"/>
              <a:gd name="connsiteY1760" fmla="*/ 3605970 h 5955635"/>
              <a:gd name="connsiteX1761" fmla="*/ 721354 w 6187971"/>
              <a:gd name="connsiteY1761" fmla="*/ 3601465 h 5955635"/>
              <a:gd name="connsiteX1762" fmla="*/ 717812 w 6187971"/>
              <a:gd name="connsiteY1762" fmla="*/ 3606932 h 5955635"/>
              <a:gd name="connsiteX1763" fmla="*/ 707227 w 6187971"/>
              <a:gd name="connsiteY1763" fmla="*/ 3557387 h 5955635"/>
              <a:gd name="connsiteX1764" fmla="*/ 710114 w 6187971"/>
              <a:gd name="connsiteY1764" fmla="*/ 3570900 h 5955635"/>
              <a:gd name="connsiteX1765" fmla="*/ 702723 w 6187971"/>
              <a:gd name="connsiteY1765" fmla="*/ 3558350 h 5955635"/>
              <a:gd name="connsiteX1766" fmla="*/ 705610 w 6187971"/>
              <a:gd name="connsiteY1766" fmla="*/ 3571863 h 5955635"/>
              <a:gd name="connsiteX1767" fmla="*/ 700144 w 6187971"/>
              <a:gd name="connsiteY1767" fmla="*/ 3568320 h 5955635"/>
              <a:gd name="connsiteX1768" fmla="*/ 702068 w 6187971"/>
              <a:gd name="connsiteY1768" fmla="*/ 3577328 h 5955635"/>
              <a:gd name="connsiteX1769" fmla="*/ 703031 w 6187971"/>
              <a:gd name="connsiteY1769" fmla="*/ 3581832 h 5955635"/>
              <a:gd name="connsiteX1770" fmla="*/ 695599 w 6187971"/>
              <a:gd name="connsiteY1770" fmla="*/ 3635226 h 5955635"/>
              <a:gd name="connsiteX1771" fmla="*/ 697524 w 6187971"/>
              <a:gd name="connsiteY1771" fmla="*/ 3644234 h 5955635"/>
              <a:gd name="connsiteX1772" fmla="*/ 687553 w 6187971"/>
              <a:gd name="connsiteY1772" fmla="*/ 3641655 h 5955635"/>
              <a:gd name="connsiteX1773" fmla="*/ 685628 w 6187971"/>
              <a:gd name="connsiteY1773" fmla="*/ 3632647 h 5955635"/>
              <a:gd name="connsiteX1774" fmla="*/ 681125 w 6187971"/>
              <a:gd name="connsiteY1774" fmla="*/ 3633609 h 5955635"/>
              <a:gd name="connsiteX1775" fmla="*/ 682087 w 6187971"/>
              <a:gd name="connsiteY1775" fmla="*/ 3638113 h 5955635"/>
              <a:gd name="connsiteX1776" fmla="*/ 660262 w 6187971"/>
              <a:gd name="connsiteY1776" fmla="*/ 3558002 h 5955635"/>
              <a:gd name="connsiteX1777" fmla="*/ 665729 w 6187971"/>
              <a:gd name="connsiteY1777" fmla="*/ 3561544 h 5955635"/>
              <a:gd name="connsiteX1778" fmla="*/ 669270 w 6187971"/>
              <a:gd name="connsiteY1778" fmla="*/ 3556078 h 5955635"/>
              <a:gd name="connsiteX1779" fmla="*/ 671194 w 6187971"/>
              <a:gd name="connsiteY1779" fmla="*/ 3565085 h 5955635"/>
              <a:gd name="connsiteX1780" fmla="*/ 660609 w 6187971"/>
              <a:gd name="connsiteY1780" fmla="*/ 3515542 h 5955635"/>
              <a:gd name="connsiteX1781" fmla="*/ 665114 w 6187971"/>
              <a:gd name="connsiteY1781" fmla="*/ 3514579 h 5955635"/>
              <a:gd name="connsiteX1782" fmla="*/ 664152 w 6187971"/>
              <a:gd name="connsiteY1782" fmla="*/ 3510075 h 5955635"/>
              <a:gd name="connsiteX1783" fmla="*/ 662227 w 6187971"/>
              <a:gd name="connsiteY1783" fmla="*/ 3501067 h 5955635"/>
              <a:gd name="connsiteX1784" fmla="*/ 655491 w 6187971"/>
              <a:gd name="connsiteY1784" fmla="*/ 3469539 h 5955635"/>
              <a:gd name="connsiteX1785" fmla="*/ 654529 w 6187971"/>
              <a:gd name="connsiteY1785" fmla="*/ 3465034 h 5955635"/>
              <a:gd name="connsiteX1786" fmla="*/ 653567 w 6187971"/>
              <a:gd name="connsiteY1786" fmla="*/ 3460530 h 5955635"/>
              <a:gd name="connsiteX1787" fmla="*/ 639439 w 6187971"/>
              <a:gd name="connsiteY1787" fmla="*/ 3416453 h 5955635"/>
              <a:gd name="connsiteX1788" fmla="*/ 638477 w 6187971"/>
              <a:gd name="connsiteY1788" fmla="*/ 3411948 h 5955635"/>
              <a:gd name="connsiteX1789" fmla="*/ 637515 w 6187971"/>
              <a:gd name="connsiteY1789" fmla="*/ 3407444 h 5955635"/>
              <a:gd name="connsiteX1790" fmla="*/ 635590 w 6187971"/>
              <a:gd name="connsiteY1790" fmla="*/ 3398436 h 5955635"/>
              <a:gd name="connsiteX1791" fmla="*/ 633012 w 6187971"/>
              <a:gd name="connsiteY1791" fmla="*/ 3408406 h 5955635"/>
              <a:gd name="connsiteX1792" fmla="*/ 629469 w 6187971"/>
              <a:gd name="connsiteY1792" fmla="*/ 3413873 h 5955635"/>
              <a:gd name="connsiteX1793" fmla="*/ 625620 w 6187971"/>
              <a:gd name="connsiteY1793" fmla="*/ 3395856 h 5955635"/>
              <a:gd name="connsiteX1794" fmla="*/ 630125 w 6187971"/>
              <a:gd name="connsiteY1794" fmla="*/ 3394894 h 5955635"/>
              <a:gd name="connsiteX1795" fmla="*/ 629163 w 6187971"/>
              <a:gd name="connsiteY1795" fmla="*/ 3390391 h 5955635"/>
              <a:gd name="connsiteX1796" fmla="*/ 628200 w 6187971"/>
              <a:gd name="connsiteY1796" fmla="*/ 3385887 h 5955635"/>
              <a:gd name="connsiteX1797" fmla="*/ 623696 w 6187971"/>
              <a:gd name="connsiteY1797" fmla="*/ 3386849 h 5955635"/>
              <a:gd name="connsiteX1798" fmla="*/ 627892 w 6187971"/>
              <a:gd name="connsiteY1798" fmla="*/ 3362404 h 5955635"/>
              <a:gd name="connsiteX1799" fmla="*/ 615998 w 6187971"/>
              <a:gd name="connsiteY1799" fmla="*/ 3350816 h 5955635"/>
              <a:gd name="connsiteX1800" fmla="*/ 618229 w 6187971"/>
              <a:gd name="connsiteY1800" fmla="*/ 3383307 h 5955635"/>
              <a:gd name="connsiteX1801" fmla="*/ 623696 w 6187971"/>
              <a:gd name="connsiteY1801" fmla="*/ 3386849 h 5955635"/>
              <a:gd name="connsiteX1802" fmla="*/ 619192 w 6187971"/>
              <a:gd name="connsiteY1802" fmla="*/ 3387811 h 5955635"/>
              <a:gd name="connsiteX1803" fmla="*/ 620154 w 6187971"/>
              <a:gd name="connsiteY1803" fmla="*/ 3392315 h 5955635"/>
              <a:gd name="connsiteX1804" fmla="*/ 621116 w 6187971"/>
              <a:gd name="connsiteY1804" fmla="*/ 3396819 h 5955635"/>
              <a:gd name="connsiteX1805" fmla="*/ 625620 w 6187971"/>
              <a:gd name="connsiteY1805" fmla="*/ 3395856 h 5955635"/>
              <a:gd name="connsiteX1806" fmla="*/ 628026 w 6187971"/>
              <a:gd name="connsiteY1806" fmla="*/ 3407116 h 5955635"/>
              <a:gd name="connsiteX1807" fmla="*/ 629469 w 6187971"/>
              <a:gd name="connsiteY1807" fmla="*/ 3413873 h 5955635"/>
              <a:gd name="connsiteX1808" fmla="*/ 630432 w 6187971"/>
              <a:gd name="connsiteY1808" fmla="*/ 3418377 h 5955635"/>
              <a:gd name="connsiteX1809" fmla="*/ 625927 w 6187971"/>
              <a:gd name="connsiteY1809" fmla="*/ 3419340 h 5955635"/>
              <a:gd name="connsiteX1810" fmla="*/ 626889 w 6187971"/>
              <a:gd name="connsiteY1810" fmla="*/ 3423843 h 5955635"/>
              <a:gd name="connsiteX1811" fmla="*/ 627852 w 6187971"/>
              <a:gd name="connsiteY1811" fmla="*/ 3428347 h 5955635"/>
              <a:gd name="connsiteX1812" fmla="*/ 654488 w 6187971"/>
              <a:gd name="connsiteY1812" fmla="*/ 3530978 h 5955635"/>
              <a:gd name="connsiteX1813" fmla="*/ 649984 w 6187971"/>
              <a:gd name="connsiteY1813" fmla="*/ 3531940 h 5955635"/>
              <a:gd name="connsiteX1814" fmla="*/ 651908 w 6187971"/>
              <a:gd name="connsiteY1814" fmla="*/ 3540948 h 5955635"/>
              <a:gd name="connsiteX1815" fmla="*/ 655758 w 6187971"/>
              <a:gd name="connsiteY1815" fmla="*/ 3558965 h 5955635"/>
              <a:gd name="connsiteX1816" fmla="*/ 671154 w 6187971"/>
              <a:gd name="connsiteY1816" fmla="*/ 3631029 h 5955635"/>
              <a:gd name="connsiteX1817" fmla="*/ 691054 w 6187971"/>
              <a:gd name="connsiteY1817" fmla="*/ 3702132 h 5955635"/>
              <a:gd name="connsiteX1818" fmla="*/ 695211 w 6187971"/>
              <a:gd name="connsiteY1818" fmla="*/ 3743630 h 5955635"/>
              <a:gd name="connsiteX1819" fmla="*/ 689090 w 6187971"/>
              <a:gd name="connsiteY1819" fmla="*/ 3759068 h 5955635"/>
              <a:gd name="connsiteX1820" fmla="*/ 700289 w 6187971"/>
              <a:gd name="connsiteY1820" fmla="*/ 3855577 h 5955635"/>
              <a:gd name="connsiteX1821" fmla="*/ 693861 w 6187971"/>
              <a:gd name="connsiteY1821" fmla="*/ 3847531 h 5955635"/>
              <a:gd name="connsiteX1822" fmla="*/ 687392 w 6187971"/>
              <a:gd name="connsiteY1822" fmla="*/ 3905429 h 5955635"/>
              <a:gd name="connsiteX1823" fmla="*/ 680963 w 6187971"/>
              <a:gd name="connsiteY1823" fmla="*/ 3897383 h 5955635"/>
              <a:gd name="connsiteX1824" fmla="*/ 682887 w 6187971"/>
              <a:gd name="connsiteY1824" fmla="*/ 3906391 h 5955635"/>
              <a:gd name="connsiteX1825" fmla="*/ 655904 w 6187971"/>
              <a:gd name="connsiteY1825" fmla="*/ 3846221 h 5955635"/>
              <a:gd name="connsiteX1826" fmla="*/ 647550 w 6187971"/>
              <a:gd name="connsiteY1826" fmla="*/ 3829168 h 5955635"/>
              <a:gd name="connsiteX1827" fmla="*/ 646588 w 6187971"/>
              <a:gd name="connsiteY1827" fmla="*/ 3824663 h 5955635"/>
              <a:gd name="connsiteX1828" fmla="*/ 642083 w 6187971"/>
              <a:gd name="connsiteY1828" fmla="*/ 3825626 h 5955635"/>
              <a:gd name="connsiteX1829" fmla="*/ 637272 w 6187971"/>
              <a:gd name="connsiteY1829" fmla="*/ 3803105 h 5955635"/>
              <a:gd name="connsiteX1830" fmla="*/ 628264 w 6187971"/>
              <a:gd name="connsiteY1830" fmla="*/ 3805029 h 5955635"/>
              <a:gd name="connsiteX1831" fmla="*/ 631151 w 6187971"/>
              <a:gd name="connsiteY1831" fmla="*/ 3818541 h 5955635"/>
              <a:gd name="connsiteX1832" fmla="*/ 641429 w 6187971"/>
              <a:gd name="connsiteY1832" fmla="*/ 3844604 h 5955635"/>
              <a:gd name="connsiteX1833" fmla="*/ 653897 w 6187971"/>
              <a:gd name="connsiteY1833" fmla="*/ 3969100 h 5955635"/>
              <a:gd name="connsiteX1834" fmla="*/ 646814 w 6187971"/>
              <a:gd name="connsiteY1834" fmla="*/ 3980033 h 5955635"/>
              <a:gd name="connsiteX1835" fmla="*/ 639423 w 6187971"/>
              <a:gd name="connsiteY1835" fmla="*/ 3967483 h 5955635"/>
              <a:gd name="connsiteX1836" fmla="*/ 638461 w 6187971"/>
              <a:gd name="connsiteY1836" fmla="*/ 3962979 h 5955635"/>
              <a:gd name="connsiteX1837" fmla="*/ 632995 w 6187971"/>
              <a:gd name="connsiteY1837" fmla="*/ 3959436 h 5955635"/>
              <a:gd name="connsiteX1838" fmla="*/ 633958 w 6187971"/>
              <a:gd name="connsiteY1838" fmla="*/ 3963941 h 5955635"/>
              <a:gd name="connsiteX1839" fmla="*/ 634920 w 6187971"/>
              <a:gd name="connsiteY1839" fmla="*/ 3968445 h 5955635"/>
              <a:gd name="connsiteX1840" fmla="*/ 628491 w 6187971"/>
              <a:gd name="connsiteY1840" fmla="*/ 3960399 h 5955635"/>
              <a:gd name="connsiteX1841" fmla="*/ 623679 w 6187971"/>
              <a:gd name="connsiteY1841" fmla="*/ 3937879 h 5955635"/>
              <a:gd name="connsiteX1842" fmla="*/ 631167 w 6187971"/>
              <a:gd name="connsiteY1842" fmla="*/ 3950879 h 5955635"/>
              <a:gd name="connsiteX1843" fmla="*/ 632033 w 6187971"/>
              <a:gd name="connsiteY1843" fmla="*/ 3954933 h 5955635"/>
              <a:gd name="connsiteX1844" fmla="*/ 633038 w 6187971"/>
              <a:gd name="connsiteY1844" fmla="*/ 3954129 h 5955635"/>
              <a:gd name="connsiteX1845" fmla="*/ 631167 w 6187971"/>
              <a:gd name="connsiteY1845" fmla="*/ 3950879 h 5955635"/>
              <a:gd name="connsiteX1846" fmla="*/ 629507 w 6187971"/>
              <a:gd name="connsiteY1846" fmla="*/ 3943110 h 5955635"/>
              <a:gd name="connsiteX1847" fmla="*/ 629146 w 6187971"/>
              <a:gd name="connsiteY1847" fmla="*/ 3941420 h 5955635"/>
              <a:gd name="connsiteX1848" fmla="*/ 633649 w 6187971"/>
              <a:gd name="connsiteY1848" fmla="*/ 3940458 h 5955635"/>
              <a:gd name="connsiteX1849" fmla="*/ 632687 w 6187971"/>
              <a:gd name="connsiteY1849" fmla="*/ 3935955 h 5955635"/>
              <a:gd name="connsiteX1850" fmla="*/ 631725 w 6187971"/>
              <a:gd name="connsiteY1850" fmla="*/ 3931450 h 5955635"/>
              <a:gd name="connsiteX1851" fmla="*/ 627222 w 6187971"/>
              <a:gd name="connsiteY1851" fmla="*/ 3932412 h 5955635"/>
              <a:gd name="connsiteX1852" fmla="*/ 620793 w 6187971"/>
              <a:gd name="connsiteY1852" fmla="*/ 3924367 h 5955635"/>
              <a:gd name="connsiteX1853" fmla="*/ 619830 w 6187971"/>
              <a:gd name="connsiteY1853" fmla="*/ 3919863 h 5955635"/>
              <a:gd name="connsiteX1854" fmla="*/ 618868 w 6187971"/>
              <a:gd name="connsiteY1854" fmla="*/ 3915358 h 5955635"/>
              <a:gd name="connsiteX1855" fmla="*/ 614177 w 6187971"/>
              <a:gd name="connsiteY1855" fmla="*/ 3893402 h 5955635"/>
              <a:gd name="connsiteX1856" fmla="*/ 613094 w 6187971"/>
              <a:gd name="connsiteY1856" fmla="*/ 3888334 h 5955635"/>
              <a:gd name="connsiteX1857" fmla="*/ 613401 w 6187971"/>
              <a:gd name="connsiteY1857" fmla="*/ 3911817 h 5955635"/>
              <a:gd name="connsiteX1858" fmla="*/ 600237 w 6187971"/>
              <a:gd name="connsiteY1858" fmla="*/ 3872242 h 5955635"/>
              <a:gd name="connsiteX1859" fmla="*/ 579335 w 6187971"/>
              <a:gd name="connsiteY1859" fmla="*/ 3862579 h 5955635"/>
              <a:gd name="connsiteX1860" fmla="*/ 556854 w 6187971"/>
              <a:gd name="connsiteY1860" fmla="*/ 3801448 h 5955635"/>
              <a:gd name="connsiteX1861" fmla="*/ 558123 w 6187971"/>
              <a:gd name="connsiteY1861" fmla="*/ 3829434 h 5955635"/>
              <a:gd name="connsiteX1862" fmla="*/ 546884 w 6187971"/>
              <a:gd name="connsiteY1862" fmla="*/ 3798868 h 5955635"/>
              <a:gd name="connsiteX1863" fmla="*/ 542686 w 6187971"/>
              <a:gd name="connsiteY1863" fmla="*/ 3823313 h 5955635"/>
              <a:gd name="connsiteX1864" fmla="*/ 541724 w 6187971"/>
              <a:gd name="connsiteY1864" fmla="*/ 3818809 h 5955635"/>
              <a:gd name="connsiteX1865" fmla="*/ 488144 w 6187971"/>
              <a:gd name="connsiteY1865" fmla="*/ 3590064 h 5955635"/>
              <a:gd name="connsiteX1866" fmla="*/ 482371 w 6187971"/>
              <a:gd name="connsiteY1866" fmla="*/ 3563040 h 5955635"/>
              <a:gd name="connsiteX1867" fmla="*/ 578133 w 6187971"/>
              <a:gd name="connsiteY1867" fmla="*/ 2267918 h 5955635"/>
              <a:gd name="connsiteX1868" fmla="*/ 592980 w 6187971"/>
              <a:gd name="connsiteY1868" fmla="*/ 2227702 h 5955635"/>
              <a:gd name="connsiteX1869" fmla="*/ 600194 w 6187971"/>
              <a:gd name="connsiteY1869" fmla="*/ 2211410 h 5955635"/>
              <a:gd name="connsiteX1870" fmla="*/ 638131 w 6187971"/>
              <a:gd name="connsiteY1870" fmla="*/ 2105404 h 5955635"/>
              <a:gd name="connsiteX1871" fmla="*/ 652761 w 6187971"/>
              <a:gd name="connsiteY1871" fmla="*/ 2065777 h 5955635"/>
              <a:gd name="connsiteX1872" fmla="*/ 1102577 w 6187971"/>
              <a:gd name="connsiteY1872" fmla="*/ 1332509 h 5955635"/>
              <a:gd name="connsiteX1873" fmla="*/ 1683816 w 6187971"/>
              <a:gd name="connsiteY1873" fmla="*/ 1083716 h 5955635"/>
              <a:gd name="connsiteX1874" fmla="*/ 1679236 w 6187971"/>
              <a:gd name="connsiteY1874" fmla="*/ 1086770 h 5955635"/>
              <a:gd name="connsiteX1875" fmla="*/ 1682424 w 6187971"/>
              <a:gd name="connsiteY1875" fmla="*/ 1084298 h 5955635"/>
              <a:gd name="connsiteX1876" fmla="*/ 3808051 w 6187971"/>
              <a:gd name="connsiteY1876" fmla="*/ 599460 h 5955635"/>
              <a:gd name="connsiteX1877" fmla="*/ 3814670 w 6187971"/>
              <a:gd name="connsiteY1877" fmla="*/ 600728 h 5955635"/>
              <a:gd name="connsiteX1878" fmla="*/ 3819307 w 6187971"/>
              <a:gd name="connsiteY1878" fmla="*/ 603027 h 5955635"/>
              <a:gd name="connsiteX1879" fmla="*/ 1626222 w 6187971"/>
              <a:gd name="connsiteY1879" fmla="*/ 1047191 h 5955635"/>
              <a:gd name="connsiteX1880" fmla="*/ 1626514 w 6187971"/>
              <a:gd name="connsiteY1880" fmla="*/ 1048557 h 5955635"/>
              <a:gd name="connsiteX1881" fmla="*/ 1622009 w 6187971"/>
              <a:gd name="connsiteY1881" fmla="*/ 1049520 h 5955635"/>
              <a:gd name="connsiteX1882" fmla="*/ 3198980 w 6187971"/>
              <a:gd name="connsiteY1882" fmla="*/ 688397 h 5955635"/>
              <a:gd name="connsiteX1883" fmla="*/ 3202634 w 6187971"/>
              <a:gd name="connsiteY1883" fmla="*/ 688279 h 5955635"/>
              <a:gd name="connsiteX1884" fmla="*/ 3199068 w 6187971"/>
              <a:gd name="connsiteY1884" fmla="*/ 688412 h 5955635"/>
              <a:gd name="connsiteX1885" fmla="*/ 1688956 w 6187971"/>
              <a:gd name="connsiteY1885" fmla="*/ 988120 h 5955635"/>
              <a:gd name="connsiteX1886" fmla="*/ 1697964 w 6187971"/>
              <a:gd name="connsiteY1886" fmla="*/ 986196 h 5955635"/>
              <a:gd name="connsiteX1887" fmla="*/ 1694422 w 6187971"/>
              <a:gd name="connsiteY1887" fmla="*/ 991662 h 5955635"/>
              <a:gd name="connsiteX1888" fmla="*/ 1703431 w 6187971"/>
              <a:gd name="connsiteY1888" fmla="*/ 989738 h 5955635"/>
              <a:gd name="connsiteX1889" fmla="*/ 1668870 w 6187971"/>
              <a:gd name="connsiteY1889" fmla="*/ 1023613 h 5955635"/>
              <a:gd name="connsiteX1890" fmla="*/ 1626222 w 6187971"/>
              <a:gd name="connsiteY1890" fmla="*/ 1047191 h 5955635"/>
              <a:gd name="connsiteX1891" fmla="*/ 1625552 w 6187971"/>
              <a:gd name="connsiteY1891" fmla="*/ 1044054 h 5955635"/>
              <a:gd name="connsiteX1892" fmla="*/ 1622009 w 6187971"/>
              <a:gd name="connsiteY1892" fmla="*/ 1049520 h 5955635"/>
              <a:gd name="connsiteX1893" fmla="*/ 1604955 w 6187971"/>
              <a:gd name="connsiteY1893" fmla="*/ 1057873 h 5955635"/>
              <a:gd name="connsiteX1894" fmla="*/ 1600452 w 6187971"/>
              <a:gd name="connsiteY1894" fmla="*/ 1058835 h 5955635"/>
              <a:gd name="connsiteX1895" fmla="*/ 1601414 w 6187971"/>
              <a:gd name="connsiteY1895" fmla="*/ 1063339 h 5955635"/>
              <a:gd name="connsiteX1896" fmla="*/ 1596910 w 6187971"/>
              <a:gd name="connsiteY1896" fmla="*/ 1064302 h 5955635"/>
              <a:gd name="connsiteX1897" fmla="*/ 1568524 w 6187971"/>
              <a:gd name="connsiteY1897" fmla="*/ 1077178 h 5955635"/>
              <a:gd name="connsiteX1898" fmla="*/ 1633720 w 6187971"/>
              <a:gd name="connsiteY1898" fmla="*/ 1022132 h 5955635"/>
              <a:gd name="connsiteX1899" fmla="*/ 1644223 w 6187971"/>
              <a:gd name="connsiteY1899" fmla="*/ 1021226 h 5955635"/>
              <a:gd name="connsiteX1900" fmla="*/ 1688956 w 6187971"/>
              <a:gd name="connsiteY1900" fmla="*/ 988120 h 5955635"/>
              <a:gd name="connsiteX1901" fmla="*/ 1987536 w 6187971"/>
              <a:gd name="connsiteY1901" fmla="*/ 886654 h 5955635"/>
              <a:gd name="connsiteX1902" fmla="*/ 2023568 w 6187971"/>
              <a:gd name="connsiteY1902" fmla="*/ 878956 h 5955635"/>
              <a:gd name="connsiteX1903" fmla="*/ 1940222 w 6187971"/>
              <a:gd name="connsiteY1903" fmla="*/ 929729 h 5955635"/>
              <a:gd name="connsiteX1904" fmla="*/ 1864697 w 6187971"/>
              <a:gd name="connsiteY1904" fmla="*/ 973018 h 5955635"/>
              <a:gd name="connsiteX1905" fmla="*/ 1854248 w 6187971"/>
              <a:gd name="connsiteY1905" fmla="*/ 982182 h 5955635"/>
              <a:gd name="connsiteX1906" fmla="*/ 1798385 w 6187971"/>
              <a:gd name="connsiteY1906" fmla="*/ 1012071 h 5955635"/>
              <a:gd name="connsiteX1907" fmla="*/ 1797668 w 6187971"/>
              <a:gd name="connsiteY1907" fmla="*/ 1011991 h 5955635"/>
              <a:gd name="connsiteX1908" fmla="*/ 1797543 w 6187971"/>
              <a:gd name="connsiteY1908" fmla="*/ 1012522 h 5955635"/>
              <a:gd name="connsiteX1909" fmla="*/ 1762279 w 6187971"/>
              <a:gd name="connsiteY1909" fmla="*/ 1031390 h 5955635"/>
              <a:gd name="connsiteX1910" fmla="*/ 1729692 w 6187971"/>
              <a:gd name="connsiteY1910" fmla="*/ 1053121 h 5955635"/>
              <a:gd name="connsiteX1911" fmla="*/ 1751010 w 6187971"/>
              <a:gd name="connsiteY1911" fmla="*/ 1036088 h 5955635"/>
              <a:gd name="connsiteX1912" fmla="*/ 1930252 w 6187971"/>
              <a:gd name="connsiteY1912" fmla="*/ 927150 h 5955635"/>
              <a:gd name="connsiteX1913" fmla="*/ 1987536 w 6187971"/>
              <a:gd name="connsiteY1913" fmla="*/ 886654 h 5955635"/>
              <a:gd name="connsiteX1914" fmla="*/ 2481059 w 6187971"/>
              <a:gd name="connsiteY1914" fmla="*/ 771795 h 5955635"/>
              <a:gd name="connsiteX1915" fmla="*/ 2477517 w 6187971"/>
              <a:gd name="connsiteY1915" fmla="*/ 777261 h 5955635"/>
              <a:gd name="connsiteX1916" fmla="*/ 2473014 w 6187971"/>
              <a:gd name="connsiteY1916" fmla="*/ 778224 h 5955635"/>
              <a:gd name="connsiteX1917" fmla="*/ 2454997 w 6187971"/>
              <a:gd name="connsiteY1917" fmla="*/ 782073 h 5955635"/>
              <a:gd name="connsiteX1918" fmla="*/ 2432476 w 6187971"/>
              <a:gd name="connsiteY1918" fmla="*/ 786884 h 5955635"/>
              <a:gd name="connsiteX1919" fmla="*/ 2427973 w 6187971"/>
              <a:gd name="connsiteY1919" fmla="*/ 787846 h 5955635"/>
              <a:gd name="connsiteX1920" fmla="*/ 2484601 w 6187971"/>
              <a:gd name="connsiteY1920" fmla="*/ 766329 h 5955635"/>
              <a:gd name="connsiteX1921" fmla="*/ 2489106 w 6187971"/>
              <a:gd name="connsiteY1921" fmla="*/ 765367 h 5955635"/>
              <a:gd name="connsiteX1922" fmla="*/ 2565675 w 6187971"/>
              <a:gd name="connsiteY1922" fmla="*/ 749008 h 5955635"/>
              <a:gd name="connsiteX1923" fmla="*/ 2513550 w 6187971"/>
              <a:gd name="connsiteY1923" fmla="*/ 769563 h 5955635"/>
              <a:gd name="connsiteX1924" fmla="*/ 2509046 w 6187971"/>
              <a:gd name="connsiteY1924" fmla="*/ 770525 h 5955635"/>
              <a:gd name="connsiteX1925" fmla="*/ 2491030 w 6187971"/>
              <a:gd name="connsiteY1925" fmla="*/ 774374 h 5955635"/>
              <a:gd name="connsiteX1926" fmla="*/ 2487488 w 6187971"/>
              <a:gd name="connsiteY1926" fmla="*/ 779841 h 5955635"/>
              <a:gd name="connsiteX1927" fmla="*/ 2492955 w 6187971"/>
              <a:gd name="connsiteY1927" fmla="*/ 783383 h 5955635"/>
              <a:gd name="connsiteX1928" fmla="*/ 2497458 w 6187971"/>
              <a:gd name="connsiteY1928" fmla="*/ 782421 h 5955635"/>
              <a:gd name="connsiteX1929" fmla="*/ 2501000 w 6187971"/>
              <a:gd name="connsiteY1929" fmla="*/ 776954 h 5955635"/>
              <a:gd name="connsiteX1930" fmla="*/ 2505504 w 6187971"/>
              <a:gd name="connsiteY1930" fmla="*/ 775992 h 5955635"/>
              <a:gd name="connsiteX1931" fmla="*/ 2523521 w 6187971"/>
              <a:gd name="connsiteY1931" fmla="*/ 772143 h 5955635"/>
              <a:gd name="connsiteX1932" fmla="*/ 2533491 w 6187971"/>
              <a:gd name="connsiteY1932" fmla="*/ 774723 h 5955635"/>
              <a:gd name="connsiteX1933" fmla="*/ 2565982 w 6187971"/>
              <a:gd name="connsiteY1933" fmla="*/ 772490 h 5955635"/>
              <a:gd name="connsiteX1934" fmla="*/ 2568561 w 6187971"/>
              <a:gd name="connsiteY1934" fmla="*/ 762520 h 5955635"/>
              <a:gd name="connsiteX1935" fmla="*/ 2578532 w 6187971"/>
              <a:gd name="connsiteY1935" fmla="*/ 765100 h 5955635"/>
              <a:gd name="connsiteX1936" fmla="*/ 2600090 w 6187971"/>
              <a:gd name="connsiteY1936" fmla="*/ 755784 h 5955635"/>
              <a:gd name="connsiteX1937" fmla="*/ 2631618 w 6187971"/>
              <a:gd name="connsiteY1937" fmla="*/ 749048 h 5955635"/>
              <a:gd name="connsiteX1938" fmla="*/ 2635160 w 6187971"/>
              <a:gd name="connsiteY1938" fmla="*/ 743582 h 5955635"/>
              <a:gd name="connsiteX1939" fmla="*/ 2650597 w 6187971"/>
              <a:gd name="connsiteY1939" fmla="*/ 749704 h 5955635"/>
              <a:gd name="connsiteX1940" fmla="*/ 2684705 w 6187971"/>
              <a:gd name="connsiteY1940" fmla="*/ 732997 h 5955635"/>
              <a:gd name="connsiteX1941" fmla="*/ 2726204 w 6187971"/>
              <a:gd name="connsiteY1941" fmla="*/ 728841 h 5955635"/>
              <a:gd name="connsiteX1942" fmla="*/ 2739716 w 6187971"/>
              <a:gd name="connsiteY1942" fmla="*/ 725954 h 5955635"/>
              <a:gd name="connsiteX1943" fmla="*/ 2768666 w 6187971"/>
              <a:gd name="connsiteY1943" fmla="*/ 729188 h 5955635"/>
              <a:gd name="connsiteX1944" fmla="*/ 2858747 w 6187971"/>
              <a:gd name="connsiteY1944" fmla="*/ 709942 h 5955635"/>
              <a:gd name="connsiteX1945" fmla="*/ 2860999 w 6187971"/>
              <a:gd name="connsiteY1945" fmla="*/ 709461 h 5955635"/>
              <a:gd name="connsiteX1946" fmla="*/ 2876763 w 6187971"/>
              <a:gd name="connsiteY1946" fmla="*/ 706093 h 5955635"/>
              <a:gd name="connsiteX1947" fmla="*/ 2881267 w 6187971"/>
              <a:gd name="connsiteY1947" fmla="*/ 705131 h 5955635"/>
              <a:gd name="connsiteX1948" fmla="*/ 2890275 w 6187971"/>
              <a:gd name="connsiteY1948" fmla="*/ 703207 h 5955635"/>
              <a:gd name="connsiteX1949" fmla="*/ 3013155 w 6187971"/>
              <a:gd name="connsiteY1949" fmla="*/ 705211 h 5955635"/>
              <a:gd name="connsiteX1950" fmla="*/ 3063662 w 6187971"/>
              <a:gd name="connsiteY1950" fmla="*/ 699131 h 5955635"/>
              <a:gd name="connsiteX1951" fmla="*/ 3095191 w 6187971"/>
              <a:gd name="connsiteY1951" fmla="*/ 692395 h 5955635"/>
              <a:gd name="connsiteX1952" fmla="*/ 3087145 w 6187971"/>
              <a:gd name="connsiteY1952" fmla="*/ 698824 h 5955635"/>
              <a:gd name="connsiteX1953" fmla="*/ 3142478 w 6187971"/>
              <a:gd name="connsiteY1953" fmla="*/ 690534 h 5955635"/>
              <a:gd name="connsiteX1954" fmla="*/ 3199068 w 6187971"/>
              <a:gd name="connsiteY1954" fmla="*/ 688412 h 5955635"/>
              <a:gd name="connsiteX1955" fmla="*/ 3205247 w 6187971"/>
              <a:gd name="connsiteY1955" fmla="*/ 689487 h 5955635"/>
              <a:gd name="connsiteX1956" fmla="*/ 3220650 w 6187971"/>
              <a:gd name="connsiteY1956" fmla="*/ 684430 h 5955635"/>
              <a:gd name="connsiteX1957" fmla="*/ 3249599 w 6187971"/>
              <a:gd name="connsiteY1957" fmla="*/ 687664 h 5955635"/>
              <a:gd name="connsiteX1958" fmla="*/ 3250561 w 6187971"/>
              <a:gd name="connsiteY1958" fmla="*/ 692168 h 5955635"/>
              <a:gd name="connsiteX1959" fmla="*/ 3326476 w 6187971"/>
              <a:gd name="connsiteY1959" fmla="*/ 694788 h 5955635"/>
              <a:gd name="connsiteX1960" fmla="*/ 3358004 w 6187971"/>
              <a:gd name="connsiteY1960" fmla="*/ 688052 h 5955635"/>
              <a:gd name="connsiteX1961" fmla="*/ 3349958 w 6187971"/>
              <a:gd name="connsiteY1961" fmla="*/ 694480 h 5955635"/>
              <a:gd name="connsiteX1962" fmla="*/ 3421368 w 6187971"/>
              <a:gd name="connsiteY1962" fmla="*/ 698063 h 5955635"/>
              <a:gd name="connsiteX1963" fmla="*/ 3507253 w 6187971"/>
              <a:gd name="connsiteY1963" fmla="*/ 703262 h 5955635"/>
              <a:gd name="connsiteX1964" fmla="*/ 3513682 w 6187971"/>
              <a:gd name="connsiteY1964" fmla="*/ 711308 h 5955635"/>
              <a:gd name="connsiteX1965" fmla="*/ 3526232 w 6187971"/>
              <a:gd name="connsiteY1965" fmla="*/ 703917 h 5955635"/>
              <a:gd name="connsiteX1966" fmla="*/ 3569656 w 6187971"/>
              <a:gd name="connsiteY1966" fmla="*/ 708768 h 5955635"/>
              <a:gd name="connsiteX1967" fmla="*/ 3587017 w 6187971"/>
              <a:gd name="connsiteY1967" fmla="*/ 723898 h 5955635"/>
              <a:gd name="connsiteX1968" fmla="*/ 3614041 w 6187971"/>
              <a:gd name="connsiteY1968" fmla="*/ 718124 h 5955635"/>
              <a:gd name="connsiteX1969" fmla="*/ 3610499 w 6187971"/>
              <a:gd name="connsiteY1969" fmla="*/ 723591 h 5955635"/>
              <a:gd name="connsiteX1970" fmla="*/ 3687376 w 6187971"/>
              <a:gd name="connsiteY1970" fmla="*/ 730714 h 5955635"/>
              <a:gd name="connsiteX1971" fmla="*/ 3669360 w 6187971"/>
              <a:gd name="connsiteY1971" fmla="*/ 734563 h 5955635"/>
              <a:gd name="connsiteX1972" fmla="*/ 3729182 w 6187971"/>
              <a:gd name="connsiteY1972" fmla="*/ 750040 h 5955635"/>
              <a:gd name="connsiteX1973" fmla="*/ 3731761 w 6187971"/>
              <a:gd name="connsiteY1973" fmla="*/ 740070 h 5955635"/>
              <a:gd name="connsiteX1974" fmla="*/ 3748161 w 6187971"/>
              <a:gd name="connsiteY1974" fmla="*/ 750695 h 5955635"/>
              <a:gd name="connsiteX1975" fmla="*/ 3786118 w 6187971"/>
              <a:gd name="connsiteY1975" fmla="*/ 752006 h 5955635"/>
              <a:gd name="connsiteX1976" fmla="*/ 3797051 w 6187971"/>
              <a:gd name="connsiteY1976" fmla="*/ 759089 h 5955635"/>
              <a:gd name="connsiteX1977" fmla="*/ 3802517 w 6187971"/>
              <a:gd name="connsiteY1977" fmla="*/ 762631 h 5955635"/>
              <a:gd name="connsiteX1978" fmla="*/ 3801555 w 6187971"/>
              <a:gd name="connsiteY1978" fmla="*/ 758127 h 5955635"/>
              <a:gd name="connsiteX1979" fmla="*/ 3791584 w 6187971"/>
              <a:gd name="connsiteY1979" fmla="*/ 755547 h 5955635"/>
              <a:gd name="connsiteX1980" fmla="*/ 3832428 w 6187971"/>
              <a:gd name="connsiteY1980" fmla="*/ 770370 h 5955635"/>
              <a:gd name="connsiteX1981" fmla="*/ 3852369 w 6187971"/>
              <a:gd name="connsiteY1981" fmla="*/ 775528 h 5955635"/>
              <a:gd name="connsiteX1982" fmla="*/ 3848520 w 6187971"/>
              <a:gd name="connsiteY1982" fmla="*/ 757512 h 5955635"/>
              <a:gd name="connsiteX1983" fmla="*/ 3875019 w 6187971"/>
              <a:gd name="connsiteY1983" fmla="*/ 773044 h 5955635"/>
              <a:gd name="connsiteX1984" fmla="*/ 3878041 w 6187971"/>
              <a:gd name="connsiteY1984" fmla="*/ 775787 h 5955635"/>
              <a:gd name="connsiteX1985" fmla="*/ 3875851 w 6187971"/>
              <a:gd name="connsiteY1985" fmla="*/ 775221 h 5955635"/>
              <a:gd name="connsiteX1986" fmla="*/ 3866844 w 6187971"/>
              <a:gd name="connsiteY1986" fmla="*/ 777146 h 5955635"/>
              <a:gd name="connsiteX1987" fmla="*/ 3872310 w 6187971"/>
              <a:gd name="connsiteY1987" fmla="*/ 780688 h 5955635"/>
              <a:gd name="connsiteX1988" fmla="*/ 3886784 w 6187971"/>
              <a:gd name="connsiteY1988" fmla="*/ 782304 h 5955635"/>
              <a:gd name="connsiteX1989" fmla="*/ 3912191 w 6187971"/>
              <a:gd name="connsiteY1989" fmla="*/ 791005 h 5955635"/>
              <a:gd name="connsiteX1990" fmla="*/ 3991955 w 6187971"/>
              <a:gd name="connsiteY1990" fmla="*/ 811642 h 5955635"/>
              <a:gd name="connsiteX1991" fmla="*/ 3996459 w 6187971"/>
              <a:gd name="connsiteY1991" fmla="*/ 810679 h 5955635"/>
              <a:gd name="connsiteX1992" fmla="*/ 3988413 w 6187971"/>
              <a:gd name="connsiteY1992" fmla="*/ 817108 h 5955635"/>
              <a:gd name="connsiteX1993" fmla="*/ 3993879 w 6187971"/>
              <a:gd name="connsiteY1993" fmla="*/ 820649 h 5955635"/>
              <a:gd name="connsiteX1994" fmla="*/ 3997422 w 6187971"/>
              <a:gd name="connsiteY1994" fmla="*/ 815183 h 5955635"/>
              <a:gd name="connsiteX1995" fmla="*/ 4029257 w 6187971"/>
              <a:gd name="connsiteY1995" fmla="*/ 831930 h 5955635"/>
              <a:gd name="connsiteX1996" fmla="*/ 4075568 w 6187971"/>
              <a:gd name="connsiteY1996" fmla="*/ 850293 h 5955635"/>
              <a:gd name="connsiteX1997" fmla="*/ 4079109 w 6187971"/>
              <a:gd name="connsiteY1997" fmla="*/ 844827 h 5955635"/>
              <a:gd name="connsiteX1998" fmla="*/ 4094547 w 6187971"/>
              <a:gd name="connsiteY1998" fmla="*/ 850949 h 5955635"/>
              <a:gd name="connsiteX1999" fmla="*/ 4102899 w 6187971"/>
              <a:gd name="connsiteY1999" fmla="*/ 868003 h 5955635"/>
              <a:gd name="connsiteX2000" fmla="*/ 4130886 w 6187971"/>
              <a:gd name="connsiteY2000" fmla="*/ 866732 h 5955635"/>
              <a:gd name="connsiteX2001" fmla="*/ 4131849 w 6187971"/>
              <a:gd name="connsiteY2001" fmla="*/ 871237 h 5955635"/>
              <a:gd name="connsiteX2002" fmla="*/ 4143743 w 6187971"/>
              <a:gd name="connsiteY2002" fmla="*/ 882824 h 5955635"/>
              <a:gd name="connsiteX2003" fmla="*/ 4158217 w 6187971"/>
              <a:gd name="connsiteY2003" fmla="*/ 884442 h 5955635"/>
              <a:gd name="connsiteX2004" fmla="*/ 4163684 w 6187971"/>
              <a:gd name="connsiteY2004" fmla="*/ 887983 h 5955635"/>
              <a:gd name="connsiteX2005" fmla="*/ 4164646 w 6187971"/>
              <a:gd name="connsiteY2005" fmla="*/ 892487 h 5955635"/>
              <a:gd name="connsiteX2006" fmla="*/ 4169151 w 6187971"/>
              <a:gd name="connsiteY2006" fmla="*/ 891525 h 5955635"/>
              <a:gd name="connsiteX2007" fmla="*/ 4167226 w 6187971"/>
              <a:gd name="connsiteY2007" fmla="*/ 882517 h 5955635"/>
              <a:gd name="connsiteX2008" fmla="*/ 4188129 w 6187971"/>
              <a:gd name="connsiteY2008" fmla="*/ 892180 h 5955635"/>
              <a:gd name="connsiteX2009" fmla="*/ 4192633 w 6187971"/>
              <a:gd name="connsiteY2009" fmla="*/ 891218 h 5955635"/>
              <a:gd name="connsiteX2010" fmla="*/ 4195520 w 6187971"/>
              <a:gd name="connsiteY2010" fmla="*/ 904730 h 5955635"/>
              <a:gd name="connsiteX2011" fmla="*/ 4236364 w 6187971"/>
              <a:gd name="connsiteY2011" fmla="*/ 919552 h 5955635"/>
              <a:gd name="connsiteX2012" fmla="*/ 4241830 w 6187971"/>
              <a:gd name="connsiteY2012" fmla="*/ 923094 h 5955635"/>
              <a:gd name="connsiteX2013" fmla="*/ 4237326 w 6187971"/>
              <a:gd name="connsiteY2013" fmla="*/ 924056 h 5955635"/>
              <a:gd name="connsiteX2014" fmla="*/ 4227356 w 6187971"/>
              <a:gd name="connsiteY2014" fmla="*/ 921476 h 5955635"/>
              <a:gd name="connsiteX2015" fmla="*/ 4228318 w 6187971"/>
              <a:gd name="connsiteY2015" fmla="*/ 925981 h 5955635"/>
              <a:gd name="connsiteX2016" fmla="*/ 4242793 w 6187971"/>
              <a:gd name="connsiteY2016" fmla="*/ 927598 h 5955635"/>
              <a:gd name="connsiteX2017" fmla="*/ 4284599 w 6187971"/>
              <a:gd name="connsiteY2017" fmla="*/ 946924 h 5955635"/>
              <a:gd name="connsiteX2018" fmla="*/ 4288140 w 6187971"/>
              <a:gd name="connsiteY2018" fmla="*/ 941457 h 5955635"/>
              <a:gd name="connsiteX2019" fmla="*/ 4300036 w 6187971"/>
              <a:gd name="connsiteY2019" fmla="*/ 953045 h 5955635"/>
              <a:gd name="connsiteX2020" fmla="*/ 4310968 w 6187971"/>
              <a:gd name="connsiteY2020" fmla="*/ 960129 h 5955635"/>
              <a:gd name="connsiteX2021" fmla="*/ 4331871 w 6187971"/>
              <a:gd name="connsiteY2021" fmla="*/ 969792 h 5955635"/>
              <a:gd name="connsiteX2022" fmla="*/ 4358241 w 6187971"/>
              <a:gd name="connsiteY2022" fmla="*/ 982997 h 5955635"/>
              <a:gd name="connsiteX2023" fmla="*/ 4360165 w 6187971"/>
              <a:gd name="connsiteY2023" fmla="*/ 992005 h 5955635"/>
              <a:gd name="connsiteX2024" fmla="*/ 4365632 w 6187971"/>
              <a:gd name="connsiteY2024" fmla="*/ 995547 h 5955635"/>
              <a:gd name="connsiteX2025" fmla="*/ 4375602 w 6187971"/>
              <a:gd name="connsiteY2025" fmla="*/ 998126 h 5955635"/>
              <a:gd name="connsiteX2026" fmla="*/ 4380106 w 6187971"/>
              <a:gd name="connsiteY2026" fmla="*/ 997163 h 5955635"/>
              <a:gd name="connsiteX2027" fmla="*/ 4401972 w 6187971"/>
              <a:gd name="connsiteY2027" fmla="*/ 1011331 h 5955635"/>
              <a:gd name="connsiteX2028" fmla="*/ 4406475 w 6187971"/>
              <a:gd name="connsiteY2028" fmla="*/ 1010369 h 5955635"/>
              <a:gd name="connsiteX2029" fmla="*/ 4466605 w 6187971"/>
              <a:gd name="connsiteY2029" fmla="*/ 1049328 h 5955635"/>
              <a:gd name="connsiteX2030" fmla="*/ 4467567 w 6187971"/>
              <a:gd name="connsiteY2030" fmla="*/ 1053832 h 5955635"/>
              <a:gd name="connsiteX2031" fmla="*/ 4472072 w 6187971"/>
              <a:gd name="connsiteY2031" fmla="*/ 1052869 h 5955635"/>
              <a:gd name="connsiteX2032" fmla="*/ 4585248 w 6187971"/>
              <a:gd name="connsiteY2032" fmla="*/ 1141721 h 5955635"/>
              <a:gd name="connsiteX2033" fmla="*/ 4665626 w 6187971"/>
              <a:gd name="connsiteY2033" fmla="*/ 1209323 h 5955635"/>
              <a:gd name="connsiteX2034" fmla="*/ 4690378 w 6187971"/>
              <a:gd name="connsiteY2034" fmla="*/ 1237001 h 5955635"/>
              <a:gd name="connsiteX2035" fmla="*/ 4825726 w 6187971"/>
              <a:gd name="connsiteY2035" fmla="*/ 1363503 h 5955635"/>
              <a:gd name="connsiteX2036" fmla="*/ 4836660 w 6187971"/>
              <a:gd name="connsiteY2036" fmla="*/ 1370586 h 5955635"/>
              <a:gd name="connsiteX2037" fmla="*/ 4837622 w 6187971"/>
              <a:gd name="connsiteY2037" fmla="*/ 1375090 h 5955635"/>
              <a:gd name="connsiteX2038" fmla="*/ 4878773 w 6187971"/>
              <a:gd name="connsiteY2038" fmla="*/ 1413395 h 5955635"/>
              <a:gd name="connsiteX2039" fmla="*/ 4884239 w 6187971"/>
              <a:gd name="connsiteY2039" fmla="*/ 1416937 h 5955635"/>
              <a:gd name="connsiteX2040" fmla="*/ 4889705 w 6187971"/>
              <a:gd name="connsiteY2040" fmla="*/ 1420479 h 5955635"/>
              <a:gd name="connsiteX2041" fmla="*/ 4938248 w 6187971"/>
              <a:gd name="connsiteY2041" fmla="*/ 1471333 h 5955635"/>
              <a:gd name="connsiteX2042" fmla="*/ 4929894 w 6187971"/>
              <a:gd name="connsiteY2042" fmla="*/ 1454279 h 5955635"/>
              <a:gd name="connsiteX2043" fmla="*/ 4935361 w 6187971"/>
              <a:gd name="connsiteY2043" fmla="*/ 1457821 h 5955635"/>
              <a:gd name="connsiteX2044" fmla="*/ 4936323 w 6187971"/>
              <a:gd name="connsiteY2044" fmla="*/ 1462325 h 5955635"/>
              <a:gd name="connsiteX2045" fmla="*/ 4940827 w 6187971"/>
              <a:gd name="connsiteY2045" fmla="*/ 1461362 h 5955635"/>
              <a:gd name="connsiteX2046" fmla="*/ 4945331 w 6187971"/>
              <a:gd name="connsiteY2046" fmla="*/ 1460400 h 5955635"/>
              <a:gd name="connsiteX2047" fmla="*/ 4950797 w 6187971"/>
              <a:gd name="connsiteY2047" fmla="*/ 1463942 h 5955635"/>
              <a:gd name="connsiteX2048" fmla="*/ 4975550 w 6187971"/>
              <a:gd name="connsiteY2048" fmla="*/ 1491621 h 5955635"/>
              <a:gd name="connsiteX2049" fmla="*/ 4974587 w 6187971"/>
              <a:gd name="connsiteY2049" fmla="*/ 1487117 h 5955635"/>
              <a:gd name="connsiteX2050" fmla="*/ 4980054 w 6187971"/>
              <a:gd name="connsiteY2050" fmla="*/ 1490659 h 5955635"/>
              <a:gd name="connsiteX2051" fmla="*/ 4986482 w 6187971"/>
              <a:gd name="connsiteY2051" fmla="*/ 1498705 h 5955635"/>
              <a:gd name="connsiteX2052" fmla="*/ 4971045 w 6187971"/>
              <a:gd name="connsiteY2052" fmla="*/ 1492584 h 5955635"/>
              <a:gd name="connsiteX2053" fmla="*/ 4978437 w 6187971"/>
              <a:gd name="connsiteY2053" fmla="*/ 1505133 h 5955635"/>
              <a:gd name="connsiteX2054" fmla="*/ 4973932 w 6187971"/>
              <a:gd name="connsiteY2054" fmla="*/ 1506096 h 5955635"/>
              <a:gd name="connsiteX2055" fmla="*/ 4974894 w 6187971"/>
              <a:gd name="connsiteY2055" fmla="*/ 1510600 h 5955635"/>
              <a:gd name="connsiteX2056" fmla="*/ 4984865 w 6187971"/>
              <a:gd name="connsiteY2056" fmla="*/ 1513179 h 5955635"/>
              <a:gd name="connsiteX2057" fmla="*/ 4998684 w 6187971"/>
              <a:gd name="connsiteY2057" fmla="*/ 1533775 h 5955635"/>
              <a:gd name="connsiteX2058" fmla="*/ 4995142 w 6187971"/>
              <a:gd name="connsiteY2058" fmla="*/ 1539241 h 5955635"/>
              <a:gd name="connsiteX2059" fmla="*/ 5015391 w 6187971"/>
              <a:gd name="connsiteY2059" fmla="*/ 1567882 h 5955635"/>
              <a:gd name="connsiteX2060" fmla="*/ 5020857 w 6187971"/>
              <a:gd name="connsiteY2060" fmla="*/ 1571425 h 5955635"/>
              <a:gd name="connsiteX2061" fmla="*/ 5027286 w 6187971"/>
              <a:gd name="connsiteY2061" fmla="*/ 1579470 h 5955635"/>
              <a:gd name="connsiteX2062" fmla="*/ 5037257 w 6187971"/>
              <a:gd name="connsiteY2062" fmla="*/ 1582050 h 5955635"/>
              <a:gd name="connsiteX2063" fmla="*/ 5038219 w 6187971"/>
              <a:gd name="connsiteY2063" fmla="*/ 1586554 h 5955635"/>
              <a:gd name="connsiteX2064" fmla="*/ 5034677 w 6187971"/>
              <a:gd name="connsiteY2064" fmla="*/ 1592020 h 5955635"/>
              <a:gd name="connsiteX2065" fmla="*/ 5035639 w 6187971"/>
              <a:gd name="connsiteY2065" fmla="*/ 1596524 h 5955635"/>
              <a:gd name="connsiteX2066" fmla="*/ 5041106 w 6187971"/>
              <a:gd name="connsiteY2066" fmla="*/ 1600066 h 5955635"/>
              <a:gd name="connsiteX2067" fmla="*/ 5044647 w 6187971"/>
              <a:gd name="connsiteY2067" fmla="*/ 1594600 h 5955635"/>
              <a:gd name="connsiteX2068" fmla="*/ 5043685 w 6187971"/>
              <a:gd name="connsiteY2068" fmla="*/ 1590095 h 5955635"/>
              <a:gd name="connsiteX2069" fmla="*/ 5042723 w 6187971"/>
              <a:gd name="connsiteY2069" fmla="*/ 1585592 h 5955635"/>
              <a:gd name="connsiteX2070" fmla="*/ 5046264 w 6187971"/>
              <a:gd name="connsiteY2070" fmla="*/ 1580125 h 5955635"/>
              <a:gd name="connsiteX2071" fmla="*/ 5050769 w 6187971"/>
              <a:gd name="connsiteY2071" fmla="*/ 1579163 h 5955635"/>
              <a:gd name="connsiteX2072" fmla="*/ 5057197 w 6187971"/>
              <a:gd name="connsiteY2072" fmla="*/ 1587208 h 5955635"/>
              <a:gd name="connsiteX2073" fmla="*/ 5058159 w 6187971"/>
              <a:gd name="connsiteY2073" fmla="*/ 1591713 h 5955635"/>
              <a:gd name="connsiteX2074" fmla="*/ 5054618 w 6187971"/>
              <a:gd name="connsiteY2074" fmla="*/ 1597179 h 5955635"/>
              <a:gd name="connsiteX2075" fmla="*/ 5062008 w 6187971"/>
              <a:gd name="connsiteY2075" fmla="*/ 1609729 h 5955635"/>
              <a:gd name="connsiteX2076" fmla="*/ 5067475 w 6187971"/>
              <a:gd name="connsiteY2076" fmla="*/ 1613271 h 5955635"/>
              <a:gd name="connsiteX2077" fmla="*/ 5066513 w 6187971"/>
              <a:gd name="connsiteY2077" fmla="*/ 1608767 h 5955635"/>
              <a:gd name="connsiteX2078" fmla="*/ 5060083 w 6187971"/>
              <a:gd name="connsiteY2078" fmla="*/ 1600720 h 5955635"/>
              <a:gd name="connsiteX2079" fmla="*/ 5063626 w 6187971"/>
              <a:gd name="connsiteY2079" fmla="*/ 1595255 h 5955635"/>
              <a:gd name="connsiteX2080" fmla="*/ 5070054 w 6187971"/>
              <a:gd name="connsiteY2080" fmla="*/ 1603300 h 5955635"/>
              <a:gd name="connsiteX2081" fmla="*/ 5086760 w 6187971"/>
              <a:gd name="connsiteY2081" fmla="*/ 1637409 h 5955635"/>
              <a:gd name="connsiteX2082" fmla="*/ 5083219 w 6187971"/>
              <a:gd name="connsiteY2082" fmla="*/ 1642874 h 5955635"/>
              <a:gd name="connsiteX2083" fmla="*/ 5072286 w 6187971"/>
              <a:gd name="connsiteY2083" fmla="*/ 1635791 h 5955635"/>
              <a:gd name="connsiteX2084" fmla="*/ 5108279 w 6187971"/>
              <a:gd name="connsiteY2084" fmla="*/ 1694036 h 5955635"/>
              <a:gd name="connsiteX2085" fmla="*/ 5132069 w 6187971"/>
              <a:gd name="connsiteY2085" fmla="*/ 1717212 h 5955635"/>
              <a:gd name="connsiteX2086" fmla="*/ 5136572 w 6187971"/>
              <a:gd name="connsiteY2086" fmla="*/ 1716250 h 5955635"/>
              <a:gd name="connsiteX2087" fmla="*/ 5143963 w 6187971"/>
              <a:gd name="connsiteY2087" fmla="*/ 1728799 h 5955635"/>
              <a:gd name="connsiteX2088" fmla="*/ 5147505 w 6187971"/>
              <a:gd name="connsiteY2088" fmla="*/ 1723332 h 5955635"/>
              <a:gd name="connsiteX2089" fmla="*/ 5148468 w 6187971"/>
              <a:gd name="connsiteY2089" fmla="*/ 1727837 h 5955635"/>
              <a:gd name="connsiteX2090" fmla="*/ 5162286 w 6187971"/>
              <a:gd name="connsiteY2090" fmla="*/ 1748432 h 5955635"/>
              <a:gd name="connsiteX2091" fmla="*/ 5175144 w 6187971"/>
              <a:gd name="connsiteY2091" fmla="*/ 1764524 h 5955635"/>
              <a:gd name="connsiteX2092" fmla="*/ 5184459 w 6187971"/>
              <a:gd name="connsiteY2092" fmla="*/ 1786082 h 5955635"/>
              <a:gd name="connsiteX2093" fmla="*/ 5198934 w 6187971"/>
              <a:gd name="connsiteY2093" fmla="*/ 1787699 h 5955635"/>
              <a:gd name="connsiteX2094" fmla="*/ 5200859 w 6187971"/>
              <a:gd name="connsiteY2094" fmla="*/ 1796708 h 5955635"/>
              <a:gd name="connsiteX2095" fmla="*/ 5196355 w 6187971"/>
              <a:gd name="connsiteY2095" fmla="*/ 1797670 h 5955635"/>
              <a:gd name="connsiteX2096" fmla="*/ 5197317 w 6187971"/>
              <a:gd name="connsiteY2096" fmla="*/ 1802173 h 5955635"/>
              <a:gd name="connsiteX2097" fmla="*/ 5198279 w 6187971"/>
              <a:gd name="connsiteY2097" fmla="*/ 1806678 h 5955635"/>
              <a:gd name="connsiteX2098" fmla="*/ 5190233 w 6187971"/>
              <a:gd name="connsiteY2098" fmla="*/ 1813107 h 5955635"/>
              <a:gd name="connsiteX2099" fmla="*/ 5281503 w 6187971"/>
              <a:gd name="connsiteY2099" fmla="*/ 1953734 h 5955635"/>
              <a:gd name="connsiteX2100" fmla="*/ 5295322 w 6187971"/>
              <a:gd name="connsiteY2100" fmla="*/ 1974330 h 5955635"/>
              <a:gd name="connsiteX2101" fmla="*/ 5305600 w 6187971"/>
              <a:gd name="connsiteY2101" fmla="*/ 2000392 h 5955635"/>
              <a:gd name="connsiteX2102" fmla="*/ 5321344 w 6187971"/>
              <a:gd name="connsiteY2102" fmla="*/ 2029996 h 5955635"/>
              <a:gd name="connsiteX2103" fmla="*/ 5339975 w 6187971"/>
              <a:gd name="connsiteY2103" fmla="*/ 2073112 h 5955635"/>
              <a:gd name="connsiteX2104" fmla="*/ 5354757 w 6187971"/>
              <a:gd name="connsiteY2104" fmla="*/ 2098212 h 5955635"/>
              <a:gd name="connsiteX2105" fmla="*/ 5355719 w 6187971"/>
              <a:gd name="connsiteY2105" fmla="*/ 2102716 h 5955635"/>
              <a:gd name="connsiteX2106" fmla="*/ 5372426 w 6187971"/>
              <a:gd name="connsiteY2106" fmla="*/ 2136823 h 5955635"/>
              <a:gd name="connsiteX2107" fmla="*/ 5388169 w 6187971"/>
              <a:gd name="connsiteY2107" fmla="*/ 2166427 h 5955635"/>
              <a:gd name="connsiteX2108" fmla="*/ 5395560 w 6187971"/>
              <a:gd name="connsiteY2108" fmla="*/ 2178977 h 5955635"/>
              <a:gd name="connsiteX2109" fmla="*/ 5396523 w 6187971"/>
              <a:gd name="connsiteY2109" fmla="*/ 2183482 h 5955635"/>
              <a:gd name="connsiteX2110" fmla="*/ 5394905 w 6187971"/>
              <a:gd name="connsiteY2110" fmla="*/ 2197956 h 5955635"/>
              <a:gd name="connsiteX2111" fmla="*/ 5395867 w 6187971"/>
              <a:gd name="connsiteY2111" fmla="*/ 2202459 h 5955635"/>
              <a:gd name="connsiteX2112" fmla="*/ 5402296 w 6187971"/>
              <a:gd name="connsiteY2112" fmla="*/ 2210505 h 5955635"/>
              <a:gd name="connsiteX2113" fmla="*/ 5406801 w 6187971"/>
              <a:gd name="connsiteY2113" fmla="*/ 2209543 h 5955635"/>
              <a:gd name="connsiteX2114" fmla="*/ 5411612 w 6187971"/>
              <a:gd name="connsiteY2114" fmla="*/ 2232063 h 5955635"/>
              <a:gd name="connsiteX2115" fmla="*/ 5417078 w 6187971"/>
              <a:gd name="connsiteY2115" fmla="*/ 2235605 h 5955635"/>
              <a:gd name="connsiteX2116" fmla="*/ 5416115 w 6187971"/>
              <a:gd name="connsiteY2116" fmla="*/ 2231101 h 5955635"/>
              <a:gd name="connsiteX2117" fmla="*/ 5406801 w 6187971"/>
              <a:gd name="connsiteY2117" fmla="*/ 2209543 h 5955635"/>
              <a:gd name="connsiteX2118" fmla="*/ 5411304 w 6187971"/>
              <a:gd name="connsiteY2118" fmla="*/ 2208581 h 5955635"/>
              <a:gd name="connsiteX2119" fmla="*/ 5413229 w 6187971"/>
              <a:gd name="connsiteY2119" fmla="*/ 2217589 h 5955635"/>
              <a:gd name="connsiteX2120" fmla="*/ 5414191 w 6187971"/>
              <a:gd name="connsiteY2120" fmla="*/ 2222093 h 5955635"/>
              <a:gd name="connsiteX2121" fmla="*/ 5421582 w 6187971"/>
              <a:gd name="connsiteY2121" fmla="*/ 2234643 h 5955635"/>
              <a:gd name="connsiteX2122" fmla="*/ 5425431 w 6187971"/>
              <a:gd name="connsiteY2122" fmla="*/ 2252659 h 5955635"/>
              <a:gd name="connsiteX2123" fmla="*/ 5419964 w 6187971"/>
              <a:gd name="connsiteY2123" fmla="*/ 2249117 h 5955635"/>
              <a:gd name="connsiteX2124" fmla="*/ 5421889 w 6187971"/>
              <a:gd name="connsiteY2124" fmla="*/ 2258125 h 5955635"/>
              <a:gd name="connsiteX2125" fmla="*/ 5423814 w 6187971"/>
              <a:gd name="connsiteY2125" fmla="*/ 2267134 h 5955635"/>
              <a:gd name="connsiteX2126" fmla="*/ 5431205 w 6187971"/>
              <a:gd name="connsiteY2126" fmla="*/ 2279684 h 5955635"/>
              <a:gd name="connsiteX2127" fmla="*/ 5433129 w 6187971"/>
              <a:gd name="connsiteY2127" fmla="*/ 2288691 h 5955635"/>
              <a:gd name="connsiteX2128" fmla="*/ 5438596 w 6187971"/>
              <a:gd name="connsiteY2128" fmla="*/ 2292233 h 5955635"/>
              <a:gd name="connsiteX2129" fmla="*/ 5445987 w 6187971"/>
              <a:gd name="connsiteY2129" fmla="*/ 2304783 h 5955635"/>
              <a:gd name="connsiteX2130" fmla="*/ 5447912 w 6187971"/>
              <a:gd name="connsiteY2130" fmla="*/ 2313792 h 5955635"/>
              <a:gd name="connsiteX2131" fmla="*/ 5444369 w 6187971"/>
              <a:gd name="connsiteY2131" fmla="*/ 2319257 h 5955635"/>
              <a:gd name="connsiteX2132" fmla="*/ 5449836 w 6187971"/>
              <a:gd name="connsiteY2132" fmla="*/ 2322799 h 5955635"/>
              <a:gd name="connsiteX2133" fmla="*/ 5447256 w 6187971"/>
              <a:gd name="connsiteY2133" fmla="*/ 2332770 h 5955635"/>
              <a:gd name="connsiteX2134" fmla="*/ 5453685 w 6187971"/>
              <a:gd name="connsiteY2134" fmla="*/ 2340816 h 5955635"/>
              <a:gd name="connsiteX2135" fmla="*/ 5457226 w 6187971"/>
              <a:gd name="connsiteY2135" fmla="*/ 2335349 h 5955635"/>
              <a:gd name="connsiteX2136" fmla="*/ 5460113 w 6187971"/>
              <a:gd name="connsiteY2136" fmla="*/ 2348861 h 5955635"/>
              <a:gd name="connsiteX2137" fmla="*/ 5461075 w 6187971"/>
              <a:gd name="connsiteY2137" fmla="*/ 2353366 h 5955635"/>
              <a:gd name="connsiteX2138" fmla="*/ 5469429 w 6187971"/>
              <a:gd name="connsiteY2138" fmla="*/ 2370419 h 5955635"/>
              <a:gd name="connsiteX2139" fmla="*/ 5473278 w 6187971"/>
              <a:gd name="connsiteY2139" fmla="*/ 2388435 h 5955635"/>
              <a:gd name="connsiteX2140" fmla="*/ 5476165 w 6187971"/>
              <a:gd name="connsiteY2140" fmla="*/ 2401947 h 5955635"/>
              <a:gd name="connsiteX2141" fmla="*/ 5481938 w 6187971"/>
              <a:gd name="connsiteY2141" fmla="*/ 2428972 h 5955635"/>
              <a:gd name="connsiteX2142" fmla="*/ 5480321 w 6187971"/>
              <a:gd name="connsiteY2142" fmla="*/ 2443447 h 5955635"/>
              <a:gd name="connsiteX2143" fmla="*/ 5474855 w 6187971"/>
              <a:gd name="connsiteY2143" fmla="*/ 2439905 h 5955635"/>
              <a:gd name="connsiteX2144" fmla="*/ 5469388 w 6187971"/>
              <a:gd name="connsiteY2144" fmla="*/ 2436363 h 5955635"/>
              <a:gd name="connsiteX2145" fmla="*/ 5470351 w 6187971"/>
              <a:gd name="connsiteY2145" fmla="*/ 2440867 h 5955635"/>
              <a:gd name="connsiteX2146" fmla="*/ 5471313 w 6187971"/>
              <a:gd name="connsiteY2146" fmla="*/ 2445371 h 5955635"/>
              <a:gd name="connsiteX2147" fmla="*/ 5476780 w 6187971"/>
              <a:gd name="connsiteY2147" fmla="*/ 2448912 h 5955635"/>
              <a:gd name="connsiteX2148" fmla="*/ 5482245 w 6187971"/>
              <a:gd name="connsiteY2148" fmla="*/ 2452454 h 5955635"/>
              <a:gd name="connsiteX2149" fmla="*/ 5486750 w 6187971"/>
              <a:gd name="connsiteY2149" fmla="*/ 2451492 h 5955635"/>
              <a:gd name="connsiteX2150" fmla="*/ 5486443 w 6187971"/>
              <a:gd name="connsiteY2150" fmla="*/ 2428009 h 5955635"/>
              <a:gd name="connsiteX2151" fmla="*/ 5485480 w 6187971"/>
              <a:gd name="connsiteY2151" fmla="*/ 2423506 h 5955635"/>
              <a:gd name="connsiteX2152" fmla="*/ 5481631 w 6187971"/>
              <a:gd name="connsiteY2152" fmla="*/ 2405489 h 5955635"/>
              <a:gd name="connsiteX2153" fmla="*/ 5479707 w 6187971"/>
              <a:gd name="connsiteY2153" fmla="*/ 2396482 h 5955635"/>
              <a:gd name="connsiteX2154" fmla="*/ 5489021 w 6187971"/>
              <a:gd name="connsiteY2154" fmla="*/ 2418039 h 5955635"/>
              <a:gd name="connsiteX2155" fmla="*/ 5499299 w 6187971"/>
              <a:gd name="connsiteY2155" fmla="*/ 2444101 h 5955635"/>
              <a:gd name="connsiteX2156" fmla="*/ 5496720 w 6187971"/>
              <a:gd name="connsiteY2156" fmla="*/ 2454072 h 5955635"/>
              <a:gd name="connsiteX2157" fmla="*/ 5498644 w 6187971"/>
              <a:gd name="connsiteY2157" fmla="*/ 2463080 h 5955635"/>
              <a:gd name="connsiteX2158" fmla="*/ 5503455 w 6187971"/>
              <a:gd name="connsiteY2158" fmla="*/ 2485600 h 5955635"/>
              <a:gd name="connsiteX2159" fmla="*/ 5497990 w 6187971"/>
              <a:gd name="connsiteY2159" fmla="*/ 2482058 h 5955635"/>
              <a:gd name="connsiteX2160" fmla="*/ 5493486 w 6187971"/>
              <a:gd name="connsiteY2160" fmla="*/ 2483021 h 5955635"/>
              <a:gd name="connsiteX2161" fmla="*/ 5494448 w 6187971"/>
              <a:gd name="connsiteY2161" fmla="*/ 2487524 h 5955635"/>
              <a:gd name="connsiteX2162" fmla="*/ 5495410 w 6187971"/>
              <a:gd name="connsiteY2162" fmla="*/ 2492028 h 5955635"/>
              <a:gd name="connsiteX2163" fmla="*/ 5500877 w 6187971"/>
              <a:gd name="connsiteY2163" fmla="*/ 2495570 h 5955635"/>
              <a:gd name="connsiteX2164" fmla="*/ 5501839 w 6187971"/>
              <a:gd name="connsiteY2164" fmla="*/ 2500075 h 5955635"/>
              <a:gd name="connsiteX2165" fmla="*/ 5502801 w 6187971"/>
              <a:gd name="connsiteY2165" fmla="*/ 2504578 h 5955635"/>
              <a:gd name="connsiteX2166" fmla="*/ 5511154 w 6187971"/>
              <a:gd name="connsiteY2166" fmla="*/ 2521632 h 5955635"/>
              <a:gd name="connsiteX2167" fmla="*/ 5515965 w 6187971"/>
              <a:gd name="connsiteY2167" fmla="*/ 2544153 h 5955635"/>
              <a:gd name="connsiteX2168" fmla="*/ 5512424 w 6187971"/>
              <a:gd name="connsiteY2168" fmla="*/ 2549619 h 5955635"/>
              <a:gd name="connsiteX2169" fmla="*/ 5506957 w 6187971"/>
              <a:gd name="connsiteY2169" fmla="*/ 2546078 h 5955635"/>
              <a:gd name="connsiteX2170" fmla="*/ 5490906 w 6187971"/>
              <a:gd name="connsiteY2170" fmla="*/ 2492991 h 5955635"/>
              <a:gd name="connsiteX2171" fmla="*/ 5489943 w 6187971"/>
              <a:gd name="connsiteY2171" fmla="*/ 2488486 h 5955635"/>
              <a:gd name="connsiteX2172" fmla="*/ 5486402 w 6187971"/>
              <a:gd name="connsiteY2172" fmla="*/ 2493953 h 5955635"/>
              <a:gd name="connsiteX2173" fmla="*/ 5502453 w 6187971"/>
              <a:gd name="connsiteY2173" fmla="*/ 2547040 h 5955635"/>
              <a:gd name="connsiteX2174" fmla="*/ 5490865 w 6187971"/>
              <a:gd name="connsiteY2174" fmla="*/ 2558934 h 5955635"/>
              <a:gd name="connsiteX2175" fmla="*/ 5492443 w 6187971"/>
              <a:gd name="connsiteY2175" fmla="*/ 2610404 h 5955635"/>
              <a:gd name="connsiteX2176" fmla="*/ 5494900 w 6187971"/>
              <a:gd name="connsiteY2176" fmla="*/ 2798263 h 5955635"/>
              <a:gd name="connsiteX2177" fmla="*/ 5495863 w 6187971"/>
              <a:gd name="connsiteY2177" fmla="*/ 2802768 h 5955635"/>
              <a:gd name="connsiteX2178" fmla="*/ 5496825 w 6187971"/>
              <a:gd name="connsiteY2178" fmla="*/ 2807272 h 5955635"/>
              <a:gd name="connsiteX2179" fmla="*/ 5500367 w 6187971"/>
              <a:gd name="connsiteY2179" fmla="*/ 2801805 h 5955635"/>
              <a:gd name="connsiteX2180" fmla="*/ 5498871 w 6187971"/>
              <a:gd name="connsiteY2180" fmla="*/ 2618449 h 5955635"/>
              <a:gd name="connsiteX2181" fmla="*/ 5499833 w 6187971"/>
              <a:gd name="connsiteY2181" fmla="*/ 2622954 h 5955635"/>
              <a:gd name="connsiteX2182" fmla="*/ 5506917 w 6187971"/>
              <a:gd name="connsiteY2182" fmla="*/ 2612020 h 5955635"/>
              <a:gd name="connsiteX2183" fmla="*/ 5509804 w 6187971"/>
              <a:gd name="connsiteY2183" fmla="*/ 2625532 h 5955635"/>
              <a:gd name="connsiteX2184" fmla="*/ 5505299 w 6187971"/>
              <a:gd name="connsiteY2184" fmla="*/ 2626495 h 5955635"/>
              <a:gd name="connsiteX2185" fmla="*/ 5506262 w 6187971"/>
              <a:gd name="connsiteY2185" fmla="*/ 2630999 h 5955635"/>
              <a:gd name="connsiteX2186" fmla="*/ 5507224 w 6187971"/>
              <a:gd name="connsiteY2186" fmla="*/ 2635503 h 5955635"/>
              <a:gd name="connsiteX2187" fmla="*/ 5511728 w 6187971"/>
              <a:gd name="connsiteY2187" fmla="*/ 2634541 h 5955635"/>
              <a:gd name="connsiteX2188" fmla="*/ 5512035 w 6187971"/>
              <a:gd name="connsiteY2188" fmla="*/ 2658023 h 5955635"/>
              <a:gd name="connsiteX2189" fmla="*/ 5513960 w 6187971"/>
              <a:gd name="connsiteY2189" fmla="*/ 2667032 h 5955635"/>
              <a:gd name="connsiteX2190" fmla="*/ 5516847 w 6187971"/>
              <a:gd name="connsiteY2190" fmla="*/ 2680544 h 5955635"/>
              <a:gd name="connsiteX2191" fmla="*/ 5517809 w 6187971"/>
              <a:gd name="connsiteY2191" fmla="*/ 2685047 h 5955635"/>
              <a:gd name="connsiteX2192" fmla="*/ 5514267 w 6187971"/>
              <a:gd name="connsiteY2192" fmla="*/ 2690514 h 5955635"/>
              <a:gd name="connsiteX2193" fmla="*/ 5516191 w 6187971"/>
              <a:gd name="connsiteY2193" fmla="*/ 2699522 h 5955635"/>
              <a:gd name="connsiteX2194" fmla="*/ 5521658 w 6187971"/>
              <a:gd name="connsiteY2194" fmla="*/ 2703064 h 5955635"/>
              <a:gd name="connsiteX2195" fmla="*/ 5544752 w 6187971"/>
              <a:gd name="connsiteY2195" fmla="*/ 2811161 h 5955635"/>
              <a:gd name="connsiteX2196" fmla="*/ 5546330 w 6187971"/>
              <a:gd name="connsiteY2196" fmla="*/ 2862630 h 5955635"/>
              <a:gd name="connsiteX2197" fmla="*/ 5549871 w 6187971"/>
              <a:gd name="connsiteY2197" fmla="*/ 2857164 h 5955635"/>
              <a:gd name="connsiteX2198" fmla="*/ 5560108 w 6187971"/>
              <a:gd name="connsiteY2198" fmla="*/ 2949169 h 5955635"/>
              <a:gd name="connsiteX2199" fmla="*/ 5565575 w 6187971"/>
              <a:gd name="connsiteY2199" fmla="*/ 2952711 h 5955635"/>
              <a:gd name="connsiteX2200" fmla="*/ 5565882 w 6187971"/>
              <a:gd name="connsiteY2200" fmla="*/ 2976194 h 5955635"/>
              <a:gd name="connsiteX2201" fmla="*/ 5562340 w 6187971"/>
              <a:gd name="connsiteY2201" fmla="*/ 2981660 h 5955635"/>
              <a:gd name="connsiteX2202" fmla="*/ 5568769 w 6187971"/>
              <a:gd name="connsiteY2202" fmla="*/ 2989706 h 5955635"/>
              <a:gd name="connsiteX2203" fmla="*/ 5570038 w 6187971"/>
              <a:gd name="connsiteY2203" fmla="*/ 3017692 h 5955635"/>
              <a:gd name="connsiteX2204" fmla="*/ 5571000 w 6187971"/>
              <a:gd name="connsiteY2204" fmla="*/ 3022197 h 5955635"/>
              <a:gd name="connsiteX2205" fmla="*/ 5569384 w 6187971"/>
              <a:gd name="connsiteY2205" fmla="*/ 3036671 h 5955635"/>
              <a:gd name="connsiteX2206" fmla="*/ 5570346 w 6187971"/>
              <a:gd name="connsiteY2206" fmla="*/ 3041174 h 5955635"/>
              <a:gd name="connsiteX2207" fmla="*/ 5571308 w 6187971"/>
              <a:gd name="connsiteY2207" fmla="*/ 3045679 h 5955635"/>
              <a:gd name="connsiteX2208" fmla="*/ 5569650 w 6187971"/>
              <a:gd name="connsiteY2208" fmla="*/ 3126097 h 5955635"/>
              <a:gd name="connsiteX2209" fmla="*/ 5572537 w 6187971"/>
              <a:gd name="connsiteY2209" fmla="*/ 3139609 h 5955635"/>
              <a:gd name="connsiteX2210" fmla="*/ 5573500 w 6187971"/>
              <a:gd name="connsiteY2210" fmla="*/ 3144113 h 5955635"/>
              <a:gd name="connsiteX2211" fmla="*/ 5577349 w 6187971"/>
              <a:gd name="connsiteY2211" fmla="*/ 3162129 h 5955635"/>
              <a:gd name="connsiteX2212" fmla="*/ 5569917 w 6187971"/>
              <a:gd name="connsiteY2212" fmla="*/ 3215523 h 5955635"/>
              <a:gd name="connsiteX2213" fmla="*/ 5551779 w 6187971"/>
              <a:gd name="connsiteY2213" fmla="*/ 3417202 h 5955635"/>
              <a:gd name="connsiteX2214" fmla="*/ 5552741 w 6187971"/>
              <a:gd name="connsiteY2214" fmla="*/ 3421707 h 5955635"/>
              <a:gd name="connsiteX2215" fmla="*/ 5549200 w 6187971"/>
              <a:gd name="connsiteY2215" fmla="*/ 3427172 h 5955635"/>
              <a:gd name="connsiteX2216" fmla="*/ 5528169 w 6187971"/>
              <a:gd name="connsiteY2216" fmla="*/ 3494068 h 5955635"/>
              <a:gd name="connsiteX2217" fmla="*/ 5510688 w 6187971"/>
              <a:gd name="connsiteY2217" fmla="*/ 3559800 h 5955635"/>
              <a:gd name="connsiteX2218" fmla="*/ 5510930 w 6187971"/>
              <a:gd name="connsiteY2218" fmla="*/ 3558388 h 5955635"/>
              <a:gd name="connsiteX2219" fmla="*/ 5512778 w 6187971"/>
              <a:gd name="connsiteY2219" fmla="*/ 3543275 h 5955635"/>
              <a:gd name="connsiteX2220" fmla="*/ 5515358 w 6187971"/>
              <a:gd name="connsiteY2220" fmla="*/ 3533305 h 5955635"/>
              <a:gd name="connsiteX2221" fmla="*/ 5522135 w 6187971"/>
              <a:gd name="connsiteY2221" fmla="*/ 3498890 h 5955635"/>
              <a:gd name="connsiteX2222" fmla="*/ 5533108 w 6187971"/>
              <a:gd name="connsiteY2222" fmla="*/ 3440030 h 5955635"/>
              <a:gd name="connsiteX2223" fmla="*/ 5535687 w 6187971"/>
              <a:gd name="connsiteY2223" fmla="*/ 3430059 h 5955635"/>
              <a:gd name="connsiteX2224" fmla="*/ 5538267 w 6187971"/>
              <a:gd name="connsiteY2224" fmla="*/ 3420089 h 5955635"/>
              <a:gd name="connsiteX2225" fmla="*/ 5532800 w 6187971"/>
              <a:gd name="connsiteY2225" fmla="*/ 3416547 h 5955635"/>
              <a:gd name="connsiteX2226" fmla="*/ 5523137 w 6187971"/>
              <a:gd name="connsiteY2226" fmla="*/ 3437450 h 5955635"/>
              <a:gd name="connsiteX2227" fmla="*/ 5524099 w 6187971"/>
              <a:gd name="connsiteY2227" fmla="*/ 3441955 h 5955635"/>
              <a:gd name="connsiteX2228" fmla="*/ 5505387 w 6187971"/>
              <a:gd name="connsiteY2228" fmla="*/ 3530725 h 5955635"/>
              <a:gd name="connsiteX2229" fmla="*/ 5506350 w 6187971"/>
              <a:gd name="connsiteY2229" fmla="*/ 3535230 h 5955635"/>
              <a:gd name="connsiteX2230" fmla="*/ 5493145 w 6187971"/>
              <a:gd name="connsiteY2230" fmla="*/ 3561598 h 5955635"/>
              <a:gd name="connsiteX2231" fmla="*/ 5485406 w 6187971"/>
              <a:gd name="connsiteY2231" fmla="*/ 3591510 h 5955635"/>
              <a:gd name="connsiteX2232" fmla="*/ 5472745 w 6187971"/>
              <a:gd name="connsiteY2232" fmla="*/ 3650731 h 5955635"/>
              <a:gd name="connsiteX2233" fmla="*/ 5453639 w 6187971"/>
              <a:gd name="connsiteY2233" fmla="*/ 3702176 h 5955635"/>
              <a:gd name="connsiteX2234" fmla="*/ 5451565 w 6187971"/>
              <a:gd name="connsiteY2234" fmla="*/ 3697642 h 5955635"/>
              <a:gd name="connsiteX2235" fmla="*/ 5369715 w 6187971"/>
              <a:gd name="connsiteY2235" fmla="*/ 3931772 h 5955635"/>
              <a:gd name="connsiteX2236" fmla="*/ 5365212 w 6187971"/>
              <a:gd name="connsiteY2236" fmla="*/ 3932734 h 5955635"/>
              <a:gd name="connsiteX2237" fmla="*/ 5366174 w 6187971"/>
              <a:gd name="connsiteY2237" fmla="*/ 3937239 h 5955635"/>
              <a:gd name="connsiteX2238" fmla="*/ 5367136 w 6187971"/>
              <a:gd name="connsiteY2238" fmla="*/ 3941742 h 5955635"/>
              <a:gd name="connsiteX2239" fmla="*/ 5352006 w 6187971"/>
              <a:gd name="connsiteY2239" fmla="*/ 3959103 h 5955635"/>
              <a:gd name="connsiteX2240" fmla="*/ 5329445 w 6187971"/>
              <a:gd name="connsiteY2240" fmla="*/ 4029858 h 5955635"/>
              <a:gd name="connsiteX2241" fmla="*/ 5326559 w 6187971"/>
              <a:gd name="connsiteY2241" fmla="*/ 4016346 h 5955635"/>
              <a:gd name="connsiteX2242" fmla="*/ 5319782 w 6187971"/>
              <a:gd name="connsiteY2242" fmla="*/ 4050762 h 5955635"/>
              <a:gd name="connsiteX2243" fmla="*/ 5314316 w 6187971"/>
              <a:gd name="connsiteY2243" fmla="*/ 4047220 h 5955635"/>
              <a:gd name="connsiteX2244" fmla="*/ 5276625 w 6187971"/>
              <a:gd name="connsiteY2244" fmla="*/ 4135336 h 5955635"/>
              <a:gd name="connsiteX2245" fmla="*/ 5272122 w 6187971"/>
              <a:gd name="connsiteY2245" fmla="*/ 4136298 h 5955635"/>
              <a:gd name="connsiteX2246" fmla="*/ 5234124 w 6187971"/>
              <a:gd name="connsiteY2246" fmla="*/ 4200931 h 5955635"/>
              <a:gd name="connsiteX2247" fmla="*/ 5190005 w 6187971"/>
              <a:gd name="connsiteY2247" fmla="*/ 4281002 h 5955635"/>
              <a:gd name="connsiteX2248" fmla="*/ 5161796 w 6187971"/>
              <a:gd name="connsiteY2248" fmla="*/ 4317053 h 5955635"/>
              <a:gd name="connsiteX2249" fmla="*/ 5135887 w 6187971"/>
              <a:gd name="connsiteY2249" fmla="*/ 4358358 h 5955635"/>
              <a:gd name="connsiteX2250" fmla="*/ 5134954 w 6187971"/>
              <a:gd name="connsiteY2250" fmla="*/ 4353989 h 5955635"/>
              <a:gd name="connsiteX2251" fmla="*/ 5131412 w 6187971"/>
              <a:gd name="connsiteY2251" fmla="*/ 4359456 h 5955635"/>
              <a:gd name="connsiteX2252" fmla="*/ 5128832 w 6187971"/>
              <a:gd name="connsiteY2252" fmla="*/ 4369426 h 5955635"/>
              <a:gd name="connsiteX2253" fmla="*/ 5127869 w 6187971"/>
              <a:gd name="connsiteY2253" fmla="*/ 4364921 h 5955635"/>
              <a:gd name="connsiteX2254" fmla="*/ 5106619 w 6187971"/>
              <a:gd name="connsiteY2254" fmla="*/ 4397719 h 5955635"/>
              <a:gd name="connsiteX2255" fmla="*/ 5107581 w 6187971"/>
              <a:gd name="connsiteY2255" fmla="*/ 4402224 h 5955635"/>
              <a:gd name="connsiteX2256" fmla="*/ 5105001 w 6187971"/>
              <a:gd name="connsiteY2256" fmla="*/ 4412194 h 5955635"/>
              <a:gd name="connsiteX2257" fmla="*/ 5103077 w 6187971"/>
              <a:gd name="connsiteY2257" fmla="*/ 4403186 h 5955635"/>
              <a:gd name="connsiteX2258" fmla="*/ 5092452 w 6187971"/>
              <a:gd name="connsiteY2258" fmla="*/ 4419585 h 5955635"/>
              <a:gd name="connsiteX2259" fmla="*/ 5091489 w 6187971"/>
              <a:gd name="connsiteY2259" fmla="*/ 4415080 h 5955635"/>
              <a:gd name="connsiteX2260" fmla="*/ 5090527 w 6187971"/>
              <a:gd name="connsiteY2260" fmla="*/ 4410577 h 5955635"/>
              <a:gd name="connsiteX2261" fmla="*/ 5086023 w 6187971"/>
              <a:gd name="connsiteY2261" fmla="*/ 4411539 h 5955635"/>
              <a:gd name="connsiteX2262" fmla="*/ 5087947 w 6187971"/>
              <a:gd name="connsiteY2262" fmla="*/ 4420547 h 5955635"/>
              <a:gd name="connsiteX2263" fmla="*/ 5088910 w 6187971"/>
              <a:gd name="connsiteY2263" fmla="*/ 4425051 h 5955635"/>
              <a:gd name="connsiteX2264" fmla="*/ 5085368 w 6187971"/>
              <a:gd name="connsiteY2264" fmla="*/ 4430518 h 5955635"/>
              <a:gd name="connsiteX2265" fmla="*/ 5080864 w 6187971"/>
              <a:gd name="connsiteY2265" fmla="*/ 4431480 h 5955635"/>
              <a:gd name="connsiteX2266" fmla="*/ 5076360 w 6187971"/>
              <a:gd name="connsiteY2266" fmla="*/ 4432443 h 5955635"/>
              <a:gd name="connsiteX2267" fmla="*/ 5077322 w 6187971"/>
              <a:gd name="connsiteY2267" fmla="*/ 4436946 h 5955635"/>
              <a:gd name="connsiteX2268" fmla="*/ 5078284 w 6187971"/>
              <a:gd name="connsiteY2268" fmla="*/ 4441450 h 5955635"/>
              <a:gd name="connsiteX2269" fmla="*/ 5066697 w 6187971"/>
              <a:gd name="connsiteY2269" fmla="*/ 4453345 h 5955635"/>
              <a:gd name="connsiteX2270" fmla="*/ 5065735 w 6187971"/>
              <a:gd name="connsiteY2270" fmla="*/ 4448841 h 5955635"/>
              <a:gd name="connsiteX2271" fmla="*/ 5062192 w 6187971"/>
              <a:gd name="connsiteY2271" fmla="*/ 4454307 h 5955635"/>
              <a:gd name="connsiteX2272" fmla="*/ 5058650 w 6187971"/>
              <a:gd name="connsiteY2272" fmla="*/ 4459774 h 5955635"/>
              <a:gd name="connsiteX2273" fmla="*/ 5056071 w 6187971"/>
              <a:gd name="connsiteY2273" fmla="*/ 4469744 h 5955635"/>
              <a:gd name="connsiteX2274" fmla="*/ 5055109 w 6187971"/>
              <a:gd name="connsiteY2274" fmla="*/ 4465240 h 5955635"/>
              <a:gd name="connsiteX2275" fmla="*/ 5039017 w 6187971"/>
              <a:gd name="connsiteY2275" fmla="*/ 4478097 h 5955635"/>
              <a:gd name="connsiteX2276" fmla="*/ 5037093 w 6187971"/>
              <a:gd name="connsiteY2276" fmla="*/ 4469089 h 5955635"/>
              <a:gd name="connsiteX2277" fmla="*/ 5021963 w 6187971"/>
              <a:gd name="connsiteY2277" fmla="*/ 4486451 h 5955635"/>
              <a:gd name="connsiteX2278" fmla="*/ 5021001 w 6187971"/>
              <a:gd name="connsiteY2278" fmla="*/ 4481946 h 5955635"/>
              <a:gd name="connsiteX2279" fmla="*/ 5024543 w 6187971"/>
              <a:gd name="connsiteY2279" fmla="*/ 4476480 h 5955635"/>
              <a:gd name="connsiteX2280" fmla="*/ 5023581 w 6187971"/>
              <a:gd name="connsiteY2280" fmla="*/ 4471976 h 5955635"/>
              <a:gd name="connsiteX2281" fmla="*/ 5020039 w 6187971"/>
              <a:gd name="connsiteY2281" fmla="*/ 4477442 h 5955635"/>
              <a:gd name="connsiteX2282" fmla="*/ 5016497 w 6187971"/>
              <a:gd name="connsiteY2282" fmla="*/ 4482909 h 5955635"/>
              <a:gd name="connsiteX2283" fmla="*/ 5013917 w 6187971"/>
              <a:gd name="connsiteY2283" fmla="*/ 4492879 h 5955635"/>
              <a:gd name="connsiteX2284" fmla="*/ 5022925 w 6187971"/>
              <a:gd name="connsiteY2284" fmla="*/ 4490954 h 5955635"/>
              <a:gd name="connsiteX2285" fmla="*/ 5019383 w 6187971"/>
              <a:gd name="connsiteY2285" fmla="*/ 4496421 h 5955635"/>
              <a:gd name="connsiteX2286" fmla="*/ 5002636 w 6187971"/>
              <a:gd name="connsiteY2286" fmla="*/ 4528256 h 5955635"/>
              <a:gd name="connsiteX2287" fmla="*/ 5019690 w 6187971"/>
              <a:gd name="connsiteY2287" fmla="*/ 4519904 h 5955635"/>
              <a:gd name="connsiteX2288" fmla="*/ 5004561 w 6187971"/>
              <a:gd name="connsiteY2288" fmla="*/ 4537265 h 5955635"/>
              <a:gd name="connsiteX2289" fmla="*/ 4993936 w 6187971"/>
              <a:gd name="connsiteY2289" fmla="*/ 4553664 h 5955635"/>
              <a:gd name="connsiteX2290" fmla="*/ 4985890 w 6187971"/>
              <a:gd name="connsiteY2290" fmla="*/ 4560092 h 5955635"/>
              <a:gd name="connsiteX2291" fmla="*/ 4983966 w 6187971"/>
              <a:gd name="connsiteY2291" fmla="*/ 4551084 h 5955635"/>
              <a:gd name="connsiteX2292" fmla="*/ 4969798 w 6187971"/>
              <a:gd name="connsiteY2292" fmla="*/ 4572949 h 5955635"/>
              <a:gd name="connsiteX2293" fmla="*/ 4964332 w 6187971"/>
              <a:gd name="connsiteY2293" fmla="*/ 4569407 h 5955635"/>
              <a:gd name="connsiteX2294" fmla="*/ 4967874 w 6187971"/>
              <a:gd name="connsiteY2294" fmla="*/ 4563941 h 5955635"/>
              <a:gd name="connsiteX2295" fmla="*/ 4966911 w 6187971"/>
              <a:gd name="connsiteY2295" fmla="*/ 4559437 h 5955635"/>
              <a:gd name="connsiteX2296" fmla="*/ 4962407 w 6187971"/>
              <a:gd name="connsiteY2296" fmla="*/ 4560400 h 5955635"/>
              <a:gd name="connsiteX2297" fmla="*/ 4958866 w 6187971"/>
              <a:gd name="connsiteY2297" fmla="*/ 4565865 h 5955635"/>
              <a:gd name="connsiteX2298" fmla="*/ 4959828 w 6187971"/>
              <a:gd name="connsiteY2298" fmla="*/ 4570370 h 5955635"/>
              <a:gd name="connsiteX2299" fmla="*/ 4956286 w 6187971"/>
              <a:gd name="connsiteY2299" fmla="*/ 4575836 h 5955635"/>
              <a:gd name="connsiteX2300" fmla="*/ 4952744 w 6187971"/>
              <a:gd name="connsiteY2300" fmla="*/ 4581303 h 5955635"/>
              <a:gd name="connsiteX2301" fmla="*/ 4948240 w 6187971"/>
              <a:gd name="connsiteY2301" fmla="*/ 4582265 h 5955635"/>
              <a:gd name="connsiteX2302" fmla="*/ 4949202 w 6187971"/>
              <a:gd name="connsiteY2302" fmla="*/ 4586769 h 5955635"/>
              <a:gd name="connsiteX2303" fmla="*/ 4944698 w 6187971"/>
              <a:gd name="connsiteY2303" fmla="*/ 4587731 h 5955635"/>
              <a:gd name="connsiteX2304" fmla="*/ 4943735 w 6187971"/>
              <a:gd name="connsiteY2304" fmla="*/ 4583228 h 5955635"/>
              <a:gd name="connsiteX2305" fmla="*/ 4946315 w 6187971"/>
              <a:gd name="connsiteY2305" fmla="*/ 4573257 h 5955635"/>
              <a:gd name="connsiteX2306" fmla="*/ 4953399 w 6187971"/>
              <a:gd name="connsiteY2306" fmla="*/ 4562324 h 5955635"/>
              <a:gd name="connsiteX2307" fmla="*/ 4948895 w 6187971"/>
              <a:gd name="connsiteY2307" fmla="*/ 4563286 h 5955635"/>
              <a:gd name="connsiteX2308" fmla="*/ 4945353 w 6187971"/>
              <a:gd name="connsiteY2308" fmla="*/ 4568752 h 5955635"/>
              <a:gd name="connsiteX2309" fmla="*/ 4934728 w 6187971"/>
              <a:gd name="connsiteY2309" fmla="*/ 4585152 h 5955635"/>
              <a:gd name="connsiteX2310" fmla="*/ 4935690 w 6187971"/>
              <a:gd name="connsiteY2310" fmla="*/ 4589655 h 5955635"/>
              <a:gd name="connsiteX2311" fmla="*/ 4929569 w 6187971"/>
              <a:gd name="connsiteY2311" fmla="*/ 4605092 h 5955635"/>
              <a:gd name="connsiteX2312" fmla="*/ 4880638 w 6187971"/>
              <a:gd name="connsiteY2312" fmla="*/ 4662642 h 5955635"/>
              <a:gd name="connsiteX2313" fmla="*/ 4876134 w 6187971"/>
              <a:gd name="connsiteY2313" fmla="*/ 4663604 h 5955635"/>
              <a:gd name="connsiteX2314" fmla="*/ 4872593 w 6187971"/>
              <a:gd name="connsiteY2314" fmla="*/ 4669071 h 5955635"/>
              <a:gd name="connsiteX2315" fmla="*/ 4861005 w 6187971"/>
              <a:gd name="connsiteY2315" fmla="*/ 4680965 h 5955635"/>
              <a:gd name="connsiteX2316" fmla="*/ 4857463 w 6187971"/>
              <a:gd name="connsiteY2316" fmla="*/ 4686432 h 5955635"/>
              <a:gd name="connsiteX2317" fmla="*/ 4845875 w 6187971"/>
              <a:gd name="connsiteY2317" fmla="*/ 4698327 h 5955635"/>
              <a:gd name="connsiteX2318" fmla="*/ 4834288 w 6187971"/>
              <a:gd name="connsiteY2318" fmla="*/ 4710222 h 5955635"/>
              <a:gd name="connsiteX2319" fmla="*/ 4798562 w 6187971"/>
              <a:gd name="connsiteY2319" fmla="*/ 4741402 h 5955635"/>
              <a:gd name="connsiteX2320" fmla="*/ 4762182 w 6187971"/>
              <a:gd name="connsiteY2320" fmla="*/ 4791561 h 5955635"/>
              <a:gd name="connsiteX2321" fmla="*/ 4750594 w 6187971"/>
              <a:gd name="connsiteY2321" fmla="*/ 4803457 h 5955635"/>
              <a:gd name="connsiteX2322" fmla="*/ 4761527 w 6187971"/>
              <a:gd name="connsiteY2322" fmla="*/ 4810540 h 5955635"/>
              <a:gd name="connsiteX2323" fmla="*/ 4792748 w 6187971"/>
              <a:gd name="connsiteY2323" fmla="*/ 4780322 h 5955635"/>
              <a:gd name="connsiteX2324" fmla="*/ 4825586 w 6187971"/>
              <a:gd name="connsiteY2324" fmla="*/ 4735629 h 5955635"/>
              <a:gd name="connsiteX2325" fmla="*/ 4840716 w 6187971"/>
              <a:gd name="connsiteY2325" fmla="*/ 4718268 h 5955635"/>
              <a:gd name="connsiteX2326" fmla="*/ 4841678 w 6187971"/>
              <a:gd name="connsiteY2326" fmla="*/ 4722772 h 5955635"/>
              <a:gd name="connsiteX2327" fmla="*/ 4837175 w 6187971"/>
              <a:gd name="connsiteY2327" fmla="*/ 4723734 h 5955635"/>
              <a:gd name="connsiteX2328" fmla="*/ 4838137 w 6187971"/>
              <a:gd name="connsiteY2328" fmla="*/ 4728239 h 5955635"/>
              <a:gd name="connsiteX2329" fmla="*/ 4842641 w 6187971"/>
              <a:gd name="connsiteY2329" fmla="*/ 4727276 h 5955635"/>
              <a:gd name="connsiteX2330" fmla="*/ 4846183 w 6187971"/>
              <a:gd name="connsiteY2330" fmla="*/ 4721810 h 5955635"/>
              <a:gd name="connsiteX2331" fmla="*/ 4843296 w 6187971"/>
              <a:gd name="connsiteY2331" fmla="*/ 4708298 h 5955635"/>
              <a:gd name="connsiteX2332" fmla="*/ 4854883 w 6187971"/>
              <a:gd name="connsiteY2332" fmla="*/ 4696402 h 5955635"/>
              <a:gd name="connsiteX2333" fmla="*/ 4863892 w 6187971"/>
              <a:gd name="connsiteY2333" fmla="*/ 4694478 h 5955635"/>
              <a:gd name="connsiteX2334" fmla="*/ 4864854 w 6187971"/>
              <a:gd name="connsiteY2334" fmla="*/ 4698982 h 5955635"/>
              <a:gd name="connsiteX2335" fmla="*/ 4868395 w 6187971"/>
              <a:gd name="connsiteY2335" fmla="*/ 4693515 h 5955635"/>
              <a:gd name="connsiteX2336" fmla="*/ 4867433 w 6187971"/>
              <a:gd name="connsiteY2336" fmla="*/ 4689012 h 5955635"/>
              <a:gd name="connsiteX2337" fmla="*/ 4870013 w 6187971"/>
              <a:gd name="connsiteY2337" fmla="*/ 4679041 h 5955635"/>
              <a:gd name="connsiteX2338" fmla="*/ 4878058 w 6187971"/>
              <a:gd name="connsiteY2338" fmla="*/ 4672613 h 5955635"/>
              <a:gd name="connsiteX2339" fmla="*/ 4882563 w 6187971"/>
              <a:gd name="connsiteY2339" fmla="*/ 4671651 h 5955635"/>
              <a:gd name="connsiteX2340" fmla="*/ 4881600 w 6187971"/>
              <a:gd name="connsiteY2340" fmla="*/ 4667146 h 5955635"/>
              <a:gd name="connsiteX2341" fmla="*/ 4885142 w 6187971"/>
              <a:gd name="connsiteY2341" fmla="*/ 4661680 h 5955635"/>
              <a:gd name="connsiteX2342" fmla="*/ 4935035 w 6187971"/>
              <a:gd name="connsiteY2342" fmla="*/ 4608634 h 5955635"/>
              <a:gd name="connsiteX2343" fmla="*/ 4938577 w 6187971"/>
              <a:gd name="connsiteY2343" fmla="*/ 4603167 h 5955635"/>
              <a:gd name="connsiteX2344" fmla="*/ 4937615 w 6187971"/>
              <a:gd name="connsiteY2344" fmla="*/ 4598664 h 5955635"/>
              <a:gd name="connsiteX2345" fmla="*/ 4942119 w 6187971"/>
              <a:gd name="connsiteY2345" fmla="*/ 4597702 h 5955635"/>
              <a:gd name="connsiteX2346" fmla="*/ 4943081 w 6187971"/>
              <a:gd name="connsiteY2346" fmla="*/ 4602205 h 5955635"/>
              <a:gd name="connsiteX2347" fmla="*/ 4963677 w 6187971"/>
              <a:gd name="connsiteY2347" fmla="*/ 4588386 h 5955635"/>
              <a:gd name="connsiteX2348" fmla="*/ 4962715 w 6187971"/>
              <a:gd name="connsiteY2348" fmla="*/ 4583882 h 5955635"/>
              <a:gd name="connsiteX2349" fmla="*/ 4961097 w 6187971"/>
              <a:gd name="connsiteY2349" fmla="*/ 4598356 h 5955635"/>
              <a:gd name="connsiteX2350" fmla="*/ 4991357 w 6187971"/>
              <a:gd name="connsiteY2350" fmla="*/ 4563634 h 5955635"/>
              <a:gd name="connsiteX2351" fmla="*/ 5010027 w 6187971"/>
              <a:gd name="connsiteY2351" fmla="*/ 4540806 h 5955635"/>
              <a:gd name="connsiteX2352" fmla="*/ 5028699 w 6187971"/>
              <a:gd name="connsiteY2352" fmla="*/ 4517979 h 5955635"/>
              <a:gd name="connsiteX2353" fmla="*/ 5061537 w 6187971"/>
              <a:gd name="connsiteY2353" fmla="*/ 4473286 h 5955635"/>
              <a:gd name="connsiteX2354" fmla="*/ 5073126 w 6187971"/>
              <a:gd name="connsiteY2354" fmla="*/ 4461391 h 5955635"/>
              <a:gd name="connsiteX2355" fmla="*/ 5080209 w 6187971"/>
              <a:gd name="connsiteY2355" fmla="*/ 4450458 h 5955635"/>
              <a:gd name="connsiteX2356" fmla="*/ 5088254 w 6187971"/>
              <a:gd name="connsiteY2356" fmla="*/ 4444030 h 5955635"/>
              <a:gd name="connsiteX2357" fmla="*/ 5098881 w 6187971"/>
              <a:gd name="connsiteY2357" fmla="*/ 4427631 h 5955635"/>
              <a:gd name="connsiteX2358" fmla="*/ 5110468 w 6187971"/>
              <a:gd name="connsiteY2358" fmla="*/ 4415736 h 5955635"/>
              <a:gd name="connsiteX2359" fmla="*/ 5116589 w 6187971"/>
              <a:gd name="connsiteY2359" fmla="*/ 4400299 h 5955635"/>
              <a:gd name="connsiteX2360" fmla="*/ 5121093 w 6187971"/>
              <a:gd name="connsiteY2360" fmla="*/ 4399337 h 5955635"/>
              <a:gd name="connsiteX2361" fmla="*/ 5231197 w 6187971"/>
              <a:gd name="connsiteY2361" fmla="*/ 4253363 h 5955635"/>
              <a:gd name="connsiteX2362" fmla="*/ 5235700 w 6187971"/>
              <a:gd name="connsiteY2362" fmla="*/ 4252401 h 5955635"/>
              <a:gd name="connsiteX2363" fmla="*/ 5240205 w 6187971"/>
              <a:gd name="connsiteY2363" fmla="*/ 4251439 h 5955635"/>
              <a:gd name="connsiteX2364" fmla="*/ 5233121 w 6187971"/>
              <a:gd name="connsiteY2364" fmla="*/ 4262371 h 5955635"/>
              <a:gd name="connsiteX2365" fmla="*/ 5226037 w 6187971"/>
              <a:gd name="connsiteY2365" fmla="*/ 4273304 h 5955635"/>
              <a:gd name="connsiteX2366" fmla="*/ 5218954 w 6187971"/>
              <a:gd name="connsiteY2366" fmla="*/ 4284236 h 5955635"/>
              <a:gd name="connsiteX2367" fmla="*/ 5219916 w 6187971"/>
              <a:gd name="connsiteY2367" fmla="*/ 4288741 h 5955635"/>
              <a:gd name="connsiteX2368" fmla="*/ 5202207 w 6187971"/>
              <a:gd name="connsiteY2368" fmla="*/ 4316072 h 5955635"/>
              <a:gd name="connsiteX2369" fmla="*/ 5203169 w 6187971"/>
              <a:gd name="connsiteY2369" fmla="*/ 4320576 h 5955635"/>
              <a:gd name="connsiteX2370" fmla="*/ 5207674 w 6187971"/>
              <a:gd name="connsiteY2370" fmla="*/ 4319614 h 5955635"/>
              <a:gd name="connsiteX2371" fmla="*/ 5211216 w 6187971"/>
              <a:gd name="connsiteY2371" fmla="*/ 4314147 h 5955635"/>
              <a:gd name="connsiteX2372" fmla="*/ 5214757 w 6187971"/>
              <a:gd name="connsiteY2372" fmla="*/ 4308682 h 5955635"/>
              <a:gd name="connsiteX2373" fmla="*/ 5218299 w 6187971"/>
              <a:gd name="connsiteY2373" fmla="*/ 4303215 h 5955635"/>
              <a:gd name="connsiteX2374" fmla="*/ 5225382 w 6187971"/>
              <a:gd name="connsiteY2374" fmla="*/ 4292283 h 5955635"/>
              <a:gd name="connsiteX2375" fmla="*/ 5214073 w 6187971"/>
              <a:gd name="connsiteY2375" fmla="*/ 4310299 h 5955635"/>
              <a:gd name="connsiteX2376" fmla="*/ 5204204 w 6187971"/>
              <a:gd name="connsiteY2376" fmla="*/ 4325020 h 5955635"/>
              <a:gd name="connsiteX2377" fmla="*/ 5204132 w 6187971"/>
              <a:gd name="connsiteY2377" fmla="*/ 4325081 h 5955635"/>
              <a:gd name="connsiteX2378" fmla="*/ 5204128 w 6187971"/>
              <a:gd name="connsiteY2378" fmla="*/ 4325131 h 5955635"/>
              <a:gd name="connsiteX2379" fmla="*/ 5203246 w 6187971"/>
              <a:gd name="connsiteY2379" fmla="*/ 4326447 h 5955635"/>
              <a:gd name="connsiteX2380" fmla="*/ 5194162 w 6187971"/>
              <a:gd name="connsiteY2380" fmla="*/ 4322501 h 5955635"/>
              <a:gd name="connsiteX2381" fmla="*/ 5159705 w 6187971"/>
              <a:gd name="connsiteY2381" fmla="*/ 4381669 h 5955635"/>
              <a:gd name="connsiteX2382" fmla="*/ 5164209 w 6187971"/>
              <a:gd name="connsiteY2382" fmla="*/ 4380706 h 5955635"/>
              <a:gd name="connsiteX2383" fmla="*/ 5153584 w 6187971"/>
              <a:gd name="connsiteY2383" fmla="*/ 4397105 h 5955635"/>
              <a:gd name="connsiteX2384" fmla="*/ 5149080 w 6187971"/>
              <a:gd name="connsiteY2384" fmla="*/ 4398068 h 5955635"/>
              <a:gd name="connsiteX2385" fmla="*/ 5150042 w 6187971"/>
              <a:gd name="connsiteY2385" fmla="*/ 4402571 h 5955635"/>
              <a:gd name="connsiteX2386" fmla="*/ 5145539 w 6187971"/>
              <a:gd name="connsiteY2386" fmla="*/ 4403533 h 5955635"/>
              <a:gd name="connsiteX2387" fmla="*/ 5138455 w 6187971"/>
              <a:gd name="connsiteY2387" fmla="*/ 4414466 h 5955635"/>
              <a:gd name="connsiteX2388" fmla="*/ 5135875 w 6187971"/>
              <a:gd name="connsiteY2388" fmla="*/ 4424436 h 5955635"/>
              <a:gd name="connsiteX2389" fmla="*/ 5132334 w 6187971"/>
              <a:gd name="connsiteY2389" fmla="*/ 4429903 h 5955635"/>
              <a:gd name="connsiteX2390" fmla="*/ 5121707 w 6187971"/>
              <a:gd name="connsiteY2390" fmla="*/ 4446302 h 5955635"/>
              <a:gd name="connsiteX2391" fmla="*/ 5122670 w 6187971"/>
              <a:gd name="connsiteY2391" fmla="*/ 4450806 h 5955635"/>
              <a:gd name="connsiteX2392" fmla="*/ 5119128 w 6187971"/>
              <a:gd name="connsiteY2392" fmla="*/ 4456272 h 5955635"/>
              <a:gd name="connsiteX2393" fmla="*/ 5086289 w 6187971"/>
              <a:gd name="connsiteY2393" fmla="*/ 4500965 h 5955635"/>
              <a:gd name="connsiteX2394" fmla="*/ 5080824 w 6187971"/>
              <a:gd name="connsiteY2394" fmla="*/ 4497423 h 5955635"/>
              <a:gd name="connsiteX2395" fmla="*/ 5084365 w 6187971"/>
              <a:gd name="connsiteY2395" fmla="*/ 4491957 h 5955635"/>
              <a:gd name="connsiteX2396" fmla="*/ 5087907 w 6187971"/>
              <a:gd name="connsiteY2396" fmla="*/ 4486491 h 5955635"/>
              <a:gd name="connsiteX2397" fmla="*/ 5083403 w 6187971"/>
              <a:gd name="connsiteY2397" fmla="*/ 4487453 h 5955635"/>
              <a:gd name="connsiteX2398" fmla="*/ 5079862 w 6187971"/>
              <a:gd name="connsiteY2398" fmla="*/ 4492920 h 5955635"/>
              <a:gd name="connsiteX2399" fmla="*/ 5076319 w 6187971"/>
              <a:gd name="connsiteY2399" fmla="*/ 4498385 h 5955635"/>
              <a:gd name="connsiteX2400" fmla="*/ 5077282 w 6187971"/>
              <a:gd name="connsiteY2400" fmla="*/ 4502890 h 5955635"/>
              <a:gd name="connsiteX2401" fmla="*/ 5078244 w 6187971"/>
              <a:gd name="connsiteY2401" fmla="*/ 4507394 h 5955635"/>
              <a:gd name="connsiteX2402" fmla="*/ 5044443 w 6187971"/>
              <a:gd name="connsiteY2402" fmla="*/ 4547582 h 5955635"/>
              <a:gd name="connsiteX2403" fmla="*/ 5045405 w 6187971"/>
              <a:gd name="connsiteY2403" fmla="*/ 4552086 h 5955635"/>
              <a:gd name="connsiteX2404" fmla="*/ 4968796 w 6187971"/>
              <a:gd name="connsiteY2404" fmla="*/ 4634389 h 5955635"/>
              <a:gd name="connsiteX2405" fmla="*/ 4860964 w 6187971"/>
              <a:gd name="connsiteY2405" fmla="*/ 4746909 h 5955635"/>
              <a:gd name="connsiteX2406" fmla="*/ 4837789 w 6187971"/>
              <a:gd name="connsiteY2406" fmla="*/ 4770699 h 5955635"/>
              <a:gd name="connsiteX2407" fmla="*/ 4833284 w 6187971"/>
              <a:gd name="connsiteY2407" fmla="*/ 4771662 h 5955635"/>
              <a:gd name="connsiteX2408" fmla="*/ 4820735 w 6187971"/>
              <a:gd name="connsiteY2408" fmla="*/ 4779052 h 5955635"/>
              <a:gd name="connsiteX2409" fmla="*/ 4817192 w 6187971"/>
              <a:gd name="connsiteY2409" fmla="*/ 4784519 h 5955635"/>
              <a:gd name="connsiteX2410" fmla="*/ 4821697 w 6187971"/>
              <a:gd name="connsiteY2410" fmla="*/ 4783556 h 5955635"/>
              <a:gd name="connsiteX2411" fmla="*/ 4762796 w 6187971"/>
              <a:gd name="connsiteY2411" fmla="*/ 4838527 h 5955635"/>
              <a:gd name="connsiteX2412" fmla="*/ 4715484 w 6187971"/>
              <a:gd name="connsiteY2412" fmla="*/ 4881602 h 5955635"/>
              <a:gd name="connsiteX2413" fmla="*/ 4699392 w 6187971"/>
              <a:gd name="connsiteY2413" fmla="*/ 4894460 h 5955635"/>
              <a:gd name="connsiteX2414" fmla="*/ 4654658 w 6187971"/>
              <a:gd name="connsiteY2414" fmla="*/ 4927565 h 5955635"/>
              <a:gd name="connsiteX2415" fmla="*/ 4623437 w 6187971"/>
              <a:gd name="connsiteY2415" fmla="*/ 4957784 h 5955635"/>
              <a:gd name="connsiteX2416" fmla="*/ 4440960 w 6187971"/>
              <a:gd name="connsiteY2416" fmla="*/ 5095671 h 5955635"/>
              <a:gd name="connsiteX2417" fmla="*/ 4291323 w 6187971"/>
              <a:gd name="connsiteY2417" fmla="*/ 5188865 h 5955635"/>
              <a:gd name="connsiteX2418" fmla="*/ 4134296 w 6187971"/>
              <a:gd name="connsiteY2418" fmla="*/ 5269510 h 5955635"/>
              <a:gd name="connsiteX2419" fmla="*/ 4117242 w 6187971"/>
              <a:gd name="connsiteY2419" fmla="*/ 5277863 h 5955635"/>
              <a:gd name="connsiteX2420" fmla="*/ 3802571 w 6187971"/>
              <a:gd name="connsiteY2420" fmla="*/ 5392188 h 5955635"/>
              <a:gd name="connsiteX2421" fmla="*/ 3637806 w 6187971"/>
              <a:gd name="connsiteY2421" fmla="*/ 5433865 h 5955635"/>
              <a:gd name="connsiteX2422" fmla="*/ 3560810 w 6187971"/>
              <a:gd name="connsiteY2422" fmla="*/ 5445094 h 5955635"/>
              <a:gd name="connsiteX2423" fmla="*/ 3576039 w 6187971"/>
              <a:gd name="connsiteY2423" fmla="*/ 5442351 h 5955635"/>
              <a:gd name="connsiteX2424" fmla="*/ 3617903 w 6187971"/>
              <a:gd name="connsiteY2424" fmla="*/ 5431641 h 5955635"/>
              <a:gd name="connsiteX2425" fmla="*/ 3622408 w 6187971"/>
              <a:gd name="connsiteY2425" fmla="*/ 5430679 h 5955635"/>
              <a:gd name="connsiteX2426" fmla="*/ 3756567 w 6187971"/>
              <a:gd name="connsiteY2426" fmla="*/ 5397306 h 5955635"/>
              <a:gd name="connsiteX2427" fmla="*/ 3761071 w 6187971"/>
              <a:gd name="connsiteY2427" fmla="*/ 5396344 h 5955635"/>
              <a:gd name="connsiteX2428" fmla="*/ 3764613 w 6187971"/>
              <a:gd name="connsiteY2428" fmla="*/ 5390877 h 5955635"/>
              <a:gd name="connsiteX2429" fmla="*/ 3755605 w 6187971"/>
              <a:gd name="connsiteY2429" fmla="*/ 5392802 h 5955635"/>
              <a:gd name="connsiteX2430" fmla="*/ 3756567 w 6187971"/>
              <a:gd name="connsiteY2430" fmla="*/ 5397306 h 5955635"/>
              <a:gd name="connsiteX2431" fmla="*/ 3621445 w 6187971"/>
              <a:gd name="connsiteY2431" fmla="*/ 5426174 h 5955635"/>
              <a:gd name="connsiteX2432" fmla="*/ 3615016 w 6187971"/>
              <a:gd name="connsiteY2432" fmla="*/ 5418129 h 5955635"/>
              <a:gd name="connsiteX2433" fmla="*/ 3610512 w 6187971"/>
              <a:gd name="connsiteY2433" fmla="*/ 5419091 h 5955635"/>
              <a:gd name="connsiteX2434" fmla="*/ 3611474 w 6187971"/>
              <a:gd name="connsiteY2434" fmla="*/ 5423595 h 5955635"/>
              <a:gd name="connsiteX2435" fmla="*/ 3516889 w 6187971"/>
              <a:gd name="connsiteY2435" fmla="*/ 5443802 h 5955635"/>
              <a:gd name="connsiteX2436" fmla="*/ 3517851 w 6187971"/>
              <a:gd name="connsiteY2436" fmla="*/ 5448307 h 5955635"/>
              <a:gd name="connsiteX2437" fmla="*/ 3498872 w 6187971"/>
              <a:gd name="connsiteY2437" fmla="*/ 5447651 h 5955635"/>
              <a:gd name="connsiteX2438" fmla="*/ 3489865 w 6187971"/>
              <a:gd name="connsiteY2438" fmla="*/ 5449576 h 5955635"/>
              <a:gd name="connsiteX2439" fmla="*/ 3490519 w 6187971"/>
              <a:gd name="connsiteY2439" fmla="*/ 5430598 h 5955635"/>
              <a:gd name="connsiteX2440" fmla="*/ 3508535 w 6187971"/>
              <a:gd name="connsiteY2440" fmla="*/ 5426749 h 5955635"/>
              <a:gd name="connsiteX2441" fmla="*/ 3535561 w 6187971"/>
              <a:gd name="connsiteY2441" fmla="*/ 5420975 h 5955635"/>
              <a:gd name="connsiteX2442" fmla="*/ 3540064 w 6187971"/>
              <a:gd name="connsiteY2442" fmla="*/ 5420013 h 5955635"/>
              <a:gd name="connsiteX2443" fmla="*/ 3544568 w 6187971"/>
              <a:gd name="connsiteY2443" fmla="*/ 5419051 h 5955635"/>
              <a:gd name="connsiteX2444" fmla="*/ 3553577 w 6187971"/>
              <a:gd name="connsiteY2444" fmla="*/ 5417126 h 5955635"/>
              <a:gd name="connsiteX2445" fmla="*/ 3558080 w 6187971"/>
              <a:gd name="connsiteY2445" fmla="*/ 5416164 h 5955635"/>
              <a:gd name="connsiteX2446" fmla="*/ 3552615 w 6187971"/>
              <a:gd name="connsiteY2446" fmla="*/ 5412622 h 5955635"/>
              <a:gd name="connsiteX2447" fmla="*/ 3543606 w 6187971"/>
              <a:gd name="connsiteY2447" fmla="*/ 5414547 h 5955635"/>
              <a:gd name="connsiteX2448" fmla="*/ 3539102 w 6187971"/>
              <a:gd name="connsiteY2448" fmla="*/ 5415509 h 5955635"/>
              <a:gd name="connsiteX2449" fmla="*/ 3538139 w 6187971"/>
              <a:gd name="connsiteY2449" fmla="*/ 5411005 h 5955635"/>
              <a:gd name="connsiteX2450" fmla="*/ 3533636 w 6187971"/>
              <a:gd name="connsiteY2450" fmla="*/ 5411967 h 5955635"/>
              <a:gd name="connsiteX2451" fmla="*/ 3529132 w 6187971"/>
              <a:gd name="connsiteY2451" fmla="*/ 5412929 h 5955635"/>
              <a:gd name="connsiteX2452" fmla="*/ 3530094 w 6187971"/>
              <a:gd name="connsiteY2452" fmla="*/ 5417433 h 5955635"/>
              <a:gd name="connsiteX2453" fmla="*/ 3507573 w 6187971"/>
              <a:gd name="connsiteY2453" fmla="*/ 5422245 h 5955635"/>
              <a:gd name="connsiteX2454" fmla="*/ 3489557 w 6187971"/>
              <a:gd name="connsiteY2454" fmla="*/ 5426094 h 5955635"/>
              <a:gd name="connsiteX2455" fmla="*/ 3462533 w 6187971"/>
              <a:gd name="connsiteY2455" fmla="*/ 5431868 h 5955635"/>
              <a:gd name="connsiteX2456" fmla="*/ 3458028 w 6187971"/>
              <a:gd name="connsiteY2456" fmla="*/ 5432830 h 5955635"/>
              <a:gd name="connsiteX2457" fmla="*/ 3463495 w 6187971"/>
              <a:gd name="connsiteY2457" fmla="*/ 5436372 h 5955635"/>
              <a:gd name="connsiteX2458" fmla="*/ 3481511 w 6187971"/>
              <a:gd name="connsiteY2458" fmla="*/ 5432523 h 5955635"/>
              <a:gd name="connsiteX2459" fmla="*/ 3476352 w 6187971"/>
              <a:gd name="connsiteY2459" fmla="*/ 5452463 h 5955635"/>
              <a:gd name="connsiteX2460" fmla="*/ 3467344 w 6187971"/>
              <a:gd name="connsiteY2460" fmla="*/ 5454387 h 5955635"/>
              <a:gd name="connsiteX2461" fmla="*/ 3462839 w 6187971"/>
              <a:gd name="connsiteY2461" fmla="*/ 5455350 h 5955635"/>
              <a:gd name="connsiteX2462" fmla="*/ 3466382 w 6187971"/>
              <a:gd name="connsiteY2462" fmla="*/ 5449884 h 5955635"/>
              <a:gd name="connsiteX2463" fmla="*/ 3460915 w 6187971"/>
              <a:gd name="connsiteY2463" fmla="*/ 5446342 h 5955635"/>
              <a:gd name="connsiteX2464" fmla="*/ 3452870 w 6187971"/>
              <a:gd name="connsiteY2464" fmla="*/ 5452771 h 5955635"/>
              <a:gd name="connsiteX2465" fmla="*/ 3448365 w 6187971"/>
              <a:gd name="connsiteY2465" fmla="*/ 5453733 h 5955635"/>
              <a:gd name="connsiteX2466" fmla="*/ 3429387 w 6187971"/>
              <a:gd name="connsiteY2466" fmla="*/ 5453078 h 5955635"/>
              <a:gd name="connsiteX2467" fmla="*/ 3418454 w 6187971"/>
              <a:gd name="connsiteY2467" fmla="*/ 5445995 h 5955635"/>
              <a:gd name="connsiteX2468" fmla="*/ 3385964 w 6187971"/>
              <a:gd name="connsiteY2468" fmla="*/ 5448226 h 5955635"/>
              <a:gd name="connsiteX2469" fmla="*/ 3383384 w 6187971"/>
              <a:gd name="connsiteY2469" fmla="*/ 5458196 h 5955635"/>
              <a:gd name="connsiteX2470" fmla="*/ 3376955 w 6187971"/>
              <a:gd name="connsiteY2470" fmla="*/ 5450151 h 5955635"/>
              <a:gd name="connsiteX2471" fmla="*/ 3350893 w 6187971"/>
              <a:gd name="connsiteY2471" fmla="*/ 5460429 h 5955635"/>
              <a:gd name="connsiteX2472" fmla="*/ 3318402 w 6187971"/>
              <a:gd name="connsiteY2472" fmla="*/ 5462660 h 5955635"/>
              <a:gd name="connsiteX2473" fmla="*/ 3313898 w 6187971"/>
              <a:gd name="connsiteY2473" fmla="*/ 5463623 h 5955635"/>
              <a:gd name="connsiteX2474" fmla="*/ 3298461 w 6187971"/>
              <a:gd name="connsiteY2474" fmla="*/ 5457501 h 5955635"/>
              <a:gd name="connsiteX2475" fmla="*/ 3263391 w 6187971"/>
              <a:gd name="connsiteY2475" fmla="*/ 5469703 h 5955635"/>
              <a:gd name="connsiteX2476" fmla="*/ 3225433 w 6187971"/>
              <a:gd name="connsiteY2476" fmla="*/ 5468394 h 5955635"/>
              <a:gd name="connsiteX2477" fmla="*/ 3206456 w 6187971"/>
              <a:gd name="connsiteY2477" fmla="*/ 5467738 h 5955635"/>
              <a:gd name="connsiteX2478" fmla="*/ 3181048 w 6187971"/>
              <a:gd name="connsiteY2478" fmla="*/ 5459038 h 5955635"/>
              <a:gd name="connsiteX2479" fmla="*/ 3088079 w 6187971"/>
              <a:gd name="connsiteY2479" fmla="*/ 5464771 h 5955635"/>
              <a:gd name="connsiteX2480" fmla="*/ 3070064 w 6187971"/>
              <a:gd name="connsiteY2480" fmla="*/ 5468620 h 5955635"/>
              <a:gd name="connsiteX2481" fmla="*/ 3056551 w 6187971"/>
              <a:gd name="connsiteY2481" fmla="*/ 5471507 h 5955635"/>
              <a:gd name="connsiteX2482" fmla="*/ 2934326 w 6187971"/>
              <a:gd name="connsiteY2482" fmla="*/ 5450524 h 5955635"/>
              <a:gd name="connsiteX2483" fmla="*/ 2882857 w 6187971"/>
              <a:gd name="connsiteY2483" fmla="*/ 5452101 h 5955635"/>
              <a:gd name="connsiteX2484" fmla="*/ 2853908 w 6187971"/>
              <a:gd name="connsiteY2484" fmla="*/ 5448866 h 5955635"/>
              <a:gd name="connsiteX2485" fmla="*/ 2858412 w 6187971"/>
              <a:gd name="connsiteY2485" fmla="*/ 5447903 h 5955635"/>
              <a:gd name="connsiteX2486" fmla="*/ 2748082 w 6187971"/>
              <a:gd name="connsiteY2486" fmla="*/ 5438507 h 5955635"/>
              <a:gd name="connsiteX2487" fmla="*/ 2730066 w 6187971"/>
              <a:gd name="connsiteY2487" fmla="*/ 5442356 h 5955635"/>
              <a:gd name="connsiteX2488" fmla="*/ 2695651 w 6187971"/>
              <a:gd name="connsiteY2488" fmla="*/ 5435580 h 5955635"/>
              <a:gd name="connsiteX2489" fmla="*/ 2699193 w 6187971"/>
              <a:gd name="connsiteY2489" fmla="*/ 5430115 h 5955635"/>
              <a:gd name="connsiteX2490" fmla="*/ 2625858 w 6187971"/>
              <a:gd name="connsiteY2490" fmla="*/ 5417524 h 5955635"/>
              <a:gd name="connsiteX2491" fmla="*/ 2592405 w 6187971"/>
              <a:gd name="connsiteY2491" fmla="*/ 5415252 h 5955635"/>
              <a:gd name="connsiteX2492" fmla="*/ 2601413 w 6187971"/>
              <a:gd name="connsiteY2492" fmla="*/ 5413327 h 5955635"/>
              <a:gd name="connsiteX2493" fmla="*/ 2528079 w 6187971"/>
              <a:gd name="connsiteY2493" fmla="*/ 5400737 h 5955635"/>
              <a:gd name="connsiteX2494" fmla="*/ 2448315 w 6187971"/>
              <a:gd name="connsiteY2494" fmla="*/ 5380101 h 5955635"/>
              <a:gd name="connsiteX2495" fmla="*/ 2442848 w 6187971"/>
              <a:gd name="connsiteY2495" fmla="*/ 5376560 h 5955635"/>
              <a:gd name="connsiteX2496" fmla="*/ 2429336 w 6187971"/>
              <a:gd name="connsiteY2496" fmla="*/ 5379447 h 5955635"/>
              <a:gd name="connsiteX2497" fmla="*/ 2384951 w 6187971"/>
              <a:gd name="connsiteY2497" fmla="*/ 5370091 h 5955635"/>
              <a:gd name="connsiteX2498" fmla="*/ 2372093 w 6187971"/>
              <a:gd name="connsiteY2498" fmla="*/ 5353999 h 5955635"/>
              <a:gd name="connsiteX2499" fmla="*/ 2344107 w 6187971"/>
              <a:gd name="connsiteY2499" fmla="*/ 5355268 h 5955635"/>
              <a:gd name="connsiteX2500" fmla="*/ 2343144 w 6187971"/>
              <a:gd name="connsiteY2500" fmla="*/ 5350765 h 5955635"/>
              <a:gd name="connsiteX2501" fmla="*/ 2273352 w 6187971"/>
              <a:gd name="connsiteY2501" fmla="*/ 5332708 h 5955635"/>
              <a:gd name="connsiteX2502" fmla="*/ 2292330 w 6187971"/>
              <a:gd name="connsiteY2502" fmla="*/ 5333363 h 5955635"/>
              <a:gd name="connsiteX2503" fmla="*/ 2235087 w 6187971"/>
              <a:gd name="connsiteY2503" fmla="*/ 5307915 h 5955635"/>
              <a:gd name="connsiteX2504" fmla="*/ 2231545 w 6187971"/>
              <a:gd name="connsiteY2504" fmla="*/ 5313382 h 5955635"/>
              <a:gd name="connsiteX2505" fmla="*/ 2215146 w 6187971"/>
              <a:gd name="connsiteY2505" fmla="*/ 5302757 h 5955635"/>
              <a:gd name="connsiteX2506" fmla="*/ 2180731 w 6187971"/>
              <a:gd name="connsiteY2506" fmla="*/ 5295981 h 5955635"/>
              <a:gd name="connsiteX2507" fmla="*/ 2164331 w 6187971"/>
              <a:gd name="connsiteY2507" fmla="*/ 5285355 h 5955635"/>
              <a:gd name="connsiteX2508" fmla="*/ 2159828 w 6187971"/>
              <a:gd name="connsiteY2508" fmla="*/ 5286317 h 5955635"/>
              <a:gd name="connsiteX2509" fmla="*/ 2170760 w 6187971"/>
              <a:gd name="connsiteY2509" fmla="*/ 5293401 h 5955635"/>
              <a:gd name="connsiteX2510" fmla="*/ 2132496 w 6187971"/>
              <a:gd name="connsiteY2510" fmla="*/ 5268608 h 5955635"/>
              <a:gd name="connsiteX2511" fmla="*/ 2117059 w 6187971"/>
              <a:gd name="connsiteY2511" fmla="*/ 5262487 h 5955635"/>
              <a:gd name="connsiteX2512" fmla="*/ 2119946 w 6187971"/>
              <a:gd name="connsiteY2512" fmla="*/ 5276000 h 5955635"/>
              <a:gd name="connsiteX2513" fmla="*/ 2115441 w 6187971"/>
              <a:gd name="connsiteY2513" fmla="*/ 5276962 h 5955635"/>
              <a:gd name="connsiteX2514" fmla="*/ 2083606 w 6187971"/>
              <a:gd name="connsiteY2514" fmla="*/ 5260215 h 5955635"/>
              <a:gd name="connsiteX2515" fmla="*/ 2082644 w 6187971"/>
              <a:gd name="connsiteY2515" fmla="*/ 5255711 h 5955635"/>
              <a:gd name="connsiteX2516" fmla="*/ 2092614 w 6187971"/>
              <a:gd name="connsiteY2516" fmla="*/ 5258290 h 5955635"/>
              <a:gd name="connsiteX2517" fmla="*/ 2098080 w 6187971"/>
              <a:gd name="connsiteY2517" fmla="*/ 5261832 h 5955635"/>
              <a:gd name="connsiteX2518" fmla="*/ 2097118 w 6187971"/>
              <a:gd name="connsiteY2518" fmla="*/ 5257328 h 5955635"/>
              <a:gd name="connsiteX2519" fmla="*/ 2081681 w 6187971"/>
              <a:gd name="connsiteY2519" fmla="*/ 5251207 h 5955635"/>
              <a:gd name="connsiteX2520" fmla="*/ 2059816 w 6187971"/>
              <a:gd name="connsiteY2520" fmla="*/ 5237040 h 5955635"/>
              <a:gd name="connsiteX2521" fmla="*/ 2014467 w 6187971"/>
              <a:gd name="connsiteY2521" fmla="*/ 5223180 h 5955635"/>
              <a:gd name="connsiteX2522" fmla="*/ 1987136 w 6187971"/>
              <a:gd name="connsiteY2522" fmla="*/ 5205471 h 5955635"/>
              <a:gd name="connsiteX2523" fmla="*/ 1981670 w 6187971"/>
              <a:gd name="connsiteY2523" fmla="*/ 5201929 h 5955635"/>
              <a:gd name="connsiteX2524" fmla="*/ 1977165 w 6187971"/>
              <a:gd name="connsiteY2524" fmla="*/ 5202891 h 5955635"/>
              <a:gd name="connsiteX2525" fmla="*/ 1895171 w 6187971"/>
              <a:gd name="connsiteY2525" fmla="*/ 5149765 h 5955635"/>
              <a:gd name="connsiteX2526" fmla="*/ 1865914 w 6187971"/>
              <a:gd name="connsiteY2526" fmla="*/ 5123048 h 5955635"/>
              <a:gd name="connsiteX2527" fmla="*/ 1715436 w 6187971"/>
              <a:gd name="connsiteY2527" fmla="*/ 5013908 h 5955635"/>
              <a:gd name="connsiteX2528" fmla="*/ 1588748 w 6187971"/>
              <a:gd name="connsiteY2528" fmla="*/ 4927943 h 5955635"/>
              <a:gd name="connsiteX2529" fmla="*/ 1598064 w 6187971"/>
              <a:gd name="connsiteY2529" fmla="*/ 4949501 h 5955635"/>
              <a:gd name="connsiteX2530" fmla="*/ 1564303 w 6187971"/>
              <a:gd name="connsiteY2530" fmla="*/ 4923746 h 5955635"/>
              <a:gd name="connsiteX2531" fmla="*/ 1547904 w 6187971"/>
              <a:gd name="connsiteY2531" fmla="*/ 4913121 h 5955635"/>
              <a:gd name="connsiteX2532" fmla="*/ 1545979 w 6187971"/>
              <a:gd name="connsiteY2532" fmla="*/ 4904113 h 5955635"/>
              <a:gd name="connsiteX2533" fmla="*/ 1541475 w 6187971"/>
              <a:gd name="connsiteY2533" fmla="*/ 4905075 h 5955635"/>
              <a:gd name="connsiteX2534" fmla="*/ 1523807 w 6187971"/>
              <a:gd name="connsiteY2534" fmla="*/ 4866464 h 5955635"/>
              <a:gd name="connsiteX2535" fmla="*/ 1517378 w 6187971"/>
              <a:gd name="connsiteY2535" fmla="*/ 4858417 h 5955635"/>
              <a:gd name="connsiteX2536" fmla="*/ 1511912 w 6187971"/>
              <a:gd name="connsiteY2536" fmla="*/ 4854876 h 5955635"/>
              <a:gd name="connsiteX2537" fmla="*/ 1506446 w 6187971"/>
              <a:gd name="connsiteY2537" fmla="*/ 4851334 h 5955635"/>
              <a:gd name="connsiteX2538" fmla="*/ 1483618 w 6187971"/>
              <a:gd name="connsiteY2538" fmla="*/ 4832662 h 5955635"/>
              <a:gd name="connsiteX2539" fmla="*/ 1478151 w 6187971"/>
              <a:gd name="connsiteY2539" fmla="*/ 4829121 h 5955635"/>
              <a:gd name="connsiteX2540" fmla="*/ 1479114 w 6187971"/>
              <a:gd name="connsiteY2540" fmla="*/ 4833625 h 5955635"/>
              <a:gd name="connsiteX2541" fmla="*/ 1485543 w 6187971"/>
              <a:gd name="connsiteY2541" fmla="*/ 4841671 h 5955635"/>
              <a:gd name="connsiteX2542" fmla="*/ 1462060 w 6187971"/>
              <a:gd name="connsiteY2542" fmla="*/ 4841978 h 5955635"/>
              <a:gd name="connsiteX2543" fmla="*/ 1461097 w 6187971"/>
              <a:gd name="connsiteY2543" fmla="*/ 4837474 h 5955635"/>
              <a:gd name="connsiteX2544" fmla="*/ 1435076 w 6187971"/>
              <a:gd name="connsiteY2544" fmla="*/ 4781808 h 5955635"/>
              <a:gd name="connsiteX2545" fmla="*/ 1429609 w 6187971"/>
              <a:gd name="connsiteY2545" fmla="*/ 4778267 h 5955635"/>
              <a:gd name="connsiteX2546" fmla="*/ 1428647 w 6187971"/>
              <a:gd name="connsiteY2546" fmla="*/ 4773763 h 5955635"/>
              <a:gd name="connsiteX2547" fmla="*/ 1391038 w 6187971"/>
              <a:gd name="connsiteY2547" fmla="*/ 4729991 h 5955635"/>
              <a:gd name="connsiteX2548" fmla="*/ 1363706 w 6187971"/>
              <a:gd name="connsiteY2548" fmla="*/ 4712283 h 5955635"/>
              <a:gd name="connsiteX2549" fmla="*/ 1362744 w 6187971"/>
              <a:gd name="connsiteY2549" fmla="*/ 4707779 h 5955635"/>
              <a:gd name="connsiteX2550" fmla="*/ 1358239 w 6187971"/>
              <a:gd name="connsiteY2550" fmla="*/ 4708741 h 5955635"/>
              <a:gd name="connsiteX2551" fmla="*/ 1347307 w 6187971"/>
              <a:gd name="connsiteY2551" fmla="*/ 4701658 h 5955635"/>
              <a:gd name="connsiteX2552" fmla="*/ 1348269 w 6187971"/>
              <a:gd name="connsiteY2552" fmla="*/ 4706162 h 5955635"/>
              <a:gd name="connsiteX2553" fmla="*/ 1354698 w 6187971"/>
              <a:gd name="connsiteY2553" fmla="*/ 4714207 h 5955635"/>
              <a:gd name="connsiteX2554" fmla="*/ 1338299 w 6187971"/>
              <a:gd name="connsiteY2554" fmla="*/ 4703582 h 5955635"/>
              <a:gd name="connsiteX2555" fmla="*/ 1318358 w 6187971"/>
              <a:gd name="connsiteY2555" fmla="*/ 4698423 h 5955635"/>
              <a:gd name="connsiteX2556" fmla="*/ 1303576 w 6187971"/>
              <a:gd name="connsiteY2556" fmla="*/ 4673323 h 5955635"/>
              <a:gd name="connsiteX2557" fmla="*/ 1308080 w 6187971"/>
              <a:gd name="connsiteY2557" fmla="*/ 4672361 h 5955635"/>
              <a:gd name="connsiteX2558" fmla="*/ 1307118 w 6187971"/>
              <a:gd name="connsiteY2558" fmla="*/ 4667857 h 5955635"/>
              <a:gd name="connsiteX2559" fmla="*/ 1301651 w 6187971"/>
              <a:gd name="connsiteY2559" fmla="*/ 4664315 h 5955635"/>
              <a:gd name="connsiteX2560" fmla="*/ 1294261 w 6187971"/>
              <a:gd name="connsiteY2560" fmla="*/ 4651766 h 5955635"/>
              <a:gd name="connsiteX2561" fmla="*/ 1288794 w 6187971"/>
              <a:gd name="connsiteY2561" fmla="*/ 4648223 h 5955635"/>
              <a:gd name="connsiteX2562" fmla="*/ 1284945 w 6187971"/>
              <a:gd name="connsiteY2562" fmla="*/ 4630207 h 5955635"/>
              <a:gd name="connsiteX2563" fmla="*/ 1303269 w 6187971"/>
              <a:gd name="connsiteY2563" fmla="*/ 4649841 h 5955635"/>
              <a:gd name="connsiteX2564" fmla="*/ 1300382 w 6187971"/>
              <a:gd name="connsiteY2564" fmla="*/ 4636329 h 5955635"/>
              <a:gd name="connsiteX2565" fmla="*/ 1288488 w 6187971"/>
              <a:gd name="connsiteY2565" fmla="*/ 4624741 h 5955635"/>
              <a:gd name="connsiteX2566" fmla="*/ 1225818 w 6187971"/>
              <a:gd name="connsiteY2566" fmla="*/ 4529809 h 5955635"/>
              <a:gd name="connsiteX2567" fmla="*/ 1185629 w 6187971"/>
              <a:gd name="connsiteY2567" fmla="*/ 4496009 h 5955635"/>
              <a:gd name="connsiteX2568" fmla="*/ 1189171 w 6187971"/>
              <a:gd name="connsiteY2568" fmla="*/ 4490542 h 5955635"/>
              <a:gd name="connsiteX2569" fmla="*/ 1182742 w 6187971"/>
              <a:gd name="connsiteY2569" fmla="*/ 4482495 h 5955635"/>
              <a:gd name="connsiteX2570" fmla="*/ 1177276 w 6187971"/>
              <a:gd name="connsiteY2570" fmla="*/ 4478954 h 5955635"/>
              <a:gd name="connsiteX2571" fmla="*/ 1178238 w 6187971"/>
              <a:gd name="connsiteY2571" fmla="*/ 4483458 h 5955635"/>
              <a:gd name="connsiteX2572" fmla="*/ 1166343 w 6187971"/>
              <a:gd name="connsiteY2572" fmla="*/ 4471870 h 5955635"/>
              <a:gd name="connsiteX2573" fmla="*/ 1169885 w 6187971"/>
              <a:gd name="connsiteY2573" fmla="*/ 4466405 h 5955635"/>
              <a:gd name="connsiteX2574" fmla="*/ 1139667 w 6187971"/>
              <a:gd name="connsiteY2574" fmla="*/ 4435183 h 5955635"/>
              <a:gd name="connsiteX2575" fmla="*/ 1138704 w 6187971"/>
              <a:gd name="connsiteY2575" fmla="*/ 4430679 h 5955635"/>
              <a:gd name="connsiteX2576" fmla="*/ 1134200 w 6187971"/>
              <a:gd name="connsiteY2576" fmla="*/ 4431641 h 5955635"/>
              <a:gd name="connsiteX2577" fmla="*/ 1129696 w 6187971"/>
              <a:gd name="connsiteY2577" fmla="*/ 4432603 h 5955635"/>
              <a:gd name="connsiteX2578" fmla="*/ 1128734 w 6187971"/>
              <a:gd name="connsiteY2578" fmla="*/ 4428100 h 5955635"/>
              <a:gd name="connsiteX2579" fmla="*/ 1118764 w 6187971"/>
              <a:gd name="connsiteY2579" fmla="*/ 4425520 h 5955635"/>
              <a:gd name="connsiteX2580" fmla="*/ 1120688 w 6187971"/>
              <a:gd name="connsiteY2580" fmla="*/ 4434529 h 5955635"/>
              <a:gd name="connsiteX2581" fmla="*/ 1115221 w 6187971"/>
              <a:gd name="connsiteY2581" fmla="*/ 4430987 h 5955635"/>
              <a:gd name="connsiteX2582" fmla="*/ 1091431 w 6187971"/>
              <a:gd name="connsiteY2582" fmla="*/ 4407812 h 5955635"/>
              <a:gd name="connsiteX2583" fmla="*/ 1073763 w 6187971"/>
              <a:gd name="connsiteY2583" fmla="*/ 4369199 h 5955635"/>
              <a:gd name="connsiteX2584" fmla="*/ 1063792 w 6187971"/>
              <a:gd name="connsiteY2584" fmla="*/ 4366620 h 5955635"/>
              <a:gd name="connsiteX2585" fmla="*/ 1058981 w 6187971"/>
              <a:gd name="connsiteY2585" fmla="*/ 4344100 h 5955635"/>
              <a:gd name="connsiteX2586" fmla="*/ 1050936 w 6187971"/>
              <a:gd name="connsiteY2586" fmla="*/ 4350528 h 5955635"/>
              <a:gd name="connsiteX2587" fmla="*/ 1048049 w 6187971"/>
              <a:gd name="connsiteY2587" fmla="*/ 4337016 h 5955635"/>
              <a:gd name="connsiteX2588" fmla="*/ 988922 w 6187971"/>
              <a:gd name="connsiteY2588" fmla="*/ 4236617 h 5955635"/>
              <a:gd name="connsiteX2589" fmla="*/ 981224 w 6187971"/>
              <a:gd name="connsiteY2589" fmla="*/ 4200585 h 5955635"/>
              <a:gd name="connsiteX2590" fmla="*/ 970291 w 6187971"/>
              <a:gd name="connsiteY2590" fmla="*/ 4193501 h 5955635"/>
              <a:gd name="connsiteX2591" fmla="*/ 953584 w 6187971"/>
              <a:gd name="connsiteY2591" fmla="*/ 4159394 h 5955635"/>
              <a:gd name="connsiteX2592" fmla="*/ 943614 w 6187971"/>
              <a:gd name="connsiteY2592" fmla="*/ 4156814 h 5955635"/>
              <a:gd name="connsiteX2593" fmla="*/ 947156 w 6187971"/>
              <a:gd name="connsiteY2593" fmla="*/ 4151347 h 5955635"/>
              <a:gd name="connsiteX2594" fmla="*/ 918555 w 6187971"/>
              <a:gd name="connsiteY2594" fmla="*/ 4105652 h 5955635"/>
              <a:gd name="connsiteX2595" fmla="*/ 910857 w 6187971"/>
              <a:gd name="connsiteY2595" fmla="*/ 4069620 h 5955635"/>
              <a:gd name="connsiteX2596" fmla="*/ 892533 w 6187971"/>
              <a:gd name="connsiteY2596" fmla="*/ 4049987 h 5955635"/>
              <a:gd name="connsiteX2597" fmla="*/ 891263 w 6187971"/>
              <a:gd name="connsiteY2597" fmla="*/ 4022000 h 5955635"/>
              <a:gd name="connsiteX2598" fmla="*/ 869091 w 6187971"/>
              <a:gd name="connsiteY2598" fmla="*/ 3984350 h 5955635"/>
              <a:gd name="connsiteX2599" fmla="*/ 873595 w 6187971"/>
              <a:gd name="connsiteY2599" fmla="*/ 3983387 h 5955635"/>
              <a:gd name="connsiteX2600" fmla="*/ 852077 w 6187971"/>
              <a:gd name="connsiteY2600" fmla="*/ 3926760 h 5955635"/>
              <a:gd name="connsiteX2601" fmla="*/ 863010 w 6187971"/>
              <a:gd name="connsiteY2601" fmla="*/ 3933844 h 5955635"/>
              <a:gd name="connsiteX2602" fmla="*/ 869247 w 6187971"/>
              <a:gd name="connsiteY2602" fmla="*/ 3944432 h 5955635"/>
              <a:gd name="connsiteX2603" fmla="*/ 868668 w 6187971"/>
              <a:gd name="connsiteY2603" fmla="*/ 3952062 h 5955635"/>
              <a:gd name="connsiteX2604" fmla="*/ 862355 w 6187971"/>
              <a:gd name="connsiteY2604" fmla="*/ 3952821 h 5955635"/>
              <a:gd name="connsiteX2605" fmla="*/ 875212 w 6187971"/>
              <a:gd name="connsiteY2605" fmla="*/ 3968913 h 5955635"/>
              <a:gd name="connsiteX2606" fmla="*/ 890956 w 6187971"/>
              <a:gd name="connsiteY2606" fmla="*/ 3998517 h 5955635"/>
              <a:gd name="connsiteX2607" fmla="*/ 891918 w 6187971"/>
              <a:gd name="connsiteY2607" fmla="*/ 4003022 h 5955635"/>
              <a:gd name="connsiteX2608" fmla="*/ 892881 w 6187971"/>
              <a:gd name="connsiteY2608" fmla="*/ 4007525 h 5955635"/>
              <a:gd name="connsiteX2609" fmla="*/ 897385 w 6187971"/>
              <a:gd name="connsiteY2609" fmla="*/ 4006563 h 5955635"/>
              <a:gd name="connsiteX2610" fmla="*/ 897077 w 6187971"/>
              <a:gd name="connsiteY2610" fmla="*/ 3983081 h 5955635"/>
              <a:gd name="connsiteX2611" fmla="*/ 891611 w 6187971"/>
              <a:gd name="connsiteY2611" fmla="*/ 3979538 h 5955635"/>
              <a:gd name="connsiteX2612" fmla="*/ 890649 w 6187971"/>
              <a:gd name="connsiteY2612" fmla="*/ 3975035 h 5955635"/>
              <a:gd name="connsiteX2613" fmla="*/ 885183 w 6187971"/>
              <a:gd name="connsiteY2613" fmla="*/ 3971493 h 5955635"/>
              <a:gd name="connsiteX2614" fmla="*/ 878447 w 6187971"/>
              <a:gd name="connsiteY2614" fmla="*/ 3939965 h 5955635"/>
              <a:gd name="connsiteX2615" fmla="*/ 890034 w 6187971"/>
              <a:gd name="connsiteY2615" fmla="*/ 3928070 h 5955635"/>
              <a:gd name="connsiteX2616" fmla="*/ 879449 w 6187971"/>
              <a:gd name="connsiteY2616" fmla="*/ 3878525 h 5955635"/>
              <a:gd name="connsiteX2617" fmla="*/ 852546 w 6187971"/>
              <a:gd name="connsiteY2617" fmla="*/ 3686468 h 5955635"/>
              <a:gd name="connsiteX2618" fmla="*/ 847081 w 6187971"/>
              <a:gd name="connsiteY2618" fmla="*/ 3682926 h 5955635"/>
              <a:gd name="connsiteX2619" fmla="*/ 843539 w 6187971"/>
              <a:gd name="connsiteY2619" fmla="*/ 3688393 h 5955635"/>
              <a:gd name="connsiteX2620" fmla="*/ 872058 w 6187971"/>
              <a:gd name="connsiteY2620" fmla="*/ 3865975 h 5955635"/>
              <a:gd name="connsiteX2621" fmla="*/ 867555 w 6187971"/>
              <a:gd name="connsiteY2621" fmla="*/ 3866938 h 5955635"/>
              <a:gd name="connsiteX2622" fmla="*/ 861126 w 6187971"/>
              <a:gd name="connsiteY2622" fmla="*/ 3858892 h 5955635"/>
              <a:gd name="connsiteX2623" fmla="*/ 868517 w 6187971"/>
              <a:gd name="connsiteY2623" fmla="*/ 3871442 h 5955635"/>
              <a:gd name="connsiteX2624" fmla="*/ 864975 w 6187971"/>
              <a:gd name="connsiteY2624" fmla="*/ 3876908 h 5955635"/>
              <a:gd name="connsiteX2625" fmla="*/ 849886 w 6187971"/>
              <a:gd name="connsiteY2625" fmla="*/ 3828326 h 5955635"/>
              <a:gd name="connsiteX2626" fmla="*/ 848269 w 6187971"/>
              <a:gd name="connsiteY2626" fmla="*/ 3842800 h 5955635"/>
              <a:gd name="connsiteX2627" fmla="*/ 832524 w 6187971"/>
              <a:gd name="connsiteY2627" fmla="*/ 3813196 h 5955635"/>
              <a:gd name="connsiteX2628" fmla="*/ 822902 w 6187971"/>
              <a:gd name="connsiteY2628" fmla="*/ 3768156 h 5955635"/>
              <a:gd name="connsiteX2629" fmla="*/ 812624 w 6187971"/>
              <a:gd name="connsiteY2629" fmla="*/ 3742094 h 5955635"/>
              <a:gd name="connsiteX2630" fmla="*/ 789529 w 6187971"/>
              <a:gd name="connsiteY2630" fmla="*/ 3633997 h 5955635"/>
              <a:gd name="connsiteX2631" fmla="*/ 786951 w 6187971"/>
              <a:gd name="connsiteY2631" fmla="*/ 3643967 h 5955635"/>
              <a:gd name="connsiteX2632" fmla="*/ 785988 w 6187971"/>
              <a:gd name="connsiteY2632" fmla="*/ 3639463 h 5955635"/>
              <a:gd name="connsiteX2633" fmla="*/ 785026 w 6187971"/>
              <a:gd name="connsiteY2633" fmla="*/ 3634959 h 5955635"/>
              <a:gd name="connsiteX2634" fmla="*/ 783101 w 6187971"/>
              <a:gd name="connsiteY2634" fmla="*/ 3625951 h 5955635"/>
              <a:gd name="connsiteX2635" fmla="*/ 765126 w 6187971"/>
              <a:gd name="connsiteY2635" fmla="*/ 3563856 h 5955635"/>
              <a:gd name="connsiteX2636" fmla="*/ 763201 w 6187971"/>
              <a:gd name="connsiteY2636" fmla="*/ 3554849 h 5955635"/>
              <a:gd name="connsiteX2637" fmla="*/ 760314 w 6187971"/>
              <a:gd name="connsiteY2637" fmla="*/ 3541336 h 5955635"/>
              <a:gd name="connsiteX2638" fmla="*/ 754541 w 6187971"/>
              <a:gd name="connsiteY2638" fmla="*/ 3514312 h 5955635"/>
              <a:gd name="connsiteX2639" fmla="*/ 753578 w 6187971"/>
              <a:gd name="connsiteY2639" fmla="*/ 3509808 h 5955635"/>
              <a:gd name="connsiteX2640" fmla="*/ 752616 w 6187971"/>
              <a:gd name="connsiteY2640" fmla="*/ 3505304 h 5955635"/>
              <a:gd name="connsiteX2641" fmla="*/ 748111 w 6187971"/>
              <a:gd name="connsiteY2641" fmla="*/ 3506266 h 5955635"/>
              <a:gd name="connsiteX2642" fmla="*/ 756158 w 6187971"/>
              <a:gd name="connsiteY2642" fmla="*/ 3499837 h 5955635"/>
              <a:gd name="connsiteX2643" fmla="*/ 748767 w 6187971"/>
              <a:gd name="connsiteY2643" fmla="*/ 3487287 h 5955635"/>
              <a:gd name="connsiteX2644" fmla="*/ 745225 w 6187971"/>
              <a:gd name="connsiteY2644" fmla="*/ 3492754 h 5955635"/>
              <a:gd name="connsiteX2645" fmla="*/ 743300 w 6187971"/>
              <a:gd name="connsiteY2645" fmla="*/ 3483746 h 5955635"/>
              <a:gd name="connsiteX2646" fmla="*/ 735295 w 6187971"/>
              <a:gd name="connsiteY2646" fmla="*/ 3424231 h 5955635"/>
              <a:gd name="connsiteX2647" fmla="*/ 735950 w 6187971"/>
              <a:gd name="connsiteY2647" fmla="*/ 3405253 h 5955635"/>
              <a:gd name="connsiteX2648" fmla="*/ 734026 w 6187971"/>
              <a:gd name="connsiteY2648" fmla="*/ 3396245 h 5955635"/>
              <a:gd name="connsiteX2649" fmla="*/ 736605 w 6187971"/>
              <a:gd name="connsiteY2649" fmla="*/ 3386274 h 5955635"/>
              <a:gd name="connsiteX2650" fmla="*/ 742071 w 6187971"/>
              <a:gd name="connsiteY2650" fmla="*/ 3389816 h 5955635"/>
              <a:gd name="connsiteX2651" fmla="*/ 747538 w 6187971"/>
              <a:gd name="connsiteY2651" fmla="*/ 3393358 h 5955635"/>
              <a:gd name="connsiteX2652" fmla="*/ 746576 w 6187971"/>
              <a:gd name="connsiteY2652" fmla="*/ 3388854 h 5955635"/>
              <a:gd name="connsiteX2653" fmla="*/ 751080 w 6187971"/>
              <a:gd name="connsiteY2653" fmla="*/ 3387891 h 5955635"/>
              <a:gd name="connsiteX2654" fmla="*/ 744651 w 6187971"/>
              <a:gd name="connsiteY2654" fmla="*/ 3379845 h 5955635"/>
              <a:gd name="connsiteX2655" fmla="*/ 733718 w 6187971"/>
              <a:gd name="connsiteY2655" fmla="*/ 3372762 h 5955635"/>
              <a:gd name="connsiteX2656" fmla="*/ 730177 w 6187971"/>
              <a:gd name="connsiteY2656" fmla="*/ 3378228 h 5955635"/>
              <a:gd name="connsiteX2657" fmla="*/ 722786 w 6187971"/>
              <a:gd name="connsiteY2657" fmla="*/ 3365679 h 5955635"/>
              <a:gd name="connsiteX2658" fmla="*/ 722479 w 6187971"/>
              <a:gd name="connsiteY2658" fmla="*/ 3342196 h 5955635"/>
              <a:gd name="connsiteX2659" fmla="*/ 727944 w 6187971"/>
              <a:gd name="connsiteY2659" fmla="*/ 3345738 h 5955635"/>
              <a:gd name="connsiteX2660" fmla="*/ 726982 w 6187971"/>
              <a:gd name="connsiteY2660" fmla="*/ 3341234 h 5955635"/>
              <a:gd name="connsiteX2661" fmla="*/ 725057 w 6187971"/>
              <a:gd name="connsiteY2661" fmla="*/ 3332226 h 5955635"/>
              <a:gd name="connsiteX2662" fmla="*/ 724095 w 6187971"/>
              <a:gd name="connsiteY2662" fmla="*/ 3327721 h 5955635"/>
              <a:gd name="connsiteX2663" fmla="*/ 723133 w 6187971"/>
              <a:gd name="connsiteY2663" fmla="*/ 3323218 h 5955635"/>
              <a:gd name="connsiteX2664" fmla="*/ 719284 w 6187971"/>
              <a:gd name="connsiteY2664" fmla="*/ 3305202 h 5955635"/>
              <a:gd name="connsiteX2665" fmla="*/ 716397 w 6187971"/>
              <a:gd name="connsiteY2665" fmla="*/ 3291690 h 5955635"/>
              <a:gd name="connsiteX2666" fmla="*/ 718015 w 6187971"/>
              <a:gd name="connsiteY2666" fmla="*/ 3277215 h 5955635"/>
              <a:gd name="connsiteX2667" fmla="*/ 716438 w 6187971"/>
              <a:gd name="connsiteY2667" fmla="*/ 3225746 h 5955635"/>
              <a:gd name="connsiteX2668" fmla="*/ 711934 w 6187971"/>
              <a:gd name="connsiteY2668" fmla="*/ 3226708 h 5955635"/>
              <a:gd name="connsiteX2669" fmla="*/ 710705 w 6187971"/>
              <a:gd name="connsiteY2669" fmla="*/ 3132778 h 5955635"/>
              <a:gd name="connsiteX2670" fmla="*/ 713284 w 6187971"/>
              <a:gd name="connsiteY2670" fmla="*/ 3122808 h 5955635"/>
              <a:gd name="connsiteX2671" fmla="*/ 712322 w 6187971"/>
              <a:gd name="connsiteY2671" fmla="*/ 3118304 h 5955635"/>
              <a:gd name="connsiteX2672" fmla="*/ 708780 w 6187971"/>
              <a:gd name="connsiteY2672" fmla="*/ 3123770 h 5955635"/>
              <a:gd name="connsiteX2673" fmla="*/ 708472 w 6187971"/>
              <a:gd name="connsiteY2673" fmla="*/ 3100287 h 5955635"/>
              <a:gd name="connsiteX2674" fmla="*/ 712015 w 6187971"/>
              <a:gd name="connsiteY2674" fmla="*/ 3094821 h 5955635"/>
              <a:gd name="connsiteX2675" fmla="*/ 706548 w 6187971"/>
              <a:gd name="connsiteY2675" fmla="*/ 3091280 h 5955635"/>
              <a:gd name="connsiteX2676" fmla="*/ 709128 w 6187971"/>
              <a:gd name="connsiteY2676" fmla="*/ 3081309 h 5955635"/>
              <a:gd name="connsiteX2677" fmla="*/ 709783 w 6187971"/>
              <a:gd name="connsiteY2677" fmla="*/ 3062331 h 5955635"/>
              <a:gd name="connsiteX2678" fmla="*/ 708821 w 6187971"/>
              <a:gd name="connsiteY2678" fmla="*/ 3057826 h 5955635"/>
              <a:gd name="connsiteX2679" fmla="*/ 705934 w 6187971"/>
              <a:gd name="connsiteY2679" fmla="*/ 3044314 h 5955635"/>
              <a:gd name="connsiteX2680" fmla="*/ 710439 w 6187971"/>
              <a:gd name="connsiteY2680" fmla="*/ 3043352 h 5955635"/>
              <a:gd name="connsiteX2681" fmla="*/ 717295 w 6187971"/>
              <a:gd name="connsiteY2681" fmla="*/ 2877050 h 5955635"/>
              <a:gd name="connsiteX2682" fmla="*/ 721799 w 6187971"/>
              <a:gd name="connsiteY2682" fmla="*/ 2876088 h 5955635"/>
              <a:gd name="connsiteX2683" fmla="*/ 722107 w 6187971"/>
              <a:gd name="connsiteY2683" fmla="*/ 2899570 h 5955635"/>
              <a:gd name="connsiteX2684" fmla="*/ 723376 w 6187971"/>
              <a:gd name="connsiteY2684" fmla="*/ 2927557 h 5955635"/>
              <a:gd name="connsiteX2685" fmla="*/ 719487 w 6187971"/>
              <a:gd name="connsiteY2685" fmla="*/ 2975484 h 5955635"/>
              <a:gd name="connsiteX2686" fmla="*/ 727759 w 6187971"/>
              <a:gd name="connsiteY2686" fmla="*/ 3124424 h 5955635"/>
              <a:gd name="connsiteX2687" fmla="*/ 724217 w 6187971"/>
              <a:gd name="connsiteY2687" fmla="*/ 3129891 h 5955635"/>
              <a:gd name="connsiteX2688" fmla="*/ 726142 w 6187971"/>
              <a:gd name="connsiteY2688" fmla="*/ 3138899 h 5955635"/>
              <a:gd name="connsiteX2689" fmla="*/ 724524 w 6187971"/>
              <a:gd name="connsiteY2689" fmla="*/ 3153374 h 5955635"/>
              <a:gd name="connsiteX2690" fmla="*/ 728066 w 6187971"/>
              <a:gd name="connsiteY2690" fmla="*/ 3147907 h 5955635"/>
              <a:gd name="connsiteX2691" fmla="*/ 726449 w 6187971"/>
              <a:gd name="connsiteY2691" fmla="*/ 3162382 h 5955635"/>
              <a:gd name="connsiteX2692" fmla="*/ 729335 w 6187971"/>
              <a:gd name="connsiteY2692" fmla="*/ 3175894 h 5955635"/>
              <a:gd name="connsiteX2693" fmla="*/ 732878 w 6187971"/>
              <a:gd name="connsiteY2693" fmla="*/ 3170427 h 5955635"/>
              <a:gd name="connsiteX2694" fmla="*/ 735458 w 6187971"/>
              <a:gd name="connsiteY2694" fmla="*/ 3160457 h 5955635"/>
              <a:gd name="connsiteX2695" fmla="*/ 731608 w 6187971"/>
              <a:gd name="connsiteY2695" fmla="*/ 3142441 h 5955635"/>
              <a:gd name="connsiteX2696" fmla="*/ 735149 w 6187971"/>
              <a:gd name="connsiteY2696" fmla="*/ 3136974 h 5955635"/>
              <a:gd name="connsiteX2697" fmla="*/ 739654 w 6187971"/>
              <a:gd name="connsiteY2697" fmla="*/ 3136012 h 5955635"/>
              <a:gd name="connsiteX2698" fmla="*/ 738691 w 6187971"/>
              <a:gd name="connsiteY2698" fmla="*/ 3131509 h 5955635"/>
              <a:gd name="connsiteX2699" fmla="*/ 737729 w 6187971"/>
              <a:gd name="connsiteY2699" fmla="*/ 3127004 h 5955635"/>
              <a:gd name="connsiteX2700" fmla="*/ 731301 w 6187971"/>
              <a:gd name="connsiteY2700" fmla="*/ 3118959 h 5955635"/>
              <a:gd name="connsiteX2701" fmla="*/ 730338 w 6187971"/>
              <a:gd name="connsiteY2701" fmla="*/ 3114455 h 5955635"/>
              <a:gd name="connsiteX2702" fmla="*/ 729376 w 6187971"/>
              <a:gd name="connsiteY2702" fmla="*/ 3109950 h 5955635"/>
              <a:gd name="connsiteX2703" fmla="*/ 729069 w 6187971"/>
              <a:gd name="connsiteY2703" fmla="*/ 3086468 h 5955635"/>
              <a:gd name="connsiteX2704" fmla="*/ 733265 w 6187971"/>
              <a:gd name="connsiteY2704" fmla="*/ 3062023 h 5955635"/>
              <a:gd name="connsiteX2705" fmla="*/ 733987 w 6187971"/>
              <a:gd name="connsiteY2705" fmla="*/ 3065401 h 5955635"/>
              <a:gd name="connsiteX2706" fmla="*/ 734227 w 6187971"/>
              <a:gd name="connsiteY2706" fmla="*/ 3066527 h 5955635"/>
              <a:gd name="connsiteX2707" fmla="*/ 735190 w 6187971"/>
              <a:gd name="connsiteY2707" fmla="*/ 3071031 h 5955635"/>
              <a:gd name="connsiteX2708" fmla="*/ 738732 w 6187971"/>
              <a:gd name="connsiteY2708" fmla="*/ 3065565 h 5955635"/>
              <a:gd name="connsiteX2709" fmla="*/ 735845 w 6187971"/>
              <a:gd name="connsiteY2709" fmla="*/ 3052053 h 5955635"/>
              <a:gd name="connsiteX2710" fmla="*/ 733921 w 6187971"/>
              <a:gd name="connsiteY2710" fmla="*/ 3043045 h 5955635"/>
              <a:gd name="connsiteX2711" fmla="*/ 736541 w 6187971"/>
              <a:gd name="connsiteY2711" fmla="*/ 2967131 h 5955635"/>
              <a:gd name="connsiteX2712" fmla="*/ 735578 w 6187971"/>
              <a:gd name="connsiteY2712" fmla="*/ 2962627 h 5955635"/>
              <a:gd name="connsiteX2713" fmla="*/ 744279 w 6187971"/>
              <a:gd name="connsiteY2713" fmla="*/ 2937219 h 5955635"/>
              <a:gd name="connsiteX2714" fmla="*/ 747514 w 6187971"/>
              <a:gd name="connsiteY2714" fmla="*/ 2908270 h 5955635"/>
              <a:gd name="connsiteX2715" fmla="*/ 767536 w 6187971"/>
              <a:gd name="connsiteY2715" fmla="*/ 2781543 h 5955635"/>
              <a:gd name="connsiteX2716" fmla="*/ 767175 w 6187971"/>
              <a:gd name="connsiteY2716" fmla="*/ 2788737 h 5955635"/>
              <a:gd name="connsiteX2717" fmla="*/ 765918 w 6187971"/>
              <a:gd name="connsiteY2717" fmla="*/ 2796017 h 5955635"/>
              <a:gd name="connsiteX2718" fmla="*/ 767088 w 6187971"/>
              <a:gd name="connsiteY2718" fmla="*/ 2790469 h 5955635"/>
              <a:gd name="connsiteX2719" fmla="*/ 767175 w 6187971"/>
              <a:gd name="connsiteY2719" fmla="*/ 2788737 h 5955635"/>
              <a:gd name="connsiteX2720" fmla="*/ 777228 w 6187971"/>
              <a:gd name="connsiteY2720" fmla="*/ 2730482 h 5955635"/>
              <a:gd name="connsiteX2721" fmla="*/ 774987 w 6187971"/>
              <a:gd name="connsiteY2721" fmla="*/ 2827750 h 5955635"/>
              <a:gd name="connsiteX2722" fmla="*/ 824931 w 6187971"/>
              <a:gd name="connsiteY2722" fmla="*/ 3364010 h 5955635"/>
              <a:gd name="connsiteX2723" fmla="*/ 829326 w 6187971"/>
              <a:gd name="connsiteY2723" fmla="*/ 3384580 h 5955635"/>
              <a:gd name="connsiteX2724" fmla="*/ 837369 w 6187971"/>
              <a:gd name="connsiteY2724" fmla="*/ 3339843 h 5955635"/>
              <a:gd name="connsiteX2725" fmla="*/ 819665 w 6187971"/>
              <a:gd name="connsiteY2725" fmla="*/ 2577354 h 5955635"/>
              <a:gd name="connsiteX2726" fmla="*/ 843923 w 6187971"/>
              <a:gd name="connsiteY2726" fmla="*/ 2454020 h 5955635"/>
              <a:gd name="connsiteX2727" fmla="*/ 844696 w 6187971"/>
              <a:gd name="connsiteY2727" fmla="*/ 2456577 h 5955635"/>
              <a:gd name="connsiteX2728" fmla="*/ 850081 w 6187971"/>
              <a:gd name="connsiteY2728" fmla="*/ 2462491 h 5955635"/>
              <a:gd name="connsiteX2729" fmla="*/ 847719 w 6187971"/>
              <a:gd name="connsiteY2729" fmla="*/ 2445923 h 5955635"/>
              <a:gd name="connsiteX2730" fmla="*/ 846151 w 6187971"/>
              <a:gd name="connsiteY2730" fmla="*/ 2442693 h 5955635"/>
              <a:gd name="connsiteX2731" fmla="*/ 847411 w 6187971"/>
              <a:gd name="connsiteY2731" fmla="*/ 2436286 h 5955635"/>
              <a:gd name="connsiteX2732" fmla="*/ 851391 w 6187971"/>
              <a:gd name="connsiteY2732" fmla="*/ 2424533 h 5955635"/>
              <a:gd name="connsiteX2733" fmla="*/ 853316 w 6187971"/>
              <a:gd name="connsiteY2733" fmla="*/ 2433542 h 5955635"/>
              <a:gd name="connsiteX2734" fmla="*/ 879111 w 6187971"/>
              <a:gd name="connsiteY2734" fmla="*/ 2333838 h 5955635"/>
              <a:gd name="connsiteX2735" fmla="*/ 884578 w 6187971"/>
              <a:gd name="connsiteY2735" fmla="*/ 2337381 h 5955635"/>
              <a:gd name="connsiteX2736" fmla="*/ 911642 w 6187971"/>
              <a:gd name="connsiteY2736" fmla="*/ 2265663 h 5955635"/>
              <a:gd name="connsiteX2737" fmla="*/ 944828 w 6187971"/>
              <a:gd name="connsiteY2737" fmla="*/ 2178509 h 5955635"/>
              <a:gd name="connsiteX2738" fmla="*/ 987023 w 6187971"/>
              <a:gd name="connsiteY2738" fmla="*/ 2089431 h 5955635"/>
              <a:gd name="connsiteX2739" fmla="*/ 991527 w 6187971"/>
              <a:gd name="connsiteY2739" fmla="*/ 2088468 h 5955635"/>
              <a:gd name="connsiteX2740" fmla="*/ 988948 w 6187971"/>
              <a:gd name="connsiteY2740" fmla="*/ 2098439 h 5955635"/>
              <a:gd name="connsiteX2741" fmla="*/ 993452 w 6187971"/>
              <a:gd name="connsiteY2741" fmla="*/ 2097477 h 5955635"/>
              <a:gd name="connsiteX2742" fmla="*/ 992489 w 6187971"/>
              <a:gd name="connsiteY2742" fmla="*/ 2092973 h 5955635"/>
              <a:gd name="connsiteX2743" fmla="*/ 996031 w 6187971"/>
              <a:gd name="connsiteY2743" fmla="*/ 2087506 h 5955635"/>
              <a:gd name="connsiteX2744" fmla="*/ 1012778 w 6187971"/>
              <a:gd name="connsiteY2744" fmla="*/ 2055671 h 5955635"/>
              <a:gd name="connsiteX2745" fmla="*/ 1010853 w 6187971"/>
              <a:gd name="connsiteY2745" fmla="*/ 2046663 h 5955635"/>
              <a:gd name="connsiteX2746" fmla="*/ 1014395 w 6187971"/>
              <a:gd name="connsiteY2746" fmla="*/ 2041196 h 5955635"/>
              <a:gd name="connsiteX2747" fmla="*/ 1016320 w 6187971"/>
              <a:gd name="connsiteY2747" fmla="*/ 2050205 h 5955635"/>
              <a:gd name="connsiteX2748" fmla="*/ 1021479 w 6187971"/>
              <a:gd name="connsiteY2748" fmla="*/ 2030264 h 5955635"/>
              <a:gd name="connsiteX2749" fmla="*/ 1022441 w 6187971"/>
              <a:gd name="connsiteY2749" fmla="*/ 2034767 h 5955635"/>
              <a:gd name="connsiteX2750" fmla="*/ 1023404 w 6187971"/>
              <a:gd name="connsiteY2750" fmla="*/ 2039271 h 5955635"/>
              <a:gd name="connsiteX2751" fmla="*/ 1027908 w 6187971"/>
              <a:gd name="connsiteY2751" fmla="*/ 2038309 h 5955635"/>
              <a:gd name="connsiteX2752" fmla="*/ 1026946 w 6187971"/>
              <a:gd name="connsiteY2752" fmla="*/ 2033805 h 5955635"/>
              <a:gd name="connsiteX2753" fmla="*/ 1025021 w 6187971"/>
              <a:gd name="connsiteY2753" fmla="*/ 2024797 h 5955635"/>
              <a:gd name="connsiteX2754" fmla="*/ 1027600 w 6187971"/>
              <a:gd name="connsiteY2754" fmla="*/ 2014827 h 5955635"/>
              <a:gd name="connsiteX2755" fmla="*/ 1032104 w 6187971"/>
              <a:gd name="connsiteY2755" fmla="*/ 2013865 h 5955635"/>
              <a:gd name="connsiteX2756" fmla="*/ 1035647 w 6187971"/>
              <a:gd name="connsiteY2756" fmla="*/ 2008398 h 5955635"/>
              <a:gd name="connsiteX2757" fmla="*/ 1034684 w 6187971"/>
              <a:gd name="connsiteY2757" fmla="*/ 2003894 h 5955635"/>
              <a:gd name="connsiteX2758" fmla="*/ 1041767 w 6187971"/>
              <a:gd name="connsiteY2758" fmla="*/ 1992962 h 5955635"/>
              <a:gd name="connsiteX2759" fmla="*/ 1045309 w 6187971"/>
              <a:gd name="connsiteY2759" fmla="*/ 1987495 h 5955635"/>
              <a:gd name="connsiteX2760" fmla="*/ 1046272 w 6187971"/>
              <a:gd name="connsiteY2760" fmla="*/ 1991999 h 5955635"/>
              <a:gd name="connsiteX2761" fmla="*/ 1049813 w 6187971"/>
              <a:gd name="connsiteY2761" fmla="*/ 1986533 h 5955635"/>
              <a:gd name="connsiteX2762" fmla="*/ 1052393 w 6187971"/>
              <a:gd name="connsiteY2762" fmla="*/ 1976563 h 5955635"/>
              <a:gd name="connsiteX2763" fmla="*/ 1063980 w 6187971"/>
              <a:gd name="connsiteY2763" fmla="*/ 1964667 h 5955635"/>
              <a:gd name="connsiteX2764" fmla="*/ 1070409 w 6187971"/>
              <a:gd name="connsiteY2764" fmla="*/ 1972714 h 5955635"/>
              <a:gd name="connsiteX2765" fmla="*/ 1080072 w 6187971"/>
              <a:gd name="connsiteY2765" fmla="*/ 1951811 h 5955635"/>
              <a:gd name="connsiteX2766" fmla="*/ 1084576 w 6187971"/>
              <a:gd name="connsiteY2766" fmla="*/ 1950848 h 5955635"/>
              <a:gd name="connsiteX2767" fmla="*/ 1085539 w 6187971"/>
              <a:gd name="connsiteY2767" fmla="*/ 1955353 h 5955635"/>
              <a:gd name="connsiteX2768" fmla="*/ 1081997 w 6187971"/>
              <a:gd name="connsiteY2768" fmla="*/ 1960818 h 5955635"/>
              <a:gd name="connsiteX2769" fmla="*/ 1082959 w 6187971"/>
              <a:gd name="connsiteY2769" fmla="*/ 1965323 h 5955635"/>
              <a:gd name="connsiteX2770" fmla="*/ 1087463 w 6187971"/>
              <a:gd name="connsiteY2770" fmla="*/ 1964361 h 5955635"/>
              <a:gd name="connsiteX2771" fmla="*/ 1086501 w 6187971"/>
              <a:gd name="connsiteY2771" fmla="*/ 1959856 h 5955635"/>
              <a:gd name="connsiteX2772" fmla="*/ 1090043 w 6187971"/>
              <a:gd name="connsiteY2772" fmla="*/ 1954390 h 5955635"/>
              <a:gd name="connsiteX2773" fmla="*/ 1088118 w 6187971"/>
              <a:gd name="connsiteY2773" fmla="*/ 1945382 h 5955635"/>
              <a:gd name="connsiteX2774" fmla="*/ 1083614 w 6187971"/>
              <a:gd name="connsiteY2774" fmla="*/ 1946344 h 5955635"/>
              <a:gd name="connsiteX2775" fmla="*/ 1094895 w 6187971"/>
              <a:gd name="connsiteY2775" fmla="*/ 1910966 h 5955635"/>
              <a:gd name="connsiteX2776" fmla="*/ 1082345 w 6187971"/>
              <a:gd name="connsiteY2776" fmla="*/ 1918358 h 5955635"/>
              <a:gd name="connsiteX2777" fmla="*/ 1092970 w 6187971"/>
              <a:gd name="connsiteY2777" fmla="*/ 1901959 h 5955635"/>
              <a:gd name="connsiteX2778" fmla="*/ 1103595 w 6187971"/>
              <a:gd name="connsiteY2778" fmla="*/ 1885560 h 5955635"/>
              <a:gd name="connsiteX2779" fmla="*/ 1110679 w 6187971"/>
              <a:gd name="connsiteY2779" fmla="*/ 1874628 h 5955635"/>
              <a:gd name="connsiteX2780" fmla="*/ 1112603 w 6187971"/>
              <a:gd name="connsiteY2780" fmla="*/ 1883635 h 5955635"/>
              <a:gd name="connsiteX2781" fmla="*/ 1122267 w 6187971"/>
              <a:gd name="connsiteY2781" fmla="*/ 1862732 h 5955635"/>
              <a:gd name="connsiteX2782" fmla="*/ 1126770 w 6187971"/>
              <a:gd name="connsiteY2782" fmla="*/ 1861770 h 5955635"/>
              <a:gd name="connsiteX2783" fmla="*/ 1128695 w 6187971"/>
              <a:gd name="connsiteY2783" fmla="*/ 1870778 h 5955635"/>
              <a:gd name="connsiteX2784" fmla="*/ 1133200 w 6187971"/>
              <a:gd name="connsiteY2784" fmla="*/ 1869816 h 5955635"/>
              <a:gd name="connsiteX2785" fmla="*/ 1132237 w 6187971"/>
              <a:gd name="connsiteY2785" fmla="*/ 1865312 h 5955635"/>
              <a:gd name="connsiteX2786" fmla="*/ 1136741 w 6187971"/>
              <a:gd name="connsiteY2786" fmla="*/ 1864349 h 5955635"/>
              <a:gd name="connsiteX2787" fmla="*/ 1134817 w 6187971"/>
              <a:gd name="connsiteY2787" fmla="*/ 1855341 h 5955635"/>
              <a:gd name="connsiteX2788" fmla="*/ 1138359 w 6187971"/>
              <a:gd name="connsiteY2788" fmla="*/ 1849875 h 5955635"/>
              <a:gd name="connsiteX2789" fmla="*/ 1141900 w 6187971"/>
              <a:gd name="connsiteY2789" fmla="*/ 1844409 h 5955635"/>
              <a:gd name="connsiteX2790" fmla="*/ 1146404 w 6187971"/>
              <a:gd name="connsiteY2790" fmla="*/ 1843446 h 5955635"/>
              <a:gd name="connsiteX2791" fmla="*/ 1147367 w 6187971"/>
              <a:gd name="connsiteY2791" fmla="*/ 1847951 h 5955635"/>
              <a:gd name="connsiteX2792" fmla="*/ 1144787 w 6187971"/>
              <a:gd name="connsiteY2792" fmla="*/ 1857921 h 5955635"/>
              <a:gd name="connsiteX2793" fmla="*/ 1142208 w 6187971"/>
              <a:gd name="connsiteY2793" fmla="*/ 1867891 h 5955635"/>
              <a:gd name="connsiteX2794" fmla="*/ 1150253 w 6187971"/>
              <a:gd name="connsiteY2794" fmla="*/ 1861463 h 5955635"/>
              <a:gd name="connsiteX2795" fmla="*/ 1155412 w 6187971"/>
              <a:gd name="connsiteY2795" fmla="*/ 1841522 h 5955635"/>
              <a:gd name="connsiteX2796" fmla="*/ 1154450 w 6187971"/>
              <a:gd name="connsiteY2796" fmla="*/ 1837018 h 5955635"/>
              <a:gd name="connsiteX2797" fmla="*/ 1156068 w 6187971"/>
              <a:gd name="connsiteY2797" fmla="*/ 1822543 h 5955635"/>
              <a:gd name="connsiteX2798" fmla="*/ 1160572 w 6187971"/>
              <a:gd name="connsiteY2798" fmla="*/ 1821581 h 5955635"/>
              <a:gd name="connsiteX2799" fmla="*/ 1199532 w 6187971"/>
              <a:gd name="connsiteY2799" fmla="*/ 1761452 h 5955635"/>
              <a:gd name="connsiteX2800" fmla="*/ 1203074 w 6187971"/>
              <a:gd name="connsiteY2800" fmla="*/ 1755985 h 5955635"/>
              <a:gd name="connsiteX2801" fmla="*/ 1206615 w 6187971"/>
              <a:gd name="connsiteY2801" fmla="*/ 1750519 h 5955635"/>
              <a:gd name="connsiteX2802" fmla="*/ 1213699 w 6187971"/>
              <a:gd name="connsiteY2802" fmla="*/ 1739586 h 5955635"/>
              <a:gd name="connsiteX2803" fmla="*/ 1217240 w 6187971"/>
              <a:gd name="connsiteY2803" fmla="*/ 1734120 h 5955635"/>
              <a:gd name="connsiteX2804" fmla="*/ 1227866 w 6187971"/>
              <a:gd name="connsiteY2804" fmla="*/ 1717721 h 5955635"/>
              <a:gd name="connsiteX2805" fmla="*/ 1234950 w 6187971"/>
              <a:gd name="connsiteY2805" fmla="*/ 1706789 h 5955635"/>
              <a:gd name="connsiteX2806" fmla="*/ 1239454 w 6187971"/>
              <a:gd name="connsiteY2806" fmla="*/ 1705826 h 5955635"/>
              <a:gd name="connsiteX2807" fmla="*/ 1268751 w 6187971"/>
              <a:gd name="connsiteY2807" fmla="*/ 1666599 h 5955635"/>
              <a:gd name="connsiteX2808" fmla="*/ 1280989 w 6187971"/>
              <a:gd name="connsiteY2808" fmla="*/ 1643969 h 5955635"/>
              <a:gd name="connsiteX2809" fmla="*/ 1294822 w 6187971"/>
              <a:gd name="connsiteY2809" fmla="*/ 1614580 h 5955635"/>
              <a:gd name="connsiteX2810" fmla="*/ 1295376 w 6187971"/>
              <a:gd name="connsiteY2810" fmla="*/ 1620968 h 5955635"/>
              <a:gd name="connsiteX2811" fmla="*/ 1280397 w 6187971"/>
              <a:gd name="connsiteY2811" fmla="*/ 1651544 h 5955635"/>
              <a:gd name="connsiteX2812" fmla="*/ 1150037 w 6187971"/>
              <a:gd name="connsiteY2812" fmla="*/ 1865158 h 5955635"/>
              <a:gd name="connsiteX2813" fmla="*/ 1157500 w 6187971"/>
              <a:gd name="connsiteY2813" fmla="*/ 1890938 h 5955635"/>
              <a:gd name="connsiteX2814" fmla="*/ 1155212 w 6187971"/>
              <a:gd name="connsiteY2814" fmla="*/ 1916847 h 5955635"/>
              <a:gd name="connsiteX2815" fmla="*/ 966688 w 6187971"/>
              <a:gd name="connsiteY2815" fmla="*/ 2444019 h 5955635"/>
              <a:gd name="connsiteX2816" fmla="*/ 940585 w 6187971"/>
              <a:gd name="connsiteY2816" fmla="*/ 3173091 h 5955635"/>
              <a:gd name="connsiteX2817" fmla="*/ 947522 w 6187971"/>
              <a:gd name="connsiteY2817" fmla="*/ 3187253 h 5955635"/>
              <a:gd name="connsiteX2818" fmla="*/ 961347 w 6187971"/>
              <a:gd name="connsiteY2818" fmla="*/ 2867525 h 5955635"/>
              <a:gd name="connsiteX2819" fmla="*/ 983906 w 6187971"/>
              <a:gd name="connsiteY2819" fmla="*/ 3101263 h 5955635"/>
              <a:gd name="connsiteX2820" fmla="*/ 992151 w 6187971"/>
              <a:gd name="connsiteY2820" fmla="*/ 3158164 h 5955635"/>
              <a:gd name="connsiteX2821" fmla="*/ 1014015 w 6187971"/>
              <a:gd name="connsiteY2821" fmla="*/ 3223887 h 5955635"/>
              <a:gd name="connsiteX2822" fmla="*/ 1162759 w 6187971"/>
              <a:gd name="connsiteY2822" fmla="*/ 3727888 h 5955635"/>
              <a:gd name="connsiteX2823" fmla="*/ 1178341 w 6187971"/>
              <a:gd name="connsiteY2823" fmla="*/ 3800819 h 5955635"/>
              <a:gd name="connsiteX2824" fmla="*/ 1193412 w 6187971"/>
              <a:gd name="connsiteY2824" fmla="*/ 3834752 h 5955635"/>
              <a:gd name="connsiteX2825" fmla="*/ 1287744 w 6187971"/>
              <a:gd name="connsiteY2825" fmla="*/ 3992539 h 5955635"/>
              <a:gd name="connsiteX2826" fmla="*/ 1330979 w 6187971"/>
              <a:gd name="connsiteY2826" fmla="*/ 4057607 h 5955635"/>
              <a:gd name="connsiteX2827" fmla="*/ 1343653 w 6187971"/>
              <a:gd name="connsiteY2827" fmla="*/ 4080319 h 5955635"/>
              <a:gd name="connsiteX2828" fmla="*/ 1369002 w 6187971"/>
              <a:gd name="connsiteY2828" fmla="*/ 4125744 h 5955635"/>
              <a:gd name="connsiteX2829" fmla="*/ 1538651 w 6187971"/>
              <a:gd name="connsiteY2829" fmla="*/ 4306548 h 5955635"/>
              <a:gd name="connsiteX2830" fmla="*/ 2686262 w 6187971"/>
              <a:gd name="connsiteY2830" fmla="*/ 4927608 h 5955635"/>
              <a:gd name="connsiteX2831" fmla="*/ 3070633 w 6187971"/>
              <a:gd name="connsiteY2831" fmla="*/ 4978456 h 5955635"/>
              <a:gd name="connsiteX2832" fmla="*/ 3564597 w 6187971"/>
              <a:gd name="connsiteY2832" fmla="*/ 4919852 h 5955635"/>
              <a:gd name="connsiteX2833" fmla="*/ 3668800 w 6187971"/>
              <a:gd name="connsiteY2833" fmla="*/ 4885857 h 5955635"/>
              <a:gd name="connsiteX2834" fmla="*/ 3697923 w 6187971"/>
              <a:gd name="connsiteY2834" fmla="*/ 4875725 h 5955635"/>
              <a:gd name="connsiteX2835" fmla="*/ 3859302 w 6187971"/>
              <a:gd name="connsiteY2835" fmla="*/ 4825603 h 5955635"/>
              <a:gd name="connsiteX2836" fmla="*/ 4218717 w 6187971"/>
              <a:gd name="connsiteY2836" fmla="*/ 4631492 h 5955635"/>
              <a:gd name="connsiteX2837" fmla="*/ 5136420 w 6187971"/>
              <a:gd name="connsiteY2837" fmla="*/ 3187886 h 5955635"/>
              <a:gd name="connsiteX2838" fmla="*/ 5095093 w 6187971"/>
              <a:gd name="connsiteY2838" fmla="*/ 2637473 h 5955635"/>
              <a:gd name="connsiteX2839" fmla="*/ 4552027 w 6187971"/>
              <a:gd name="connsiteY2839" fmla="*/ 1550927 h 5955635"/>
              <a:gd name="connsiteX2840" fmla="*/ 4206285 w 6187971"/>
              <a:gd name="connsiteY2840" fmla="*/ 1241535 h 5955635"/>
              <a:gd name="connsiteX2841" fmla="*/ 4017916 w 6187971"/>
              <a:gd name="connsiteY2841" fmla="*/ 1092106 h 5955635"/>
              <a:gd name="connsiteX2842" fmla="*/ 3766634 w 6187971"/>
              <a:gd name="connsiteY2842" fmla="*/ 950252 h 5955635"/>
              <a:gd name="connsiteX2843" fmla="*/ 2533034 w 6187971"/>
              <a:gd name="connsiteY2843" fmla="*/ 924406 h 5955635"/>
              <a:gd name="connsiteX2844" fmla="*/ 2362177 w 6187971"/>
              <a:gd name="connsiteY2844" fmla="*/ 966775 h 5955635"/>
              <a:gd name="connsiteX2845" fmla="*/ 2692688 w 6187971"/>
              <a:gd name="connsiteY2845" fmla="*/ 857055 h 5955635"/>
              <a:gd name="connsiteX2846" fmla="*/ 2526787 w 6187971"/>
              <a:gd name="connsiteY2846" fmla="*/ 876855 h 5955635"/>
              <a:gd name="connsiteX2847" fmla="*/ 2357128 w 6187971"/>
              <a:gd name="connsiteY2847" fmla="*/ 924834 h 5955635"/>
              <a:gd name="connsiteX2848" fmla="*/ 2195476 w 6187971"/>
              <a:gd name="connsiteY2848" fmla="*/ 982835 h 5955635"/>
              <a:gd name="connsiteX2849" fmla="*/ 2038892 w 6187971"/>
              <a:gd name="connsiteY2849" fmla="*/ 1055397 h 5955635"/>
              <a:gd name="connsiteX2850" fmla="*/ 2051328 w 6187971"/>
              <a:gd name="connsiteY2850" fmla="*/ 1031230 h 5955635"/>
              <a:gd name="connsiteX2851" fmla="*/ 2044919 w 6187971"/>
              <a:gd name="connsiteY2851" fmla="*/ 1028689 h 5955635"/>
              <a:gd name="connsiteX2852" fmla="*/ 1942714 w 6187971"/>
              <a:gd name="connsiteY2852" fmla="*/ 1072034 h 5955635"/>
              <a:gd name="connsiteX2853" fmla="*/ 1659433 w 6187971"/>
              <a:gd name="connsiteY2853" fmla="*/ 1265523 h 5955635"/>
              <a:gd name="connsiteX2854" fmla="*/ 1591162 w 6187971"/>
              <a:gd name="connsiteY2854" fmla="*/ 1293796 h 5955635"/>
              <a:gd name="connsiteX2855" fmla="*/ 1530900 w 6187971"/>
              <a:gd name="connsiteY2855" fmla="*/ 1332091 h 5955635"/>
              <a:gd name="connsiteX2856" fmla="*/ 1480860 w 6187971"/>
              <a:gd name="connsiteY2856" fmla="*/ 1363313 h 5955635"/>
              <a:gd name="connsiteX2857" fmla="*/ 1469896 w 6187971"/>
              <a:gd name="connsiteY2857" fmla="*/ 1366433 h 5955635"/>
              <a:gd name="connsiteX2858" fmla="*/ 1485917 w 6187971"/>
              <a:gd name="connsiteY2858" fmla="*/ 1349400 h 5955635"/>
              <a:gd name="connsiteX2859" fmla="*/ 1574268 w 6187971"/>
              <a:gd name="connsiteY2859" fmla="*/ 1266943 h 5955635"/>
              <a:gd name="connsiteX2860" fmla="*/ 1710085 w 6187971"/>
              <a:gd name="connsiteY2860" fmla="*/ 1153153 h 5955635"/>
              <a:gd name="connsiteX2861" fmla="*/ 1853295 w 6187971"/>
              <a:gd name="connsiteY2861" fmla="*/ 1051913 h 5955635"/>
              <a:gd name="connsiteX2862" fmla="*/ 1870349 w 6187971"/>
              <a:gd name="connsiteY2862" fmla="*/ 1043559 h 5955635"/>
              <a:gd name="connsiteX2863" fmla="*/ 2165426 w 6187971"/>
              <a:gd name="connsiteY2863" fmla="*/ 881616 h 5955635"/>
              <a:gd name="connsiteX2864" fmla="*/ 2321799 w 6187971"/>
              <a:gd name="connsiteY2864" fmla="*/ 819950 h 5955635"/>
              <a:gd name="connsiteX2865" fmla="*/ 2427971 w 6187971"/>
              <a:gd name="connsiteY2865" fmla="*/ 787847 h 5955635"/>
              <a:gd name="connsiteX2866" fmla="*/ 2380636 w 6187971"/>
              <a:gd name="connsiteY2866" fmla="*/ 803258 h 5955635"/>
              <a:gd name="connsiteX2867" fmla="*/ 2340778 w 6187971"/>
              <a:gd name="connsiteY2867" fmla="*/ 820604 h 5955635"/>
              <a:gd name="connsiteX2868" fmla="*/ 2336273 w 6187971"/>
              <a:gd name="connsiteY2868" fmla="*/ 821566 h 5955635"/>
              <a:gd name="connsiteX2869" fmla="*/ 2205963 w 6187971"/>
              <a:gd name="connsiteY2869" fmla="*/ 872955 h 5955635"/>
              <a:gd name="connsiteX2870" fmla="*/ 2201459 w 6187971"/>
              <a:gd name="connsiteY2870" fmla="*/ 873917 h 5955635"/>
              <a:gd name="connsiteX2871" fmla="*/ 2202421 w 6187971"/>
              <a:gd name="connsiteY2871" fmla="*/ 878421 h 5955635"/>
              <a:gd name="connsiteX2872" fmla="*/ 2211429 w 6187971"/>
              <a:gd name="connsiteY2872" fmla="*/ 876496 h 5955635"/>
              <a:gd name="connsiteX2873" fmla="*/ 2337236 w 6187971"/>
              <a:gd name="connsiteY2873" fmla="*/ 826071 h 5955635"/>
              <a:gd name="connsiteX2874" fmla="*/ 2342703 w 6187971"/>
              <a:gd name="connsiteY2874" fmla="*/ 829613 h 5955635"/>
              <a:gd name="connsiteX2875" fmla="*/ 2347207 w 6187971"/>
              <a:gd name="connsiteY2875" fmla="*/ 828650 h 5955635"/>
              <a:gd name="connsiteX2876" fmla="*/ 2346245 w 6187971"/>
              <a:gd name="connsiteY2876" fmla="*/ 824146 h 5955635"/>
              <a:gd name="connsiteX2877" fmla="*/ 2437943 w 6187971"/>
              <a:gd name="connsiteY2877" fmla="*/ 790426 h 5955635"/>
              <a:gd name="connsiteX2878" fmla="*/ 2455960 w 6187971"/>
              <a:gd name="connsiteY2878" fmla="*/ 786577 h 5955635"/>
              <a:gd name="connsiteX2879" fmla="*/ 2464967 w 6187971"/>
              <a:gd name="connsiteY2879" fmla="*/ 784653 h 5955635"/>
              <a:gd name="connsiteX2880" fmla="*/ 2464313 w 6187971"/>
              <a:gd name="connsiteY2880" fmla="*/ 803631 h 5955635"/>
              <a:gd name="connsiteX2881" fmla="*/ 2450800 w 6187971"/>
              <a:gd name="connsiteY2881" fmla="*/ 806518 h 5955635"/>
              <a:gd name="connsiteX2882" fmla="*/ 2420234 w 6187971"/>
              <a:gd name="connsiteY2882" fmla="*/ 817758 h 5955635"/>
              <a:gd name="connsiteX2883" fmla="*/ 2415730 w 6187971"/>
              <a:gd name="connsiteY2883" fmla="*/ 818720 h 5955635"/>
              <a:gd name="connsiteX2884" fmla="*/ 2403180 w 6187971"/>
              <a:gd name="connsiteY2884" fmla="*/ 826111 h 5955635"/>
              <a:gd name="connsiteX2885" fmla="*/ 2398676 w 6187971"/>
              <a:gd name="connsiteY2885" fmla="*/ 827073 h 5955635"/>
              <a:gd name="connsiteX2886" fmla="*/ 2404142 w 6187971"/>
              <a:gd name="connsiteY2886" fmla="*/ 830615 h 5955635"/>
              <a:gd name="connsiteX2887" fmla="*/ 2416693 w 6187971"/>
              <a:gd name="connsiteY2887" fmla="*/ 823224 h 5955635"/>
              <a:gd name="connsiteX2888" fmla="*/ 2421196 w 6187971"/>
              <a:gd name="connsiteY2888" fmla="*/ 822262 h 5955635"/>
              <a:gd name="connsiteX2889" fmla="*/ 2417655 w 6187971"/>
              <a:gd name="connsiteY2889" fmla="*/ 827728 h 5955635"/>
              <a:gd name="connsiteX2890" fmla="*/ 2422158 w 6187971"/>
              <a:gd name="connsiteY2890" fmla="*/ 826766 h 5955635"/>
              <a:gd name="connsiteX2891" fmla="*/ 2431167 w 6187971"/>
              <a:gd name="connsiteY2891" fmla="*/ 824841 h 5955635"/>
              <a:gd name="connsiteX2892" fmla="*/ 2430205 w 6187971"/>
              <a:gd name="connsiteY2892" fmla="*/ 820337 h 5955635"/>
              <a:gd name="connsiteX2893" fmla="*/ 2447259 w 6187971"/>
              <a:gd name="connsiteY2893" fmla="*/ 811984 h 5955635"/>
              <a:gd name="connsiteX2894" fmla="*/ 2469779 w 6187971"/>
              <a:gd name="connsiteY2894" fmla="*/ 807172 h 5955635"/>
              <a:gd name="connsiteX2895" fmla="*/ 2492299 w 6187971"/>
              <a:gd name="connsiteY2895" fmla="*/ 802361 h 5955635"/>
              <a:gd name="connsiteX2896" fmla="*/ 2500345 w 6187971"/>
              <a:gd name="connsiteY2896" fmla="*/ 795933 h 5955635"/>
              <a:gd name="connsiteX2897" fmla="*/ 2491337 w 6187971"/>
              <a:gd name="connsiteY2897" fmla="*/ 797858 h 5955635"/>
              <a:gd name="connsiteX2898" fmla="*/ 2473321 w 6187971"/>
              <a:gd name="connsiteY2898" fmla="*/ 801707 h 5955635"/>
              <a:gd name="connsiteX2899" fmla="*/ 2478479 w 6187971"/>
              <a:gd name="connsiteY2899" fmla="*/ 781766 h 5955635"/>
              <a:gd name="connsiteX2900" fmla="*/ 2477517 w 6187971"/>
              <a:gd name="connsiteY2900" fmla="*/ 777261 h 5955635"/>
              <a:gd name="connsiteX2901" fmla="*/ 2486526 w 6187971"/>
              <a:gd name="connsiteY2901" fmla="*/ 775337 h 5955635"/>
              <a:gd name="connsiteX2902" fmla="*/ 2490068 w 6187971"/>
              <a:gd name="connsiteY2902" fmla="*/ 769870 h 5955635"/>
              <a:gd name="connsiteX2903" fmla="*/ 2484601 w 6187971"/>
              <a:gd name="connsiteY2903" fmla="*/ 766329 h 5955635"/>
              <a:gd name="connsiteX2904" fmla="*/ 4722193 w 6187971"/>
              <a:gd name="connsiteY2904" fmla="*/ 185911 h 5955635"/>
              <a:gd name="connsiteX2905" fmla="*/ 4809446 w 6187971"/>
              <a:gd name="connsiteY2905" fmla="*/ 213679 h 5955635"/>
              <a:gd name="connsiteX2906" fmla="*/ 4801514 w 6187971"/>
              <a:gd name="connsiteY2906" fmla="*/ 217645 h 5955635"/>
              <a:gd name="connsiteX2907" fmla="*/ 4841174 w 6187971"/>
              <a:gd name="connsiteY2907" fmla="*/ 225579 h 5955635"/>
              <a:gd name="connsiteX2908" fmla="*/ 4849106 w 6187971"/>
              <a:gd name="connsiteY2908" fmla="*/ 241446 h 5955635"/>
              <a:gd name="connsiteX2909" fmla="*/ 4928427 w 6187971"/>
              <a:gd name="connsiteY2909" fmla="*/ 277147 h 5955635"/>
              <a:gd name="connsiteX2910" fmla="*/ 4948258 w 6187971"/>
              <a:gd name="connsiteY2910" fmla="*/ 285081 h 5955635"/>
              <a:gd name="connsiteX2911" fmla="*/ 5126730 w 6187971"/>
              <a:gd name="connsiteY2911" fmla="*/ 392184 h 5955635"/>
              <a:gd name="connsiteX2912" fmla="*/ 5178288 w 6187971"/>
              <a:gd name="connsiteY2912" fmla="*/ 427885 h 5955635"/>
              <a:gd name="connsiteX2913" fmla="*/ 5213983 w 6187971"/>
              <a:gd name="connsiteY2913" fmla="*/ 443752 h 5955635"/>
              <a:gd name="connsiteX2914" fmla="*/ 5213984 w 6187971"/>
              <a:gd name="connsiteY2914" fmla="*/ 455652 h 5955635"/>
              <a:gd name="connsiteX2915" fmla="*/ 5091035 w 6187971"/>
              <a:gd name="connsiteY2915" fmla="*/ 380284 h 5955635"/>
              <a:gd name="connsiteX2916" fmla="*/ 5083103 w 6187971"/>
              <a:gd name="connsiteY2916" fmla="*/ 380284 h 5955635"/>
              <a:gd name="connsiteX2917" fmla="*/ 5091036 w 6187971"/>
              <a:gd name="connsiteY2917" fmla="*/ 384250 h 5955635"/>
              <a:gd name="connsiteX2918" fmla="*/ 5098968 w 6187971"/>
              <a:gd name="connsiteY2918" fmla="*/ 392184 h 5955635"/>
              <a:gd name="connsiteX2919" fmla="*/ 5091035 w 6187971"/>
              <a:gd name="connsiteY2919" fmla="*/ 388217 h 5955635"/>
              <a:gd name="connsiteX2920" fmla="*/ 5087069 w 6187971"/>
              <a:gd name="connsiteY2920" fmla="*/ 388217 h 5955635"/>
              <a:gd name="connsiteX2921" fmla="*/ 5217950 w 6187971"/>
              <a:gd name="connsiteY2921" fmla="*/ 479453 h 5955635"/>
              <a:gd name="connsiteX2922" fmla="*/ 5348829 w 6187971"/>
              <a:gd name="connsiteY2922" fmla="*/ 574656 h 5955635"/>
              <a:gd name="connsiteX2923" fmla="*/ 5376592 w 6187971"/>
              <a:gd name="connsiteY2923" fmla="*/ 590523 h 5955635"/>
              <a:gd name="connsiteX2924" fmla="*/ 5471777 w 6187971"/>
              <a:gd name="connsiteY2924" fmla="*/ 669858 h 5955635"/>
              <a:gd name="connsiteX2925" fmla="*/ 5487641 w 6187971"/>
              <a:gd name="connsiteY2925" fmla="*/ 661925 h 5955635"/>
              <a:gd name="connsiteX2926" fmla="*/ 5511437 w 6187971"/>
              <a:gd name="connsiteY2926" fmla="*/ 673825 h 5955635"/>
              <a:gd name="connsiteX2927" fmla="*/ 5507471 w 6187971"/>
              <a:gd name="connsiteY2927" fmla="*/ 669858 h 5955635"/>
              <a:gd name="connsiteX2928" fmla="*/ 5507471 w 6187971"/>
              <a:gd name="connsiteY2928" fmla="*/ 665891 h 5955635"/>
              <a:gd name="connsiteX2929" fmla="*/ 5515404 w 6187971"/>
              <a:gd name="connsiteY2929" fmla="*/ 673825 h 5955635"/>
              <a:gd name="connsiteX2930" fmla="*/ 5519369 w 6187971"/>
              <a:gd name="connsiteY2930" fmla="*/ 677792 h 5955635"/>
              <a:gd name="connsiteX2931" fmla="*/ 5562995 w 6187971"/>
              <a:gd name="connsiteY2931" fmla="*/ 701593 h 5955635"/>
              <a:gd name="connsiteX2932" fmla="*/ 5626452 w 6187971"/>
              <a:gd name="connsiteY2932" fmla="*/ 765061 h 5955635"/>
              <a:gd name="connsiteX2933" fmla="*/ 5610589 w 6187971"/>
              <a:gd name="connsiteY2933" fmla="*/ 757128 h 5955635"/>
              <a:gd name="connsiteX2934" fmla="*/ 5614555 w 6187971"/>
              <a:gd name="connsiteY2934" fmla="*/ 761094 h 5955635"/>
              <a:gd name="connsiteX2935" fmla="*/ 5618521 w 6187971"/>
              <a:gd name="connsiteY2935" fmla="*/ 769028 h 5955635"/>
              <a:gd name="connsiteX2936" fmla="*/ 5614555 w 6187971"/>
              <a:gd name="connsiteY2936" fmla="*/ 765061 h 5955635"/>
              <a:gd name="connsiteX2937" fmla="*/ 5610588 w 6187971"/>
              <a:gd name="connsiteY2937" fmla="*/ 765061 h 5955635"/>
              <a:gd name="connsiteX2938" fmla="*/ 5630418 w 6187971"/>
              <a:gd name="connsiteY2938" fmla="*/ 792829 h 5955635"/>
              <a:gd name="connsiteX2939" fmla="*/ 5590759 w 6187971"/>
              <a:gd name="connsiteY2939" fmla="*/ 765061 h 5955635"/>
              <a:gd name="connsiteX2940" fmla="*/ 5594724 w 6187971"/>
              <a:gd name="connsiteY2940" fmla="*/ 769028 h 5955635"/>
              <a:gd name="connsiteX2941" fmla="*/ 5602657 w 6187971"/>
              <a:gd name="connsiteY2941" fmla="*/ 776961 h 5955635"/>
              <a:gd name="connsiteX2942" fmla="*/ 5598690 w 6187971"/>
              <a:gd name="connsiteY2942" fmla="*/ 776961 h 5955635"/>
              <a:gd name="connsiteX2943" fmla="*/ 5594725 w 6187971"/>
              <a:gd name="connsiteY2943" fmla="*/ 772995 h 5955635"/>
              <a:gd name="connsiteX2944" fmla="*/ 5614555 w 6187971"/>
              <a:gd name="connsiteY2944" fmla="*/ 796795 h 5955635"/>
              <a:gd name="connsiteX2945" fmla="*/ 5729570 w 6187971"/>
              <a:gd name="connsiteY2945" fmla="*/ 907865 h 5955635"/>
              <a:gd name="connsiteX2946" fmla="*/ 5757333 w 6187971"/>
              <a:gd name="connsiteY2946" fmla="*/ 943566 h 5955635"/>
              <a:gd name="connsiteX2947" fmla="*/ 5856484 w 6187971"/>
              <a:gd name="connsiteY2947" fmla="*/ 1058602 h 5955635"/>
              <a:gd name="connsiteX2948" fmla="*/ 5908043 w 6187971"/>
              <a:gd name="connsiteY2948" fmla="*/ 1133972 h 5955635"/>
              <a:gd name="connsiteX2949" fmla="*/ 5908042 w 6187971"/>
              <a:gd name="connsiteY2949" fmla="*/ 1137938 h 5955635"/>
              <a:gd name="connsiteX2950" fmla="*/ 5912009 w 6187971"/>
              <a:gd name="connsiteY2950" fmla="*/ 1141905 h 5955635"/>
              <a:gd name="connsiteX2951" fmla="*/ 5915975 w 6187971"/>
              <a:gd name="connsiteY2951" fmla="*/ 1149838 h 5955635"/>
              <a:gd name="connsiteX2952" fmla="*/ 5912008 w 6187971"/>
              <a:gd name="connsiteY2952" fmla="*/ 1145872 h 5955635"/>
              <a:gd name="connsiteX2953" fmla="*/ 5908042 w 6187971"/>
              <a:gd name="connsiteY2953" fmla="*/ 1141905 h 5955635"/>
              <a:gd name="connsiteX2954" fmla="*/ 5935805 w 6187971"/>
              <a:gd name="connsiteY2954" fmla="*/ 1185539 h 5955635"/>
              <a:gd name="connsiteX2955" fmla="*/ 5931839 w 6187971"/>
              <a:gd name="connsiteY2955" fmla="*/ 1205373 h 5955635"/>
              <a:gd name="connsiteX2956" fmla="*/ 6054787 w 6187971"/>
              <a:gd name="connsiteY2956" fmla="*/ 1391812 h 5955635"/>
              <a:gd name="connsiteX2957" fmla="*/ 6110311 w 6187971"/>
              <a:gd name="connsiteY2957" fmla="*/ 1530649 h 5955635"/>
              <a:gd name="connsiteX2958" fmla="*/ 6118243 w 6187971"/>
              <a:gd name="connsiteY2958" fmla="*/ 1550483 h 5955635"/>
              <a:gd name="connsiteX2959" fmla="*/ 6157904 w 6187971"/>
              <a:gd name="connsiteY2959" fmla="*/ 1633786 h 5955635"/>
              <a:gd name="connsiteX2960" fmla="*/ 6177734 w 6187971"/>
              <a:gd name="connsiteY2960" fmla="*/ 1709154 h 5955635"/>
              <a:gd name="connsiteX2961" fmla="*/ 6153938 w 6187971"/>
              <a:gd name="connsiteY2961" fmla="*/ 1669486 h 5955635"/>
              <a:gd name="connsiteX2962" fmla="*/ 6134108 w 6187971"/>
              <a:gd name="connsiteY2962" fmla="*/ 1621885 h 5955635"/>
              <a:gd name="connsiteX2963" fmla="*/ 6130142 w 6187971"/>
              <a:gd name="connsiteY2963" fmla="*/ 1590151 h 5955635"/>
              <a:gd name="connsiteX2964" fmla="*/ 6090481 w 6187971"/>
              <a:gd name="connsiteY2964" fmla="*/ 1514782 h 5955635"/>
              <a:gd name="connsiteX2965" fmla="*/ 6082549 w 6187971"/>
              <a:gd name="connsiteY2965" fmla="*/ 1487014 h 5955635"/>
              <a:gd name="connsiteX2966" fmla="*/ 6074617 w 6187971"/>
              <a:gd name="connsiteY2966" fmla="*/ 1487014 h 5955635"/>
              <a:gd name="connsiteX2967" fmla="*/ 6019092 w 6187971"/>
              <a:gd name="connsiteY2967" fmla="*/ 1383878 h 5955635"/>
              <a:gd name="connsiteX2968" fmla="*/ 5959602 w 6187971"/>
              <a:gd name="connsiteY2968" fmla="*/ 1272808 h 5955635"/>
              <a:gd name="connsiteX2969" fmla="*/ 5963568 w 6187971"/>
              <a:gd name="connsiteY2969" fmla="*/ 1264875 h 5955635"/>
              <a:gd name="connsiteX2970" fmla="*/ 5900111 w 6187971"/>
              <a:gd name="connsiteY2970" fmla="*/ 1181572 h 5955635"/>
              <a:gd name="connsiteX2971" fmla="*/ 5868382 w 6187971"/>
              <a:gd name="connsiteY2971" fmla="*/ 1130005 h 5955635"/>
              <a:gd name="connsiteX2972" fmla="*/ 5864416 w 6187971"/>
              <a:gd name="connsiteY2972" fmla="*/ 1133972 h 5955635"/>
              <a:gd name="connsiteX2973" fmla="*/ 5828722 w 6187971"/>
              <a:gd name="connsiteY2973" fmla="*/ 1086370 h 5955635"/>
              <a:gd name="connsiteX2974" fmla="*/ 5824755 w 6187971"/>
              <a:gd name="connsiteY2974" fmla="*/ 1066536 h 5955635"/>
              <a:gd name="connsiteX2975" fmla="*/ 5860450 w 6187971"/>
              <a:gd name="connsiteY2975" fmla="*/ 1078437 h 5955635"/>
              <a:gd name="connsiteX2976" fmla="*/ 5789061 w 6187971"/>
              <a:gd name="connsiteY2976" fmla="*/ 995134 h 5955635"/>
              <a:gd name="connsiteX2977" fmla="*/ 5789061 w 6187971"/>
              <a:gd name="connsiteY2977" fmla="*/ 999101 h 5955635"/>
              <a:gd name="connsiteX2978" fmla="*/ 5793027 w 6187971"/>
              <a:gd name="connsiteY2978" fmla="*/ 1007034 h 5955635"/>
              <a:gd name="connsiteX2979" fmla="*/ 5785095 w 6187971"/>
              <a:gd name="connsiteY2979" fmla="*/ 999101 h 5955635"/>
              <a:gd name="connsiteX2980" fmla="*/ 5765264 w 6187971"/>
              <a:gd name="connsiteY2980" fmla="*/ 975300 h 5955635"/>
              <a:gd name="connsiteX2981" fmla="*/ 5757332 w 6187971"/>
              <a:gd name="connsiteY2981" fmla="*/ 971334 h 5955635"/>
              <a:gd name="connsiteX2982" fmla="*/ 5757333 w 6187971"/>
              <a:gd name="connsiteY2982" fmla="*/ 967367 h 5955635"/>
              <a:gd name="connsiteX2983" fmla="*/ 5757333 w 6187971"/>
              <a:gd name="connsiteY2983" fmla="*/ 963400 h 5955635"/>
              <a:gd name="connsiteX2984" fmla="*/ 5761298 w 6187971"/>
              <a:gd name="connsiteY2984" fmla="*/ 967367 h 5955635"/>
              <a:gd name="connsiteX2985" fmla="*/ 5749401 w 6187971"/>
              <a:gd name="connsiteY2985" fmla="*/ 967367 h 5955635"/>
              <a:gd name="connsiteX2986" fmla="*/ 5737502 w 6187971"/>
              <a:gd name="connsiteY2986" fmla="*/ 963400 h 5955635"/>
              <a:gd name="connsiteX2987" fmla="*/ 5741469 w 6187971"/>
              <a:gd name="connsiteY2987" fmla="*/ 983234 h 5955635"/>
              <a:gd name="connsiteX2988" fmla="*/ 5705773 w 6187971"/>
              <a:gd name="connsiteY2988" fmla="*/ 955466 h 5955635"/>
              <a:gd name="connsiteX2989" fmla="*/ 5674045 w 6187971"/>
              <a:gd name="connsiteY2989" fmla="*/ 919765 h 5955635"/>
              <a:gd name="connsiteX2990" fmla="*/ 5705774 w 6187971"/>
              <a:gd name="connsiteY2990" fmla="*/ 935633 h 5955635"/>
              <a:gd name="connsiteX2991" fmla="*/ 5697842 w 6187971"/>
              <a:gd name="connsiteY2991" fmla="*/ 915799 h 5955635"/>
              <a:gd name="connsiteX2992" fmla="*/ 5678012 w 6187971"/>
              <a:gd name="connsiteY2992" fmla="*/ 899931 h 5955635"/>
              <a:gd name="connsiteX2993" fmla="*/ 5523336 w 6187971"/>
              <a:gd name="connsiteY2993" fmla="*/ 749194 h 5955635"/>
              <a:gd name="connsiteX2994" fmla="*/ 5495573 w 6187971"/>
              <a:gd name="connsiteY2994" fmla="*/ 725393 h 5955635"/>
              <a:gd name="connsiteX2995" fmla="*/ 5455913 w 6187971"/>
              <a:gd name="connsiteY2995" fmla="*/ 689692 h 5955635"/>
              <a:gd name="connsiteX2996" fmla="*/ 5447981 w 6187971"/>
              <a:gd name="connsiteY2996" fmla="*/ 689692 h 5955635"/>
              <a:gd name="connsiteX2997" fmla="*/ 5376591 w 6187971"/>
              <a:gd name="connsiteY2997" fmla="*/ 634157 h 5955635"/>
              <a:gd name="connsiteX2998" fmla="*/ 5317100 w 6187971"/>
              <a:gd name="connsiteY2998" fmla="*/ 582589 h 5955635"/>
              <a:gd name="connsiteX2999" fmla="*/ 5313135 w 6187971"/>
              <a:gd name="connsiteY2999" fmla="*/ 598456 h 5955635"/>
              <a:gd name="connsiteX3000" fmla="*/ 5301237 w 6187971"/>
              <a:gd name="connsiteY3000" fmla="*/ 594489 h 5955635"/>
              <a:gd name="connsiteX3001" fmla="*/ 5249678 w 6187971"/>
              <a:gd name="connsiteY3001" fmla="*/ 554822 h 5955635"/>
              <a:gd name="connsiteX3002" fmla="*/ 5249677 w 6187971"/>
              <a:gd name="connsiteY3002" fmla="*/ 546888 h 5955635"/>
              <a:gd name="connsiteX3003" fmla="*/ 5273474 w 6187971"/>
              <a:gd name="connsiteY3003" fmla="*/ 554822 h 5955635"/>
              <a:gd name="connsiteX3004" fmla="*/ 5206051 w 6187971"/>
              <a:gd name="connsiteY3004" fmla="*/ 503254 h 5955635"/>
              <a:gd name="connsiteX3005" fmla="*/ 5142594 w 6187971"/>
              <a:gd name="connsiteY3005" fmla="*/ 455652 h 5955635"/>
              <a:gd name="connsiteX3006" fmla="*/ 5015681 w 6187971"/>
              <a:gd name="connsiteY3006" fmla="*/ 380283 h 5955635"/>
              <a:gd name="connsiteX3007" fmla="*/ 5007749 w 6187971"/>
              <a:gd name="connsiteY3007" fmla="*/ 392184 h 5955635"/>
              <a:gd name="connsiteX3008" fmla="*/ 4983952 w 6187971"/>
              <a:gd name="connsiteY3008" fmla="*/ 380284 h 5955635"/>
              <a:gd name="connsiteX3009" fmla="*/ 4991884 w 6187971"/>
              <a:gd name="connsiteY3009" fmla="*/ 364416 h 5955635"/>
              <a:gd name="connsiteX3010" fmla="*/ 4916529 w 6187971"/>
              <a:gd name="connsiteY3010" fmla="*/ 328715 h 5955635"/>
              <a:gd name="connsiteX3011" fmla="*/ 4674600 w 6187971"/>
              <a:gd name="connsiteY3011" fmla="*/ 213679 h 5955635"/>
              <a:gd name="connsiteX3012" fmla="*/ 4761853 w 6187971"/>
              <a:gd name="connsiteY3012" fmla="*/ 229546 h 5955635"/>
              <a:gd name="connsiteX3013" fmla="*/ 4900665 w 6187971"/>
              <a:gd name="connsiteY3013" fmla="*/ 289047 h 5955635"/>
              <a:gd name="connsiteX3014" fmla="*/ 4892733 w 6187971"/>
              <a:gd name="connsiteY3014" fmla="*/ 285081 h 5955635"/>
              <a:gd name="connsiteX3015" fmla="*/ 4904631 w 6187971"/>
              <a:gd name="connsiteY3015" fmla="*/ 285081 h 5955635"/>
              <a:gd name="connsiteX3016" fmla="*/ 4908597 w 6187971"/>
              <a:gd name="connsiteY3016" fmla="*/ 285081 h 5955635"/>
              <a:gd name="connsiteX3017" fmla="*/ 4785650 w 6187971"/>
              <a:gd name="connsiteY3017" fmla="*/ 217645 h 5955635"/>
              <a:gd name="connsiteX3018" fmla="*/ 4722193 w 6187971"/>
              <a:gd name="connsiteY3018" fmla="*/ 185911 h 5955635"/>
              <a:gd name="connsiteX3019" fmla="*/ 1947650 w 6187971"/>
              <a:gd name="connsiteY3019" fmla="*/ 777856 h 5955635"/>
              <a:gd name="connsiteX3020" fmla="*/ 1935362 w 6187971"/>
              <a:gd name="connsiteY3020" fmla="*/ 791245 h 5955635"/>
              <a:gd name="connsiteX3021" fmla="*/ 1909737 w 6187971"/>
              <a:gd name="connsiteY3021" fmla="*/ 809082 h 5955635"/>
              <a:gd name="connsiteX3022" fmla="*/ 1904271 w 6187971"/>
              <a:gd name="connsiteY3022" fmla="*/ 805540 h 5955635"/>
              <a:gd name="connsiteX3023" fmla="*/ 1846987 w 6187971"/>
              <a:gd name="connsiteY3023" fmla="*/ 846036 h 5955635"/>
              <a:gd name="connsiteX3024" fmla="*/ 1850529 w 6187971"/>
              <a:gd name="connsiteY3024" fmla="*/ 840570 h 5955635"/>
              <a:gd name="connsiteX3025" fmla="*/ 1787779 w 6187971"/>
              <a:gd name="connsiteY3025" fmla="*/ 877524 h 5955635"/>
              <a:gd name="connsiteX3026" fmla="*/ 1784238 w 6187971"/>
              <a:gd name="connsiteY3026" fmla="*/ 882991 h 5955635"/>
              <a:gd name="connsiteX3027" fmla="*/ 1797750 w 6187971"/>
              <a:gd name="connsiteY3027" fmla="*/ 880104 h 5955635"/>
              <a:gd name="connsiteX3028" fmla="*/ 1770316 w 6187971"/>
              <a:gd name="connsiteY3028" fmla="*/ 897739 h 5955635"/>
              <a:gd name="connsiteX3029" fmla="*/ 1753457 w 6187971"/>
              <a:gd name="connsiteY3029" fmla="*/ 912815 h 5955635"/>
              <a:gd name="connsiteX3030" fmla="*/ 1753020 w 6187971"/>
              <a:gd name="connsiteY3030" fmla="*/ 913030 h 5955635"/>
              <a:gd name="connsiteX3031" fmla="*/ 1753224 w 6187971"/>
              <a:gd name="connsiteY3031" fmla="*/ 903157 h 5955635"/>
              <a:gd name="connsiteX3032" fmla="*/ 1742083 w 6187971"/>
              <a:gd name="connsiteY3032" fmla="*/ 906126 h 5955635"/>
              <a:gd name="connsiteX3033" fmla="*/ 1743445 w 6187971"/>
              <a:gd name="connsiteY3033" fmla="*/ 915254 h 5955635"/>
              <a:gd name="connsiteX3034" fmla="*/ 1742879 w 6187971"/>
              <a:gd name="connsiteY3034" fmla="*/ 918021 h 5955635"/>
              <a:gd name="connsiteX3035" fmla="*/ 1735613 w 6187971"/>
              <a:gd name="connsiteY3035" fmla="*/ 921596 h 5955635"/>
              <a:gd name="connsiteX3036" fmla="*/ 1666447 w 6187971"/>
              <a:gd name="connsiteY3036" fmla="*/ 941384 h 5955635"/>
              <a:gd name="connsiteX3037" fmla="*/ 1730595 w 6187971"/>
              <a:gd name="connsiteY3037" fmla="*/ 884660 h 5955635"/>
              <a:gd name="connsiteX3038" fmla="*/ 1900144 w 6187971"/>
              <a:gd name="connsiteY3038" fmla="*/ 799552 h 5955635"/>
              <a:gd name="connsiteX3039" fmla="*/ 1932099 w 6187971"/>
              <a:gd name="connsiteY3039" fmla="*/ 782795 h 5955635"/>
              <a:gd name="connsiteX3040" fmla="*/ 2248188 w 6187971"/>
              <a:gd name="connsiteY3040" fmla="*/ 634910 h 5955635"/>
              <a:gd name="connsiteX3041" fmla="*/ 2249855 w 6187971"/>
              <a:gd name="connsiteY3041" fmla="*/ 637515 h 5955635"/>
              <a:gd name="connsiteX3042" fmla="*/ 2245351 w 6187971"/>
              <a:gd name="connsiteY3042" fmla="*/ 638477 h 5955635"/>
              <a:gd name="connsiteX3043" fmla="*/ 2237306 w 6187971"/>
              <a:gd name="connsiteY3043" fmla="*/ 644906 h 5955635"/>
              <a:gd name="connsiteX3044" fmla="*/ 2241810 w 6187971"/>
              <a:gd name="connsiteY3044" fmla="*/ 643944 h 5955635"/>
              <a:gd name="connsiteX3045" fmla="*/ 2246313 w 6187971"/>
              <a:gd name="connsiteY3045" fmla="*/ 642981 h 5955635"/>
              <a:gd name="connsiteX3046" fmla="*/ 2139485 w 6187971"/>
              <a:gd name="connsiteY3046" fmla="*/ 694062 h 5955635"/>
              <a:gd name="connsiteX3047" fmla="*/ 2105648 w 6187971"/>
              <a:gd name="connsiteY3047" fmla="*/ 704456 h 5955635"/>
              <a:gd name="connsiteX3048" fmla="*/ 2080196 w 6187971"/>
              <a:gd name="connsiteY3048" fmla="*/ 714942 h 5955635"/>
              <a:gd name="connsiteX3049" fmla="*/ 2084254 w 6187971"/>
              <a:gd name="connsiteY3049" fmla="*/ 709377 h 5955635"/>
              <a:gd name="connsiteX3050" fmla="*/ 2119532 w 6187971"/>
              <a:gd name="connsiteY3050" fmla="*/ 682286 h 5955635"/>
              <a:gd name="connsiteX3051" fmla="*/ 2411064 w 6187971"/>
              <a:gd name="connsiteY3051" fmla="*/ 586743 h 5955635"/>
              <a:gd name="connsiteX3052" fmla="*/ 2413620 w 6187971"/>
              <a:gd name="connsiteY3052" fmla="*/ 588398 h 5955635"/>
              <a:gd name="connsiteX3053" fmla="*/ 2392061 w 6187971"/>
              <a:gd name="connsiteY3053" fmla="*/ 597714 h 5955635"/>
              <a:gd name="connsiteX3054" fmla="*/ 2374045 w 6187971"/>
              <a:gd name="connsiteY3054" fmla="*/ 601563 h 5955635"/>
              <a:gd name="connsiteX3055" fmla="*/ 2338013 w 6187971"/>
              <a:gd name="connsiteY3055" fmla="*/ 609261 h 5955635"/>
              <a:gd name="connsiteX3056" fmla="*/ 2275917 w 6187971"/>
              <a:gd name="connsiteY3056" fmla="*/ 627238 h 5955635"/>
              <a:gd name="connsiteX3057" fmla="*/ 2276204 w 6187971"/>
              <a:gd name="connsiteY3057" fmla="*/ 626130 h 5955635"/>
              <a:gd name="connsiteX3058" fmla="*/ 2387086 w 6187971"/>
              <a:gd name="connsiteY3058" fmla="*/ 592524 h 5955635"/>
              <a:gd name="connsiteX3059" fmla="*/ 2522905 w 6187971"/>
              <a:gd name="connsiteY3059" fmla="*/ 559776 h 5955635"/>
              <a:gd name="connsiteX3060" fmla="*/ 2540871 w 6187971"/>
              <a:gd name="connsiteY3060" fmla="*/ 556503 h 5955635"/>
              <a:gd name="connsiteX3061" fmla="*/ 2502340 w 6187971"/>
              <a:gd name="connsiteY3061" fmla="*/ 564735 h 5955635"/>
              <a:gd name="connsiteX3062" fmla="*/ 2659387 w 6187971"/>
              <a:gd name="connsiteY3062" fmla="*/ 432280 h 5955635"/>
              <a:gd name="connsiteX3063" fmla="*/ 2798433 w 6187971"/>
              <a:gd name="connsiteY3063" fmla="*/ 411539 h 5955635"/>
              <a:gd name="connsiteX3064" fmla="*/ 2817780 w 6187971"/>
              <a:gd name="connsiteY3064" fmla="*/ 409701 h 5955635"/>
              <a:gd name="connsiteX3065" fmla="*/ 2950086 w 6187971"/>
              <a:gd name="connsiteY3065" fmla="*/ 405117 h 5955635"/>
              <a:gd name="connsiteX3066" fmla="*/ 2996187 w 6187971"/>
              <a:gd name="connsiteY3066" fmla="*/ 398934 h 5955635"/>
              <a:gd name="connsiteX3067" fmla="*/ 3005378 w 6187971"/>
              <a:gd name="connsiteY3067" fmla="*/ 391284 h 5955635"/>
              <a:gd name="connsiteX3068" fmla="*/ 3093771 w 6187971"/>
              <a:gd name="connsiteY3068" fmla="*/ 385395 h 5955635"/>
              <a:gd name="connsiteX3069" fmla="*/ 3939070 w 6187971"/>
              <a:gd name="connsiteY3069" fmla="*/ 497975 h 5955635"/>
              <a:gd name="connsiteX3070" fmla="*/ 3925558 w 6187971"/>
              <a:gd name="connsiteY3070" fmla="*/ 500862 h 5955635"/>
              <a:gd name="connsiteX3071" fmla="*/ 4005322 w 6187971"/>
              <a:gd name="connsiteY3071" fmla="*/ 521498 h 5955635"/>
              <a:gd name="connsiteX3072" fmla="*/ 4101485 w 6187971"/>
              <a:gd name="connsiteY3072" fmla="*/ 552759 h 5955635"/>
              <a:gd name="connsiteX3073" fmla="*/ 4157765 w 6187971"/>
              <a:gd name="connsiteY3073" fmla="*/ 573703 h 5955635"/>
              <a:gd name="connsiteX3074" fmla="*/ 4158727 w 6187971"/>
              <a:gd name="connsiteY3074" fmla="*/ 578207 h 5955635"/>
              <a:gd name="connsiteX3075" fmla="*/ 4163231 w 6187971"/>
              <a:gd name="connsiteY3075" fmla="*/ 577244 h 5955635"/>
              <a:gd name="connsiteX3076" fmla="*/ 4168698 w 6187971"/>
              <a:gd name="connsiteY3076" fmla="*/ 580786 h 5955635"/>
              <a:gd name="connsiteX3077" fmla="*/ 4178668 w 6187971"/>
              <a:gd name="connsiteY3077" fmla="*/ 583366 h 5955635"/>
              <a:gd name="connsiteX3078" fmla="*/ 4204075 w 6187971"/>
              <a:gd name="connsiteY3078" fmla="*/ 592066 h 5955635"/>
              <a:gd name="connsiteX3079" fmla="*/ 4286726 w 6187971"/>
              <a:gd name="connsiteY3079" fmla="*/ 626215 h 5955635"/>
              <a:gd name="connsiteX3080" fmla="*/ 4318562 w 6187971"/>
              <a:gd name="connsiteY3080" fmla="*/ 642961 h 5955635"/>
              <a:gd name="connsiteX3081" fmla="*/ 4392203 w 6187971"/>
              <a:gd name="connsiteY3081" fmla="*/ 679034 h 5955635"/>
              <a:gd name="connsiteX3082" fmla="*/ 4387699 w 6187971"/>
              <a:gd name="connsiteY3082" fmla="*/ 679996 h 5955635"/>
              <a:gd name="connsiteX3083" fmla="*/ 4403136 w 6187971"/>
              <a:gd name="connsiteY3083" fmla="*/ 686117 h 5955635"/>
              <a:gd name="connsiteX3084" fmla="*/ 5230091 w 6187971"/>
              <a:gd name="connsiteY3084" fmla="*/ 1338337 h 5955635"/>
              <a:gd name="connsiteX3085" fmla="*/ 5771121 w 6187971"/>
              <a:gd name="connsiteY3085" fmla="*/ 2437834 h 5955635"/>
              <a:gd name="connsiteX3086" fmla="*/ 5762112 w 6187971"/>
              <a:gd name="connsiteY3086" fmla="*/ 2439759 h 5955635"/>
              <a:gd name="connsiteX3087" fmla="*/ 5684663 w 6187971"/>
              <a:gd name="connsiteY3087" fmla="*/ 2319726 h 5955635"/>
              <a:gd name="connsiteX3088" fmla="*/ 5684007 w 6187971"/>
              <a:gd name="connsiteY3088" fmla="*/ 2338705 h 5955635"/>
              <a:gd name="connsiteX3089" fmla="*/ 5657678 w 6187971"/>
              <a:gd name="connsiteY3089" fmla="*/ 2259556 h 5955635"/>
              <a:gd name="connsiteX3090" fmla="*/ 5622648 w 6187971"/>
              <a:gd name="connsiteY3090" fmla="*/ 2205815 h 5955635"/>
              <a:gd name="connsiteX3091" fmla="*/ 5623262 w 6187971"/>
              <a:gd name="connsiteY3091" fmla="*/ 2252780 h 5955635"/>
              <a:gd name="connsiteX3092" fmla="*/ 5617796 w 6187971"/>
              <a:gd name="connsiteY3092" fmla="*/ 2249238 h 5955635"/>
              <a:gd name="connsiteX3093" fmla="*/ 5616834 w 6187971"/>
              <a:gd name="connsiteY3093" fmla="*/ 2244735 h 5955635"/>
              <a:gd name="connsiteX3094" fmla="*/ 5615871 w 6187971"/>
              <a:gd name="connsiteY3094" fmla="*/ 2240230 h 5955635"/>
              <a:gd name="connsiteX3095" fmla="*/ 5613947 w 6187971"/>
              <a:gd name="connsiteY3095" fmla="*/ 2231223 h 5955635"/>
              <a:gd name="connsiteX3096" fmla="*/ 5610406 w 6187971"/>
              <a:gd name="connsiteY3096" fmla="*/ 2236688 h 5955635"/>
              <a:gd name="connsiteX3097" fmla="*/ 5611368 w 6187971"/>
              <a:gd name="connsiteY3097" fmla="*/ 2241193 h 5955635"/>
              <a:gd name="connsiteX3098" fmla="*/ 5612330 w 6187971"/>
              <a:gd name="connsiteY3098" fmla="*/ 2245697 h 5955635"/>
              <a:gd name="connsiteX3099" fmla="*/ 5610713 w 6187971"/>
              <a:gd name="connsiteY3099" fmla="*/ 2260171 h 5955635"/>
              <a:gd name="connsiteX3100" fmla="*/ 5616179 w 6187971"/>
              <a:gd name="connsiteY3100" fmla="*/ 2263712 h 5955635"/>
              <a:gd name="connsiteX3101" fmla="*/ 5615217 w 6187971"/>
              <a:gd name="connsiteY3101" fmla="*/ 2259209 h 5955635"/>
              <a:gd name="connsiteX3102" fmla="*/ 5618758 w 6187971"/>
              <a:gd name="connsiteY3102" fmla="*/ 2253742 h 5955635"/>
              <a:gd name="connsiteX3103" fmla="*/ 5621645 w 6187971"/>
              <a:gd name="connsiteY3103" fmla="*/ 2267254 h 5955635"/>
              <a:gd name="connsiteX3104" fmla="*/ 5622607 w 6187971"/>
              <a:gd name="connsiteY3104" fmla="*/ 2271759 h 5955635"/>
              <a:gd name="connsiteX3105" fmla="*/ 5607785 w 6187971"/>
              <a:gd name="connsiteY3105" fmla="*/ 2312602 h 5955635"/>
              <a:gd name="connsiteX3106" fmla="*/ 5591734 w 6187971"/>
              <a:gd name="connsiteY3106" fmla="*/ 2259516 h 5955635"/>
              <a:gd name="connsiteX3107" fmla="*/ 5577568 w 6187971"/>
              <a:gd name="connsiteY3107" fmla="*/ 2281381 h 5955635"/>
              <a:gd name="connsiteX3108" fmla="*/ 5509432 w 6187971"/>
              <a:gd name="connsiteY3108" fmla="*/ 2182907 h 5955635"/>
              <a:gd name="connsiteX3109" fmla="*/ 5508469 w 6187971"/>
              <a:gd name="connsiteY3109" fmla="*/ 2178402 h 5955635"/>
              <a:gd name="connsiteX3110" fmla="*/ 5506545 w 6187971"/>
              <a:gd name="connsiteY3110" fmla="*/ 2169395 h 5955635"/>
              <a:gd name="connsiteX3111" fmla="*/ 5501079 w 6187971"/>
              <a:gd name="connsiteY3111" fmla="*/ 2165852 h 5955635"/>
              <a:gd name="connsiteX3112" fmla="*/ 5476981 w 6187971"/>
              <a:gd name="connsiteY3112" fmla="*/ 2119196 h 5955635"/>
              <a:gd name="connsiteX3113" fmla="*/ 5468629 w 6187971"/>
              <a:gd name="connsiteY3113" fmla="*/ 2102141 h 5955635"/>
              <a:gd name="connsiteX3114" fmla="*/ 5463162 w 6187971"/>
              <a:gd name="connsiteY3114" fmla="*/ 2098599 h 5955635"/>
              <a:gd name="connsiteX3115" fmla="*/ 5462200 w 6187971"/>
              <a:gd name="connsiteY3115" fmla="*/ 2094096 h 5955635"/>
              <a:gd name="connsiteX3116" fmla="*/ 5457696 w 6187971"/>
              <a:gd name="connsiteY3116" fmla="*/ 2095058 h 5955635"/>
              <a:gd name="connsiteX3117" fmla="*/ 5456733 w 6187971"/>
              <a:gd name="connsiteY3117" fmla="*/ 2090554 h 5955635"/>
              <a:gd name="connsiteX3118" fmla="*/ 5443876 w 6187971"/>
              <a:gd name="connsiteY3118" fmla="*/ 2074462 h 5955635"/>
              <a:gd name="connsiteX3119" fmla="*/ 5442259 w 6187971"/>
              <a:gd name="connsiteY3119" fmla="*/ 2088936 h 5955635"/>
              <a:gd name="connsiteX3120" fmla="*/ 5431327 w 6187971"/>
              <a:gd name="connsiteY3120" fmla="*/ 2081853 h 5955635"/>
              <a:gd name="connsiteX3121" fmla="*/ 5418162 w 6187971"/>
              <a:gd name="connsiteY3121" fmla="*/ 2042279 h 5955635"/>
              <a:gd name="connsiteX3122" fmla="*/ 5359035 w 6187971"/>
              <a:gd name="connsiteY3122" fmla="*/ 1941880 h 5955635"/>
              <a:gd name="connsiteX3123" fmla="*/ 5344253 w 6187971"/>
              <a:gd name="connsiteY3123" fmla="*/ 1916780 h 5955635"/>
              <a:gd name="connsiteX3124" fmla="*/ 5293479 w 6187971"/>
              <a:gd name="connsiteY3124" fmla="*/ 1833435 h 5955635"/>
              <a:gd name="connsiteX3125" fmla="*/ 5290593 w 6187971"/>
              <a:gd name="connsiteY3125" fmla="*/ 1819923 h 5955635"/>
              <a:gd name="connsiteX3126" fmla="*/ 5279659 w 6187971"/>
              <a:gd name="connsiteY3126" fmla="*/ 1812840 h 5955635"/>
              <a:gd name="connsiteX3127" fmla="*/ 5283202 w 6187971"/>
              <a:gd name="connsiteY3127" fmla="*/ 1807373 h 5955635"/>
              <a:gd name="connsiteX3128" fmla="*/ 5242706 w 6187971"/>
              <a:gd name="connsiteY3128" fmla="*/ 1750090 h 5955635"/>
              <a:gd name="connsiteX3129" fmla="*/ 5251713 w 6187971"/>
              <a:gd name="connsiteY3129" fmla="*/ 1748165 h 5955635"/>
              <a:gd name="connsiteX3130" fmla="*/ 5235314 w 6187971"/>
              <a:gd name="connsiteY3130" fmla="*/ 1737540 h 5955635"/>
              <a:gd name="connsiteX3131" fmla="*/ 5215066 w 6187971"/>
              <a:gd name="connsiteY3131" fmla="*/ 1708898 h 5955635"/>
              <a:gd name="connsiteX3132" fmla="*/ 5214104 w 6187971"/>
              <a:gd name="connsiteY3132" fmla="*/ 1704395 h 5955635"/>
              <a:gd name="connsiteX3133" fmla="*/ 5218608 w 6187971"/>
              <a:gd name="connsiteY3133" fmla="*/ 1703433 h 5955635"/>
              <a:gd name="connsiteX3134" fmla="*/ 5223112 w 6187971"/>
              <a:gd name="connsiteY3134" fmla="*/ 1702470 h 5955635"/>
              <a:gd name="connsiteX3135" fmla="*/ 5222150 w 6187971"/>
              <a:gd name="connsiteY3135" fmla="*/ 1697966 h 5955635"/>
              <a:gd name="connsiteX3136" fmla="*/ 5212834 w 6187971"/>
              <a:gd name="connsiteY3136" fmla="*/ 1676408 h 5955635"/>
              <a:gd name="connsiteX3137" fmla="*/ 5217338 w 6187971"/>
              <a:gd name="connsiteY3137" fmla="*/ 1675445 h 5955635"/>
              <a:gd name="connsiteX3138" fmla="*/ 5216376 w 6187971"/>
              <a:gd name="connsiteY3138" fmla="*/ 1670942 h 5955635"/>
              <a:gd name="connsiteX3139" fmla="*/ 5210910 w 6187971"/>
              <a:gd name="connsiteY3139" fmla="*/ 1667400 h 5955635"/>
              <a:gd name="connsiteX3140" fmla="*/ 5156595 w 6187971"/>
              <a:gd name="connsiteY3140" fmla="*/ 1589521 h 5955635"/>
              <a:gd name="connsiteX3141" fmla="*/ 5088767 w 6187971"/>
              <a:gd name="connsiteY3141" fmla="*/ 1514530 h 5955635"/>
              <a:gd name="connsiteX3142" fmla="*/ 5031871 w 6187971"/>
              <a:gd name="connsiteY3142" fmla="*/ 1446621 h 5955635"/>
              <a:gd name="connsiteX3143" fmla="*/ 4977555 w 6187971"/>
              <a:gd name="connsiteY3143" fmla="*/ 1368743 h 5955635"/>
              <a:gd name="connsiteX3144" fmla="*/ 4950224 w 6187971"/>
              <a:gd name="connsiteY3144" fmla="*/ 1351033 h 5955635"/>
              <a:gd name="connsiteX3145" fmla="*/ 4949261 w 6187971"/>
              <a:gd name="connsiteY3145" fmla="*/ 1346529 h 5955635"/>
              <a:gd name="connsiteX3146" fmla="*/ 4942833 w 6187971"/>
              <a:gd name="connsiteY3146" fmla="*/ 1338484 h 5955635"/>
              <a:gd name="connsiteX3147" fmla="*/ 4939291 w 6187971"/>
              <a:gd name="connsiteY3147" fmla="*/ 1343950 h 5955635"/>
              <a:gd name="connsiteX3148" fmla="*/ 4736115 w 6187971"/>
              <a:gd name="connsiteY3148" fmla="*/ 1142457 h 5955635"/>
              <a:gd name="connsiteX3149" fmla="*/ 4735152 w 6187971"/>
              <a:gd name="connsiteY3149" fmla="*/ 1137953 h 5955635"/>
              <a:gd name="connsiteX3150" fmla="*/ 4778882 w 6187971"/>
              <a:gd name="connsiteY3150" fmla="*/ 1166287 h 5955635"/>
              <a:gd name="connsiteX3151" fmla="*/ 4782731 w 6187971"/>
              <a:gd name="connsiteY3151" fmla="*/ 1184304 h 5955635"/>
              <a:gd name="connsiteX3152" fmla="*/ 4821959 w 6187971"/>
              <a:gd name="connsiteY3152" fmla="*/ 1213600 h 5955635"/>
              <a:gd name="connsiteX3153" fmla="*/ 4857643 w 6187971"/>
              <a:gd name="connsiteY3153" fmla="*/ 1248362 h 5955635"/>
              <a:gd name="connsiteX3154" fmla="*/ 4916156 w 6187971"/>
              <a:gd name="connsiteY3154" fmla="*/ 1301797 h 5955635"/>
              <a:gd name="connsiteX3155" fmla="*/ 4953765 w 6187971"/>
              <a:gd name="connsiteY3155" fmla="*/ 1345567 h 5955635"/>
              <a:gd name="connsiteX3156" fmla="*/ 5006812 w 6187971"/>
              <a:gd name="connsiteY3156" fmla="*/ 1395460 h 5955635"/>
              <a:gd name="connsiteX3157" fmla="*/ 5007774 w 6187971"/>
              <a:gd name="connsiteY3157" fmla="*/ 1399963 h 5955635"/>
              <a:gd name="connsiteX3158" fmla="*/ 5008736 w 6187971"/>
              <a:gd name="connsiteY3158" fmla="*/ 1404467 h 5955635"/>
              <a:gd name="connsiteX3159" fmla="*/ 5013240 w 6187971"/>
              <a:gd name="connsiteY3159" fmla="*/ 1403505 h 5955635"/>
              <a:gd name="connsiteX3160" fmla="*/ 5027059 w 6187971"/>
              <a:gd name="connsiteY3160" fmla="*/ 1424100 h 5955635"/>
              <a:gd name="connsiteX3161" fmla="*/ 5028022 w 6187971"/>
              <a:gd name="connsiteY3161" fmla="*/ 1428605 h 5955635"/>
              <a:gd name="connsiteX3162" fmla="*/ 5033488 w 6187971"/>
              <a:gd name="connsiteY3162" fmla="*/ 1432147 h 5955635"/>
              <a:gd name="connsiteX3163" fmla="*/ 5032526 w 6187971"/>
              <a:gd name="connsiteY3163" fmla="*/ 1427642 h 5955635"/>
              <a:gd name="connsiteX3164" fmla="*/ 5074640 w 6187971"/>
              <a:gd name="connsiteY3164" fmla="*/ 1470451 h 5955635"/>
              <a:gd name="connsiteX3165" fmla="*/ 5070135 w 6187971"/>
              <a:gd name="connsiteY3165" fmla="*/ 1471414 h 5955635"/>
              <a:gd name="connsiteX3166" fmla="*/ 5071097 w 6187971"/>
              <a:gd name="connsiteY3166" fmla="*/ 1475917 h 5955635"/>
              <a:gd name="connsiteX3167" fmla="*/ 5076564 w 6187971"/>
              <a:gd name="connsiteY3167" fmla="*/ 1479459 h 5955635"/>
              <a:gd name="connsiteX3168" fmla="*/ 5081068 w 6187971"/>
              <a:gd name="connsiteY3168" fmla="*/ 1478497 h 5955635"/>
              <a:gd name="connsiteX3169" fmla="*/ 5082031 w 6187971"/>
              <a:gd name="connsiteY3169" fmla="*/ 1483001 h 5955635"/>
              <a:gd name="connsiteX3170" fmla="*/ 5096812 w 6187971"/>
              <a:gd name="connsiteY3170" fmla="*/ 1508101 h 5955635"/>
              <a:gd name="connsiteX3171" fmla="*/ 5106783 w 6187971"/>
              <a:gd name="connsiteY3171" fmla="*/ 1510680 h 5955635"/>
              <a:gd name="connsiteX3172" fmla="*/ 5113211 w 6187971"/>
              <a:gd name="connsiteY3172" fmla="*/ 1518726 h 5955635"/>
              <a:gd name="connsiteX3173" fmla="*/ 5109670 w 6187971"/>
              <a:gd name="connsiteY3173" fmla="*/ 1524192 h 5955635"/>
              <a:gd name="connsiteX3174" fmla="*/ 5115135 w 6187971"/>
              <a:gd name="connsiteY3174" fmla="*/ 1527734 h 5955635"/>
              <a:gd name="connsiteX3175" fmla="*/ 5120602 w 6187971"/>
              <a:gd name="connsiteY3175" fmla="*/ 1531276 h 5955635"/>
              <a:gd name="connsiteX3176" fmla="*/ 5151783 w 6187971"/>
              <a:gd name="connsiteY3176" fmla="*/ 1567000 h 5955635"/>
              <a:gd name="connsiteX3177" fmla="*/ 5143430 w 6187971"/>
              <a:gd name="connsiteY3177" fmla="*/ 1549947 h 5955635"/>
              <a:gd name="connsiteX3178" fmla="*/ 5126069 w 6187971"/>
              <a:gd name="connsiteY3178" fmla="*/ 1534818 h 5955635"/>
              <a:gd name="connsiteX3179" fmla="*/ 5125106 w 6187971"/>
              <a:gd name="connsiteY3179" fmla="*/ 1530313 h 5955635"/>
              <a:gd name="connsiteX3180" fmla="*/ 5124144 w 6187971"/>
              <a:gd name="connsiteY3180" fmla="*/ 1525809 h 5955635"/>
              <a:gd name="connsiteX3181" fmla="*/ 5117715 w 6187971"/>
              <a:gd name="connsiteY3181" fmla="*/ 1517764 h 5955635"/>
              <a:gd name="connsiteX3182" fmla="*/ 5087496 w 6187971"/>
              <a:gd name="connsiteY3182" fmla="*/ 1486543 h 5955635"/>
              <a:gd name="connsiteX3183" fmla="*/ 5085572 w 6187971"/>
              <a:gd name="connsiteY3183" fmla="*/ 1477535 h 5955635"/>
              <a:gd name="connsiteX3184" fmla="*/ 5084609 w 6187971"/>
              <a:gd name="connsiteY3184" fmla="*/ 1473030 h 5955635"/>
              <a:gd name="connsiteX3185" fmla="*/ 5082685 w 6187971"/>
              <a:gd name="connsiteY3185" fmla="*/ 1464022 h 5955635"/>
              <a:gd name="connsiteX3186" fmla="*/ 5078182 w 6187971"/>
              <a:gd name="connsiteY3186" fmla="*/ 1464985 h 5955635"/>
              <a:gd name="connsiteX3187" fmla="*/ 5073677 w 6187971"/>
              <a:gd name="connsiteY3187" fmla="*/ 1465947 h 5955635"/>
              <a:gd name="connsiteX3188" fmla="*/ 5056316 w 6187971"/>
              <a:gd name="connsiteY3188" fmla="*/ 1450817 h 5955635"/>
              <a:gd name="connsiteX3189" fmla="*/ 5037030 w 6187971"/>
              <a:gd name="connsiteY3189" fmla="*/ 1426680 h 5955635"/>
              <a:gd name="connsiteX3190" fmla="*/ 5036068 w 6187971"/>
              <a:gd name="connsiteY3190" fmla="*/ 1422176 h 5955635"/>
              <a:gd name="connsiteX3191" fmla="*/ 5035106 w 6187971"/>
              <a:gd name="connsiteY3191" fmla="*/ 1417673 h 5955635"/>
              <a:gd name="connsiteX3192" fmla="*/ 5017744 w 6187971"/>
              <a:gd name="connsiteY3192" fmla="*/ 1402543 h 5955635"/>
              <a:gd name="connsiteX3193" fmla="*/ 5023210 w 6187971"/>
              <a:gd name="connsiteY3193" fmla="*/ 1406085 h 5955635"/>
              <a:gd name="connsiteX3194" fmla="*/ 5022248 w 6187971"/>
              <a:gd name="connsiteY3194" fmla="*/ 1401581 h 5955635"/>
              <a:gd name="connsiteX3195" fmla="*/ 5016781 w 6187971"/>
              <a:gd name="connsiteY3195" fmla="*/ 1398039 h 5955635"/>
              <a:gd name="connsiteX3196" fmla="*/ 5011316 w 6187971"/>
              <a:gd name="connsiteY3196" fmla="*/ 1394497 h 5955635"/>
              <a:gd name="connsiteX3197" fmla="*/ 5003925 w 6187971"/>
              <a:gd name="connsiteY3197" fmla="*/ 1381948 h 5955635"/>
              <a:gd name="connsiteX3198" fmla="*/ 4992992 w 6187971"/>
              <a:gd name="connsiteY3198" fmla="*/ 1374863 h 5955635"/>
              <a:gd name="connsiteX3199" fmla="*/ 5002962 w 6187971"/>
              <a:gd name="connsiteY3199" fmla="*/ 1377443 h 5955635"/>
              <a:gd name="connsiteX3200" fmla="*/ 4986564 w 6187971"/>
              <a:gd name="connsiteY3200" fmla="*/ 1366818 h 5955635"/>
              <a:gd name="connsiteX3201" fmla="*/ 4968240 w 6187971"/>
              <a:gd name="connsiteY3201" fmla="*/ 1347184 h 5955635"/>
              <a:gd name="connsiteX3202" fmla="*/ 4981752 w 6187971"/>
              <a:gd name="connsiteY3202" fmla="*/ 1344297 h 5955635"/>
              <a:gd name="connsiteX3203" fmla="*/ 4959887 w 6187971"/>
              <a:gd name="connsiteY3203" fmla="*/ 1330131 h 5955635"/>
              <a:gd name="connsiteX3204" fmla="*/ 4964391 w 6187971"/>
              <a:gd name="connsiteY3204" fmla="*/ 1329169 h 5955635"/>
              <a:gd name="connsiteX3205" fmla="*/ 4963429 w 6187971"/>
              <a:gd name="connsiteY3205" fmla="*/ 1324664 h 5955635"/>
              <a:gd name="connsiteX3206" fmla="*/ 4957962 w 6187971"/>
              <a:gd name="connsiteY3206" fmla="*/ 1321122 h 5955635"/>
              <a:gd name="connsiteX3207" fmla="*/ 4941563 w 6187971"/>
              <a:gd name="connsiteY3207" fmla="*/ 1310497 h 5955635"/>
              <a:gd name="connsiteX3208" fmla="*/ 4935134 w 6187971"/>
              <a:gd name="connsiteY3208" fmla="*/ 1302452 h 5955635"/>
              <a:gd name="connsiteX3209" fmla="*/ 4929668 w 6187971"/>
              <a:gd name="connsiteY3209" fmla="*/ 1298910 h 5955635"/>
              <a:gd name="connsiteX3210" fmla="*/ 4930630 w 6187971"/>
              <a:gd name="connsiteY3210" fmla="*/ 1303414 h 5955635"/>
              <a:gd name="connsiteX3211" fmla="*/ 4931592 w 6187971"/>
              <a:gd name="connsiteY3211" fmla="*/ 1307917 h 5955635"/>
              <a:gd name="connsiteX3212" fmla="*/ 4901375 w 6187971"/>
              <a:gd name="connsiteY3212" fmla="*/ 1276697 h 5955635"/>
              <a:gd name="connsiteX3213" fmla="*/ 4915849 w 6187971"/>
              <a:gd name="connsiteY3213" fmla="*/ 1278314 h 5955635"/>
              <a:gd name="connsiteX3214" fmla="*/ 4883050 w 6187971"/>
              <a:gd name="connsiteY3214" fmla="*/ 1257063 h 5955635"/>
              <a:gd name="connsiteX3215" fmla="*/ 4852832 w 6187971"/>
              <a:gd name="connsiteY3215" fmla="*/ 1225842 h 5955635"/>
              <a:gd name="connsiteX3216" fmla="*/ 4858299 w 6187971"/>
              <a:gd name="connsiteY3216" fmla="*/ 1229384 h 5955635"/>
              <a:gd name="connsiteX3217" fmla="*/ 4862802 w 6187971"/>
              <a:gd name="connsiteY3217" fmla="*/ 1228422 h 5955635"/>
              <a:gd name="connsiteX3218" fmla="*/ 4867307 w 6187971"/>
              <a:gd name="connsiteY3218" fmla="*/ 1227460 h 5955635"/>
              <a:gd name="connsiteX3219" fmla="*/ 4860878 w 6187971"/>
              <a:gd name="connsiteY3219" fmla="*/ 1219413 h 5955635"/>
              <a:gd name="connsiteX3220" fmla="*/ 4865382 w 6187971"/>
              <a:gd name="connsiteY3220" fmla="*/ 1218451 h 5955635"/>
              <a:gd name="connsiteX3221" fmla="*/ 4870849 w 6187971"/>
              <a:gd name="connsiteY3221" fmla="*/ 1221993 h 5955635"/>
              <a:gd name="connsiteX3222" fmla="*/ 4871811 w 6187971"/>
              <a:gd name="connsiteY3222" fmla="*/ 1226498 h 5955635"/>
              <a:gd name="connsiteX3223" fmla="*/ 4877276 w 6187971"/>
              <a:gd name="connsiteY3223" fmla="*/ 1230039 h 5955635"/>
              <a:gd name="connsiteX3224" fmla="*/ 4882743 w 6187971"/>
              <a:gd name="connsiteY3224" fmla="*/ 1233581 h 5955635"/>
              <a:gd name="connsiteX3225" fmla="*/ 5003618 w 6187971"/>
              <a:gd name="connsiteY3225" fmla="*/ 1358465 h 5955635"/>
              <a:gd name="connsiteX3226" fmla="*/ 5004580 w 6187971"/>
              <a:gd name="connsiteY3226" fmla="*/ 1362969 h 5955635"/>
              <a:gd name="connsiteX3227" fmla="*/ 5010045 w 6187971"/>
              <a:gd name="connsiteY3227" fmla="*/ 1366510 h 5955635"/>
              <a:gd name="connsiteX3228" fmla="*/ 5033836 w 6187971"/>
              <a:gd name="connsiteY3228" fmla="*/ 1389686 h 5955635"/>
              <a:gd name="connsiteX3229" fmla="*/ 5041227 w 6187971"/>
              <a:gd name="connsiteY3229" fmla="*/ 1402236 h 5955635"/>
              <a:gd name="connsiteX3230" fmla="*/ 5046693 w 6187971"/>
              <a:gd name="connsiteY3230" fmla="*/ 1405777 h 5955635"/>
              <a:gd name="connsiteX3231" fmla="*/ 5075949 w 6187971"/>
              <a:gd name="connsiteY3231" fmla="*/ 1432494 h 5955635"/>
              <a:gd name="connsiteX3232" fmla="*/ 5081416 w 6187971"/>
              <a:gd name="connsiteY3232" fmla="*/ 1436036 h 5955635"/>
              <a:gd name="connsiteX3233" fmla="*/ 5084302 w 6187971"/>
              <a:gd name="connsiteY3233" fmla="*/ 1449548 h 5955635"/>
              <a:gd name="connsiteX3234" fmla="*/ 5113559 w 6187971"/>
              <a:gd name="connsiteY3234" fmla="*/ 1476265 h 5955635"/>
              <a:gd name="connsiteX3235" fmla="*/ 5119025 w 6187971"/>
              <a:gd name="connsiteY3235" fmla="*/ 1479807 h 5955635"/>
              <a:gd name="connsiteX3236" fmla="*/ 5119987 w 6187971"/>
              <a:gd name="connsiteY3236" fmla="*/ 1484311 h 5955635"/>
              <a:gd name="connsiteX3237" fmla="*/ 5205484 w 6187971"/>
              <a:gd name="connsiteY3237" fmla="*/ 1597915 h 5955635"/>
              <a:gd name="connsiteX3238" fmla="*/ 5217379 w 6187971"/>
              <a:gd name="connsiteY3238" fmla="*/ 1609503 h 5955635"/>
              <a:gd name="connsiteX3239" fmla="*/ 5220266 w 6187971"/>
              <a:gd name="connsiteY3239" fmla="*/ 1623015 h 5955635"/>
              <a:gd name="connsiteX3240" fmla="*/ 5229274 w 6187971"/>
              <a:gd name="connsiteY3240" fmla="*/ 1621090 h 5955635"/>
              <a:gd name="connsiteX3241" fmla="*/ 5235702 w 6187971"/>
              <a:gd name="connsiteY3241" fmla="*/ 1629136 h 5955635"/>
              <a:gd name="connsiteX3242" fmla="*/ 5271695 w 6187971"/>
              <a:gd name="connsiteY3242" fmla="*/ 1687381 h 5955635"/>
              <a:gd name="connsiteX3243" fmla="*/ 5272657 w 6187971"/>
              <a:gd name="connsiteY3243" fmla="*/ 1691885 h 5955635"/>
              <a:gd name="connsiteX3244" fmla="*/ 5274581 w 6187971"/>
              <a:gd name="connsiteY3244" fmla="*/ 1700893 h 5955635"/>
              <a:gd name="connsiteX3245" fmla="*/ 5279086 w 6187971"/>
              <a:gd name="connsiteY3245" fmla="*/ 1699931 h 5955635"/>
              <a:gd name="connsiteX3246" fmla="*/ 5325048 w 6187971"/>
              <a:gd name="connsiteY3246" fmla="*/ 1760755 h 5955635"/>
              <a:gd name="connsiteX3247" fmla="*/ 5380326 w 6187971"/>
              <a:gd name="connsiteY3247" fmla="*/ 1843138 h 5955635"/>
              <a:gd name="connsiteX3248" fmla="*/ 5408928 w 6187971"/>
              <a:gd name="connsiteY3248" fmla="*/ 1888834 h 5955635"/>
              <a:gd name="connsiteX3249" fmla="*/ 5409890 w 6187971"/>
              <a:gd name="connsiteY3249" fmla="*/ 1893338 h 5955635"/>
              <a:gd name="connsiteX3250" fmla="*/ 5410852 w 6187971"/>
              <a:gd name="connsiteY3250" fmla="*/ 1897842 h 5955635"/>
              <a:gd name="connsiteX3251" fmla="*/ 5411815 w 6187971"/>
              <a:gd name="connsiteY3251" fmla="*/ 1902346 h 5955635"/>
              <a:gd name="connsiteX3252" fmla="*/ 5416318 w 6187971"/>
              <a:gd name="connsiteY3252" fmla="*/ 1901384 h 5955635"/>
              <a:gd name="connsiteX3253" fmla="*/ 5426289 w 6187971"/>
              <a:gd name="connsiteY3253" fmla="*/ 1903964 h 5955635"/>
              <a:gd name="connsiteX3254" fmla="*/ 5442032 w 6187971"/>
              <a:gd name="connsiteY3254" fmla="*/ 1933567 h 5955635"/>
              <a:gd name="connsiteX3255" fmla="*/ 5452966 w 6187971"/>
              <a:gd name="connsiteY3255" fmla="*/ 1940651 h 5955635"/>
              <a:gd name="connsiteX3256" fmla="*/ 5418898 w 6187971"/>
              <a:gd name="connsiteY3256" fmla="*/ 1891414 h 5955635"/>
              <a:gd name="connsiteX3257" fmla="*/ 5416973 w 6187971"/>
              <a:gd name="connsiteY3257" fmla="*/ 1882405 h 5955635"/>
              <a:gd name="connsiteX3258" fmla="*/ 5411507 w 6187971"/>
              <a:gd name="connsiteY3258" fmla="*/ 1878863 h 5955635"/>
              <a:gd name="connsiteX3259" fmla="*/ 5373590 w 6187971"/>
              <a:gd name="connsiteY3259" fmla="*/ 1811610 h 5955635"/>
              <a:gd name="connsiteX3260" fmla="*/ 5274930 w 6187971"/>
              <a:gd name="connsiteY3260" fmla="*/ 1658432 h 5955635"/>
              <a:gd name="connsiteX3261" fmla="*/ 5173689 w 6187971"/>
              <a:gd name="connsiteY3261" fmla="*/ 1515224 h 5955635"/>
              <a:gd name="connsiteX3262" fmla="*/ 5155366 w 6187971"/>
              <a:gd name="connsiteY3262" fmla="*/ 1495591 h 5955635"/>
              <a:gd name="connsiteX3263" fmla="*/ 5077260 w 6187971"/>
              <a:gd name="connsiteY3263" fmla="*/ 1394538 h 5955635"/>
              <a:gd name="connsiteX3264" fmla="*/ 5047041 w 6187971"/>
              <a:gd name="connsiteY3264" fmla="*/ 1363316 h 5955635"/>
              <a:gd name="connsiteX3265" fmla="*/ 4981137 w 6187971"/>
              <a:gd name="connsiteY3265" fmla="*/ 1297332 h 5955635"/>
              <a:gd name="connsiteX3266" fmla="*/ 4867654 w 6187971"/>
              <a:gd name="connsiteY3266" fmla="*/ 1184998 h 5955635"/>
              <a:gd name="connsiteX3267" fmla="*/ 4840323 w 6187971"/>
              <a:gd name="connsiteY3267" fmla="*/ 1167290 h 5955635"/>
              <a:gd name="connsiteX3268" fmla="*/ 4809142 w 6187971"/>
              <a:gd name="connsiteY3268" fmla="*/ 1131565 h 5955635"/>
              <a:gd name="connsiteX3269" fmla="*/ 4799171 w 6187971"/>
              <a:gd name="connsiteY3269" fmla="*/ 1128985 h 5955635"/>
              <a:gd name="connsiteX3270" fmla="*/ 4740659 w 6187971"/>
              <a:gd name="connsiteY3270" fmla="*/ 1075551 h 5955635"/>
              <a:gd name="connsiteX3271" fmla="*/ 4720718 w 6187971"/>
              <a:gd name="connsiteY3271" fmla="*/ 1070392 h 5955635"/>
              <a:gd name="connsiteX3272" fmla="*/ 4707860 w 6187971"/>
              <a:gd name="connsiteY3272" fmla="*/ 1054300 h 5955635"/>
              <a:gd name="connsiteX3273" fmla="*/ 4541946 w 6187971"/>
              <a:gd name="connsiteY3273" fmla="*/ 939039 h 5955635"/>
              <a:gd name="connsiteX3274" fmla="*/ 4469921 w 6187971"/>
              <a:gd name="connsiteY3274" fmla="*/ 888492 h 5955635"/>
              <a:gd name="connsiteX3275" fmla="*/ 4428114 w 6187971"/>
              <a:gd name="connsiteY3275" fmla="*/ 869166 h 5955635"/>
              <a:gd name="connsiteX3276" fmla="*/ 4416220 w 6187971"/>
              <a:gd name="connsiteY3276" fmla="*/ 857578 h 5955635"/>
              <a:gd name="connsiteX3277" fmla="*/ 4395317 w 6187971"/>
              <a:gd name="connsiteY3277" fmla="*/ 847916 h 5955635"/>
              <a:gd name="connsiteX3278" fmla="*/ 4394354 w 6187971"/>
              <a:gd name="connsiteY3278" fmla="*/ 843411 h 5955635"/>
              <a:gd name="connsiteX3279" fmla="*/ 4419762 w 6187971"/>
              <a:gd name="connsiteY3279" fmla="*/ 852112 h 5955635"/>
              <a:gd name="connsiteX3280" fmla="*/ 4420724 w 6187971"/>
              <a:gd name="connsiteY3280" fmla="*/ 856616 h 5955635"/>
              <a:gd name="connsiteX3281" fmla="*/ 4430694 w 6187971"/>
              <a:gd name="connsiteY3281" fmla="*/ 859196 h 5955635"/>
              <a:gd name="connsiteX3282" fmla="*/ 4435199 w 6187971"/>
              <a:gd name="connsiteY3282" fmla="*/ 858234 h 5955635"/>
              <a:gd name="connsiteX3283" fmla="*/ 4440664 w 6187971"/>
              <a:gd name="connsiteY3283" fmla="*/ 861775 h 5955635"/>
              <a:gd name="connsiteX3284" fmla="*/ 4445168 w 6187971"/>
              <a:gd name="connsiteY3284" fmla="*/ 860813 h 5955635"/>
              <a:gd name="connsiteX3285" fmla="*/ 4477005 w 6187971"/>
              <a:gd name="connsiteY3285" fmla="*/ 877560 h 5955635"/>
              <a:gd name="connsiteX3286" fmla="*/ 4482471 w 6187971"/>
              <a:gd name="connsiteY3286" fmla="*/ 881101 h 5955635"/>
              <a:gd name="connsiteX3287" fmla="*/ 4486975 w 6187971"/>
              <a:gd name="connsiteY3287" fmla="*/ 880139 h 5955635"/>
              <a:gd name="connsiteX3288" fmla="*/ 4487937 w 6187971"/>
              <a:gd name="connsiteY3288" fmla="*/ 884643 h 5955635"/>
              <a:gd name="connsiteX3289" fmla="*/ 4484395 w 6187971"/>
              <a:gd name="connsiteY3289" fmla="*/ 890110 h 5955635"/>
              <a:gd name="connsiteX3290" fmla="*/ 4507878 w 6187971"/>
              <a:gd name="connsiteY3290" fmla="*/ 889801 h 5955635"/>
              <a:gd name="connsiteX3291" fmla="*/ 4547105 w 6187971"/>
              <a:gd name="connsiteY3291" fmla="*/ 919098 h 5955635"/>
              <a:gd name="connsiteX3292" fmla="*/ 4542600 w 6187971"/>
              <a:gd name="connsiteY3292" fmla="*/ 920061 h 5955635"/>
              <a:gd name="connsiteX3293" fmla="*/ 4548067 w 6187971"/>
              <a:gd name="connsiteY3293" fmla="*/ 923603 h 5955635"/>
              <a:gd name="connsiteX3294" fmla="*/ 4533593 w 6187971"/>
              <a:gd name="connsiteY3294" fmla="*/ 921985 h 5955635"/>
              <a:gd name="connsiteX3295" fmla="*/ 4558999 w 6187971"/>
              <a:gd name="connsiteY3295" fmla="*/ 930686 h 5955635"/>
              <a:gd name="connsiteX3296" fmla="*/ 4565428 w 6187971"/>
              <a:gd name="connsiteY3296" fmla="*/ 938732 h 5955635"/>
              <a:gd name="connsiteX3297" fmla="*/ 4570895 w 6187971"/>
              <a:gd name="connsiteY3297" fmla="*/ 942274 h 5955635"/>
              <a:gd name="connsiteX3298" fmla="*/ 4574437 w 6187971"/>
              <a:gd name="connsiteY3298" fmla="*/ 936808 h 5955635"/>
              <a:gd name="connsiteX3299" fmla="*/ 4607235 w 6187971"/>
              <a:gd name="connsiteY3299" fmla="*/ 958058 h 5955635"/>
              <a:gd name="connsiteX3300" fmla="*/ 4612701 w 6187971"/>
              <a:gd name="connsiteY3300" fmla="*/ 961599 h 5955635"/>
              <a:gd name="connsiteX3301" fmla="*/ 4617205 w 6187971"/>
              <a:gd name="connsiteY3301" fmla="*/ 960637 h 5955635"/>
              <a:gd name="connsiteX3302" fmla="*/ 4721066 w 6187971"/>
              <a:gd name="connsiteY3302" fmla="*/ 1027932 h 5955635"/>
              <a:gd name="connsiteX3303" fmla="*/ 4728457 w 6187971"/>
              <a:gd name="connsiteY3303" fmla="*/ 1040481 h 5955635"/>
              <a:gd name="connsiteX3304" fmla="*/ 4738427 w 6187971"/>
              <a:gd name="connsiteY3304" fmla="*/ 1043060 h 5955635"/>
              <a:gd name="connsiteX3305" fmla="*/ 4817842 w 6187971"/>
              <a:gd name="connsiteY3305" fmla="*/ 1106158 h 5955635"/>
              <a:gd name="connsiteX3306" fmla="*/ 4898221 w 6187971"/>
              <a:gd name="connsiteY3306" fmla="*/ 1173759 h 5955635"/>
              <a:gd name="connsiteX3307" fmla="*/ 4905611 w 6187971"/>
              <a:gd name="connsiteY3307" fmla="*/ 1186309 h 5955635"/>
              <a:gd name="connsiteX3308" fmla="*/ 4909153 w 6187971"/>
              <a:gd name="connsiteY3308" fmla="*/ 1180842 h 5955635"/>
              <a:gd name="connsiteX3309" fmla="*/ 4951267 w 6187971"/>
              <a:gd name="connsiteY3309" fmla="*/ 1223651 h 5955635"/>
              <a:gd name="connsiteX3310" fmla="*/ 4980523 w 6187971"/>
              <a:gd name="connsiteY3310" fmla="*/ 1250367 h 5955635"/>
              <a:gd name="connsiteX3311" fmla="*/ 5028102 w 6187971"/>
              <a:gd name="connsiteY3311" fmla="*/ 1296718 h 5955635"/>
              <a:gd name="connsiteX3312" fmla="*/ 5088540 w 6187971"/>
              <a:gd name="connsiteY3312" fmla="*/ 1359160 h 5955635"/>
              <a:gd name="connsiteX3313" fmla="*/ 5090465 w 6187971"/>
              <a:gd name="connsiteY3313" fmla="*/ 1368168 h 5955635"/>
              <a:gd name="connsiteX3314" fmla="*/ 5152826 w 6187971"/>
              <a:gd name="connsiteY3314" fmla="*/ 1439619 h 5955635"/>
              <a:gd name="connsiteX3315" fmla="*/ 5163758 w 6187971"/>
              <a:gd name="connsiteY3315" fmla="*/ 1446702 h 5955635"/>
              <a:gd name="connsiteX3316" fmla="*/ 5190435 w 6187971"/>
              <a:gd name="connsiteY3316" fmla="*/ 1483389 h 5955635"/>
              <a:gd name="connsiteX3317" fmla="*/ 5213263 w 6187971"/>
              <a:gd name="connsiteY3317" fmla="*/ 1502060 h 5955635"/>
              <a:gd name="connsiteX3318" fmla="*/ 5270466 w 6187971"/>
              <a:gd name="connsiteY3318" fmla="*/ 1593451 h 5955635"/>
              <a:gd name="connsiteX3319" fmla="*/ 5352421 w 6187971"/>
              <a:gd name="connsiteY3319" fmla="*/ 1712521 h 5955635"/>
              <a:gd name="connsiteX3320" fmla="*/ 5378135 w 6187971"/>
              <a:gd name="connsiteY3320" fmla="*/ 1744704 h 5955635"/>
              <a:gd name="connsiteX3321" fmla="*/ 5372669 w 6187971"/>
              <a:gd name="connsiteY3321" fmla="*/ 1741162 h 5955635"/>
              <a:gd name="connsiteX3322" fmla="*/ 5401270 w 6187971"/>
              <a:gd name="connsiteY3322" fmla="*/ 1786858 h 5955635"/>
              <a:gd name="connsiteX3323" fmla="*/ 5404157 w 6187971"/>
              <a:gd name="connsiteY3323" fmla="*/ 1800370 h 5955635"/>
              <a:gd name="connsiteX3324" fmla="*/ 5479989 w 6187971"/>
              <a:gd name="connsiteY3324" fmla="*/ 1934877 h 5955635"/>
              <a:gd name="connsiteX3325" fmla="*/ 5475486 w 6187971"/>
              <a:gd name="connsiteY3325" fmla="*/ 1935839 h 5955635"/>
              <a:gd name="connsiteX3326" fmla="*/ 5476448 w 6187971"/>
              <a:gd name="connsiteY3326" fmla="*/ 1940343 h 5955635"/>
              <a:gd name="connsiteX3327" fmla="*/ 5481913 w 6187971"/>
              <a:gd name="connsiteY3327" fmla="*/ 1943885 h 5955635"/>
              <a:gd name="connsiteX3328" fmla="*/ 5506012 w 6187971"/>
              <a:gd name="connsiteY3328" fmla="*/ 1990543 h 5955635"/>
              <a:gd name="connsiteX3329" fmla="*/ 5506974 w 6187971"/>
              <a:gd name="connsiteY3329" fmla="*/ 1995046 h 5955635"/>
              <a:gd name="connsiteX3330" fmla="*/ 5507936 w 6187971"/>
              <a:gd name="connsiteY3330" fmla="*/ 1999551 h 5955635"/>
              <a:gd name="connsiteX3331" fmla="*/ 5512440 w 6187971"/>
              <a:gd name="connsiteY3331" fmla="*/ 1998588 h 5955635"/>
              <a:gd name="connsiteX3332" fmla="*/ 5511478 w 6187971"/>
              <a:gd name="connsiteY3332" fmla="*/ 1994084 h 5955635"/>
              <a:gd name="connsiteX3333" fmla="*/ 5519831 w 6187971"/>
              <a:gd name="connsiteY3333" fmla="*/ 2011138 h 5955635"/>
              <a:gd name="connsiteX3334" fmla="*/ 5528839 w 6187971"/>
              <a:gd name="connsiteY3334" fmla="*/ 2009213 h 5955635"/>
              <a:gd name="connsiteX3335" fmla="*/ 5521448 w 6187971"/>
              <a:gd name="connsiteY3335" fmla="*/ 1996664 h 5955635"/>
              <a:gd name="connsiteX3336" fmla="*/ 5525952 w 6187971"/>
              <a:gd name="connsiteY3336" fmla="*/ 1995701 h 5955635"/>
              <a:gd name="connsiteX3337" fmla="*/ 5500238 w 6187971"/>
              <a:gd name="connsiteY3337" fmla="*/ 1963519 h 5955635"/>
              <a:gd name="connsiteX3338" fmla="*/ 5498313 w 6187971"/>
              <a:gd name="connsiteY3338" fmla="*/ 1954510 h 5955635"/>
              <a:gd name="connsiteX3339" fmla="*/ 5497351 w 6187971"/>
              <a:gd name="connsiteY3339" fmla="*/ 1950007 h 5955635"/>
              <a:gd name="connsiteX3340" fmla="*/ 5496389 w 6187971"/>
              <a:gd name="connsiteY3340" fmla="*/ 1945502 h 5955635"/>
              <a:gd name="connsiteX3341" fmla="*/ 5491884 w 6187971"/>
              <a:gd name="connsiteY3341" fmla="*/ 1946465 h 5955635"/>
              <a:gd name="connsiteX3342" fmla="*/ 5489960 w 6187971"/>
              <a:gd name="connsiteY3342" fmla="*/ 1937456 h 5955635"/>
              <a:gd name="connsiteX3343" fmla="*/ 5499931 w 6187971"/>
              <a:gd name="connsiteY3343" fmla="*/ 1940036 h 5955635"/>
              <a:gd name="connsiteX3344" fmla="*/ 5492540 w 6187971"/>
              <a:gd name="connsiteY3344" fmla="*/ 1927486 h 5955635"/>
              <a:gd name="connsiteX3345" fmla="*/ 5491577 w 6187971"/>
              <a:gd name="connsiteY3345" fmla="*/ 1922981 h 5955635"/>
              <a:gd name="connsiteX3346" fmla="*/ 5490615 w 6187971"/>
              <a:gd name="connsiteY3346" fmla="*/ 1918478 h 5955635"/>
              <a:gd name="connsiteX3347" fmla="*/ 5489653 w 6187971"/>
              <a:gd name="connsiteY3347" fmla="*/ 1913974 h 5955635"/>
              <a:gd name="connsiteX3348" fmla="*/ 5481299 w 6187971"/>
              <a:gd name="connsiteY3348" fmla="*/ 1896920 h 5955635"/>
              <a:gd name="connsiteX3349" fmla="*/ 5475833 w 6187971"/>
              <a:gd name="connsiteY3349" fmla="*/ 1893379 h 5955635"/>
              <a:gd name="connsiteX3350" fmla="*/ 5474871 w 6187971"/>
              <a:gd name="connsiteY3350" fmla="*/ 1888874 h 5955635"/>
              <a:gd name="connsiteX3351" fmla="*/ 5475833 w 6187971"/>
              <a:gd name="connsiteY3351" fmla="*/ 1893379 h 5955635"/>
              <a:gd name="connsiteX3352" fmla="*/ 5452699 w 6187971"/>
              <a:gd name="connsiteY3352" fmla="*/ 1851225 h 5955635"/>
              <a:gd name="connsiteX3353" fmla="*/ 5450774 w 6187971"/>
              <a:gd name="connsiteY3353" fmla="*/ 1842216 h 5955635"/>
              <a:gd name="connsiteX3354" fmla="*/ 5446270 w 6187971"/>
              <a:gd name="connsiteY3354" fmla="*/ 1843178 h 5955635"/>
              <a:gd name="connsiteX3355" fmla="*/ 5424098 w 6187971"/>
              <a:gd name="connsiteY3355" fmla="*/ 1805529 h 5955635"/>
              <a:gd name="connsiteX3356" fmla="*/ 5419593 w 6187971"/>
              <a:gd name="connsiteY3356" fmla="*/ 1806491 h 5955635"/>
              <a:gd name="connsiteX3357" fmla="*/ 5418631 w 6187971"/>
              <a:gd name="connsiteY3357" fmla="*/ 1801987 h 5955635"/>
              <a:gd name="connsiteX3358" fmla="*/ 5423135 w 6187971"/>
              <a:gd name="connsiteY3358" fmla="*/ 1801025 h 5955635"/>
              <a:gd name="connsiteX3359" fmla="*/ 5422173 w 6187971"/>
              <a:gd name="connsiteY3359" fmla="*/ 1796521 h 5955635"/>
              <a:gd name="connsiteX3360" fmla="*/ 5416707 w 6187971"/>
              <a:gd name="connsiteY3360" fmla="*/ 1792979 h 5955635"/>
              <a:gd name="connsiteX3361" fmla="*/ 5349226 w 6187971"/>
              <a:gd name="connsiteY3361" fmla="*/ 1675527 h 5955635"/>
              <a:gd name="connsiteX3362" fmla="*/ 5332520 w 6187971"/>
              <a:gd name="connsiteY3362" fmla="*/ 1641419 h 5955635"/>
              <a:gd name="connsiteX3363" fmla="*/ 5314197 w 6187971"/>
              <a:gd name="connsiteY3363" fmla="*/ 1621785 h 5955635"/>
              <a:gd name="connsiteX3364" fmla="*/ 5288482 w 6187971"/>
              <a:gd name="connsiteY3364" fmla="*/ 1589602 h 5955635"/>
              <a:gd name="connsiteX3365" fmla="*/ 5106557 w 6187971"/>
              <a:gd name="connsiteY3365" fmla="*/ 1355311 h 5955635"/>
              <a:gd name="connsiteX3366" fmla="*/ 5109135 w 6187971"/>
              <a:gd name="connsiteY3366" fmla="*/ 1345340 h 5955635"/>
              <a:gd name="connsiteX3367" fmla="*/ 5110098 w 6187971"/>
              <a:gd name="connsiteY3367" fmla="*/ 1349844 h 5955635"/>
              <a:gd name="connsiteX3368" fmla="*/ 5114602 w 6187971"/>
              <a:gd name="connsiteY3368" fmla="*/ 1348882 h 5955635"/>
              <a:gd name="connsiteX3369" fmla="*/ 5108173 w 6187971"/>
              <a:gd name="connsiteY3369" fmla="*/ 1340837 h 5955635"/>
              <a:gd name="connsiteX3370" fmla="*/ 5105286 w 6187971"/>
              <a:gd name="connsiteY3370" fmla="*/ 1327325 h 5955635"/>
              <a:gd name="connsiteX3371" fmla="*/ 5084383 w 6187971"/>
              <a:gd name="connsiteY3371" fmla="*/ 1317661 h 5955635"/>
              <a:gd name="connsiteX3372" fmla="*/ 5083421 w 6187971"/>
              <a:gd name="connsiteY3372" fmla="*/ 1313158 h 5955635"/>
              <a:gd name="connsiteX3373" fmla="*/ 5077955 w 6187971"/>
              <a:gd name="connsiteY3373" fmla="*/ 1309615 h 5955635"/>
              <a:gd name="connsiteX3374" fmla="*/ 5076993 w 6187971"/>
              <a:gd name="connsiteY3374" fmla="*/ 1305112 h 5955635"/>
              <a:gd name="connsiteX3375" fmla="*/ 5072489 w 6187971"/>
              <a:gd name="connsiteY3375" fmla="*/ 1306074 h 5955635"/>
              <a:gd name="connsiteX3376" fmla="*/ 5066060 w 6187971"/>
              <a:gd name="connsiteY3376" fmla="*/ 1298028 h 5955635"/>
              <a:gd name="connsiteX3377" fmla="*/ 5052241 w 6187971"/>
              <a:gd name="connsiteY3377" fmla="*/ 1277432 h 5955635"/>
              <a:gd name="connsiteX3378" fmla="*/ 5056745 w 6187971"/>
              <a:gd name="connsiteY3378" fmla="*/ 1276470 h 5955635"/>
              <a:gd name="connsiteX3379" fmla="*/ 5062211 w 6187971"/>
              <a:gd name="connsiteY3379" fmla="*/ 1280011 h 5955635"/>
              <a:gd name="connsiteX3380" fmla="*/ 5055783 w 6187971"/>
              <a:gd name="connsiteY3380" fmla="*/ 1271966 h 5955635"/>
              <a:gd name="connsiteX3381" fmla="*/ 5050316 w 6187971"/>
              <a:gd name="connsiteY3381" fmla="*/ 1268424 h 5955635"/>
              <a:gd name="connsiteX3382" fmla="*/ 5032955 w 6187971"/>
              <a:gd name="connsiteY3382" fmla="*/ 1253295 h 5955635"/>
              <a:gd name="connsiteX3383" fmla="*/ 5031993 w 6187971"/>
              <a:gd name="connsiteY3383" fmla="*/ 1248791 h 5955635"/>
              <a:gd name="connsiteX3384" fmla="*/ 5025564 w 6187971"/>
              <a:gd name="connsiteY3384" fmla="*/ 1240744 h 5955635"/>
              <a:gd name="connsiteX3385" fmla="*/ 5021059 w 6187971"/>
              <a:gd name="connsiteY3385" fmla="*/ 1241707 h 5955635"/>
              <a:gd name="connsiteX3386" fmla="*/ 5022022 w 6187971"/>
              <a:gd name="connsiteY3386" fmla="*/ 1246211 h 5955635"/>
              <a:gd name="connsiteX3387" fmla="*/ 5014631 w 6187971"/>
              <a:gd name="connsiteY3387" fmla="*/ 1233661 h 5955635"/>
              <a:gd name="connsiteX3388" fmla="*/ 5005623 w 6187971"/>
              <a:gd name="connsiteY3388" fmla="*/ 1235586 h 5955635"/>
              <a:gd name="connsiteX3389" fmla="*/ 5003698 w 6187971"/>
              <a:gd name="connsiteY3389" fmla="*/ 1226578 h 5955635"/>
              <a:gd name="connsiteX3390" fmla="*/ 4998232 w 6187971"/>
              <a:gd name="connsiteY3390" fmla="*/ 1223036 h 5955635"/>
              <a:gd name="connsiteX3391" fmla="*/ 4997269 w 6187971"/>
              <a:gd name="connsiteY3391" fmla="*/ 1218532 h 5955635"/>
              <a:gd name="connsiteX3392" fmla="*/ 4992766 w 6187971"/>
              <a:gd name="connsiteY3392" fmla="*/ 1219494 h 5955635"/>
              <a:gd name="connsiteX3393" fmla="*/ 4993728 w 6187971"/>
              <a:gd name="connsiteY3393" fmla="*/ 1223998 h 5955635"/>
              <a:gd name="connsiteX3394" fmla="*/ 4947111 w 6187971"/>
              <a:gd name="connsiteY3394" fmla="*/ 1182152 h 5955635"/>
              <a:gd name="connsiteX3395" fmla="*/ 4940682 w 6187971"/>
              <a:gd name="connsiteY3395" fmla="*/ 1174106 h 5955635"/>
              <a:gd name="connsiteX3396" fmla="*/ 4930712 w 6187971"/>
              <a:gd name="connsiteY3396" fmla="*/ 1171526 h 5955635"/>
              <a:gd name="connsiteX3397" fmla="*/ 4931467 w 6187971"/>
              <a:gd name="connsiteY3397" fmla="*/ 1175063 h 5955635"/>
              <a:gd name="connsiteX3398" fmla="*/ 4916930 w 6187971"/>
              <a:gd name="connsiteY3398" fmla="*/ 1163507 h 5955635"/>
              <a:gd name="connsiteX3399" fmla="*/ 4867695 w 6187971"/>
              <a:gd name="connsiteY3399" fmla="*/ 1119055 h 5955635"/>
              <a:gd name="connsiteX3400" fmla="*/ 4842287 w 6187971"/>
              <a:gd name="connsiteY3400" fmla="*/ 1110354 h 5955635"/>
              <a:gd name="connsiteX3401" fmla="*/ 4839401 w 6187971"/>
              <a:gd name="connsiteY3401" fmla="*/ 1096842 h 5955635"/>
              <a:gd name="connsiteX3402" fmla="*/ 4811106 w 6187971"/>
              <a:gd name="connsiteY3402" fmla="*/ 1074629 h 5955635"/>
              <a:gd name="connsiteX3403" fmla="*/ 4791166 w 6187971"/>
              <a:gd name="connsiteY3403" fmla="*/ 1069470 h 5955635"/>
              <a:gd name="connsiteX3404" fmla="*/ 4772842 w 6187971"/>
              <a:gd name="connsiteY3404" fmla="*/ 1049837 h 5955635"/>
              <a:gd name="connsiteX3405" fmla="*/ 4777346 w 6187971"/>
              <a:gd name="connsiteY3405" fmla="*/ 1048874 h 5955635"/>
              <a:gd name="connsiteX3406" fmla="*/ 4787317 w 6187971"/>
              <a:gd name="connsiteY3406" fmla="*/ 1051454 h 5955635"/>
              <a:gd name="connsiteX3407" fmla="*/ 4780888 w 6187971"/>
              <a:gd name="connsiteY3407" fmla="*/ 1043408 h 5955635"/>
              <a:gd name="connsiteX3408" fmla="*/ 4775422 w 6187971"/>
              <a:gd name="connsiteY3408" fmla="*/ 1039866 h 5955635"/>
              <a:gd name="connsiteX3409" fmla="*/ 4790858 w 6187971"/>
              <a:gd name="connsiteY3409" fmla="*/ 1045987 h 5955635"/>
              <a:gd name="connsiteX3410" fmla="*/ 4768993 w 6187971"/>
              <a:gd name="connsiteY3410" fmla="*/ 1031821 h 5955635"/>
              <a:gd name="connsiteX3411" fmla="*/ 4763527 w 6187971"/>
              <a:gd name="connsiteY3411" fmla="*/ 1028279 h 5955635"/>
              <a:gd name="connsiteX3412" fmla="*/ 4748090 w 6187971"/>
              <a:gd name="connsiteY3412" fmla="*/ 1022158 h 5955635"/>
              <a:gd name="connsiteX3413" fmla="*/ 4754519 w 6187971"/>
              <a:gd name="connsiteY3413" fmla="*/ 1030204 h 5955635"/>
              <a:gd name="connsiteX3414" fmla="*/ 4755481 w 6187971"/>
              <a:gd name="connsiteY3414" fmla="*/ 1034708 h 5955635"/>
              <a:gd name="connsiteX3415" fmla="*/ 4739082 w 6187971"/>
              <a:gd name="connsiteY3415" fmla="*/ 1024083 h 5955635"/>
              <a:gd name="connsiteX3416" fmla="*/ 4747435 w 6187971"/>
              <a:gd name="connsiteY3416" fmla="*/ 1041136 h 5955635"/>
              <a:gd name="connsiteX3417" fmla="*/ 4722683 w 6187971"/>
              <a:gd name="connsiteY3417" fmla="*/ 1013457 h 5955635"/>
              <a:gd name="connsiteX3418" fmla="*/ 4728150 w 6187971"/>
              <a:gd name="connsiteY3418" fmla="*/ 1016998 h 5955635"/>
              <a:gd name="connsiteX3419" fmla="*/ 4737157 w 6187971"/>
              <a:gd name="connsiteY3419" fmla="*/ 1015074 h 5955635"/>
              <a:gd name="connsiteX3420" fmla="*/ 4726225 w 6187971"/>
              <a:gd name="connsiteY3420" fmla="*/ 1007991 h 5955635"/>
              <a:gd name="connsiteX3421" fmla="*/ 4725263 w 6187971"/>
              <a:gd name="connsiteY3421" fmla="*/ 1003486 h 5955635"/>
              <a:gd name="connsiteX3422" fmla="*/ 4724301 w 6187971"/>
              <a:gd name="connsiteY3422" fmla="*/ 998982 h 5955635"/>
              <a:gd name="connsiteX3423" fmla="*/ 4728804 w 6187971"/>
              <a:gd name="connsiteY3423" fmla="*/ 998020 h 5955635"/>
              <a:gd name="connsiteX3424" fmla="*/ 4718834 w 6187971"/>
              <a:gd name="connsiteY3424" fmla="*/ 995441 h 5955635"/>
              <a:gd name="connsiteX3425" fmla="*/ 4713367 w 6187971"/>
              <a:gd name="connsiteY3425" fmla="*/ 991899 h 5955635"/>
              <a:gd name="connsiteX3426" fmla="*/ 4700511 w 6187971"/>
              <a:gd name="connsiteY3426" fmla="*/ 975807 h 5955635"/>
              <a:gd name="connsiteX3427" fmla="*/ 4705976 w 6187971"/>
              <a:gd name="connsiteY3427" fmla="*/ 979349 h 5955635"/>
              <a:gd name="connsiteX3428" fmla="*/ 4715947 w 6187971"/>
              <a:gd name="connsiteY3428" fmla="*/ 981929 h 5955635"/>
              <a:gd name="connsiteX3429" fmla="*/ 4704052 w 6187971"/>
              <a:gd name="connsiteY3429" fmla="*/ 970341 h 5955635"/>
              <a:gd name="connsiteX3430" fmla="*/ 4698586 w 6187971"/>
              <a:gd name="connsiteY3430" fmla="*/ 966799 h 5955635"/>
              <a:gd name="connsiteX3431" fmla="*/ 4693119 w 6187971"/>
              <a:gd name="connsiteY3431" fmla="*/ 963257 h 5955635"/>
              <a:gd name="connsiteX3432" fmla="*/ 4684112 w 6187971"/>
              <a:gd name="connsiteY3432" fmla="*/ 965182 h 5955635"/>
              <a:gd name="connsiteX3433" fmla="*/ 4690540 w 6187971"/>
              <a:gd name="connsiteY3433" fmla="*/ 973228 h 5955635"/>
              <a:gd name="connsiteX3434" fmla="*/ 4695044 w 6187971"/>
              <a:gd name="connsiteY3434" fmla="*/ 972266 h 5955635"/>
              <a:gd name="connsiteX3435" fmla="*/ 4700511 w 6187971"/>
              <a:gd name="connsiteY3435" fmla="*/ 975807 h 5955635"/>
              <a:gd name="connsiteX3436" fmla="*/ 4708863 w 6187971"/>
              <a:gd name="connsiteY3436" fmla="*/ 992861 h 5955635"/>
              <a:gd name="connsiteX3437" fmla="*/ 4703397 w 6187971"/>
              <a:gd name="connsiteY3437" fmla="*/ 989319 h 5955635"/>
              <a:gd name="connsiteX3438" fmla="*/ 4704360 w 6187971"/>
              <a:gd name="connsiteY3438" fmla="*/ 993823 h 5955635"/>
              <a:gd name="connsiteX3439" fmla="*/ 4705322 w 6187971"/>
              <a:gd name="connsiteY3439" fmla="*/ 998327 h 5955635"/>
              <a:gd name="connsiteX3440" fmla="*/ 4709825 w 6187971"/>
              <a:gd name="connsiteY3440" fmla="*/ 997365 h 5955635"/>
              <a:gd name="connsiteX3441" fmla="*/ 4715292 w 6187971"/>
              <a:gd name="connsiteY3441" fmla="*/ 1000907 h 5955635"/>
              <a:gd name="connsiteX3442" fmla="*/ 4710787 w 6187971"/>
              <a:gd name="connsiteY3442" fmla="*/ 1001869 h 5955635"/>
              <a:gd name="connsiteX3443" fmla="*/ 4716254 w 6187971"/>
              <a:gd name="connsiteY3443" fmla="*/ 1005411 h 5955635"/>
              <a:gd name="connsiteX3444" fmla="*/ 4717216 w 6187971"/>
              <a:gd name="connsiteY3444" fmla="*/ 1009915 h 5955635"/>
              <a:gd name="connsiteX3445" fmla="*/ 4678952 w 6187971"/>
              <a:gd name="connsiteY3445" fmla="*/ 985123 h 5955635"/>
              <a:gd name="connsiteX3446" fmla="*/ 4683456 w 6187971"/>
              <a:gd name="connsiteY3446" fmla="*/ 984160 h 5955635"/>
              <a:gd name="connsiteX3447" fmla="*/ 4687961 w 6187971"/>
              <a:gd name="connsiteY3447" fmla="*/ 983198 h 5955635"/>
              <a:gd name="connsiteX3448" fmla="*/ 4682494 w 6187971"/>
              <a:gd name="connsiteY3448" fmla="*/ 979656 h 5955635"/>
              <a:gd name="connsiteX3449" fmla="*/ 4677990 w 6187971"/>
              <a:gd name="connsiteY3449" fmla="*/ 980618 h 5955635"/>
              <a:gd name="connsiteX3450" fmla="*/ 4672523 w 6187971"/>
              <a:gd name="connsiteY3450" fmla="*/ 977077 h 5955635"/>
              <a:gd name="connsiteX3451" fmla="*/ 4659666 w 6187971"/>
              <a:gd name="connsiteY3451" fmla="*/ 960985 h 5955635"/>
              <a:gd name="connsiteX3452" fmla="*/ 4658704 w 6187971"/>
              <a:gd name="connsiteY3452" fmla="*/ 956481 h 5955635"/>
              <a:gd name="connsiteX3453" fmla="*/ 4653237 w 6187971"/>
              <a:gd name="connsiteY3453" fmla="*/ 952939 h 5955635"/>
              <a:gd name="connsiteX3454" fmla="*/ 4648733 w 6187971"/>
              <a:gd name="connsiteY3454" fmla="*/ 953901 h 5955635"/>
              <a:gd name="connsiteX3455" fmla="*/ 4649695 w 6187971"/>
              <a:gd name="connsiteY3455" fmla="*/ 958406 h 5955635"/>
              <a:gd name="connsiteX3456" fmla="*/ 4626869 w 6187971"/>
              <a:gd name="connsiteY3456" fmla="*/ 939735 h 5955635"/>
              <a:gd name="connsiteX3457" fmla="*/ 4621402 w 6187971"/>
              <a:gd name="connsiteY3457" fmla="*/ 936193 h 5955635"/>
              <a:gd name="connsiteX3458" fmla="*/ 4616898 w 6187971"/>
              <a:gd name="connsiteY3458" fmla="*/ 937155 h 5955635"/>
              <a:gd name="connsiteX3459" fmla="*/ 4617860 w 6187971"/>
              <a:gd name="connsiteY3459" fmla="*/ 941660 h 5955635"/>
              <a:gd name="connsiteX3460" fmla="*/ 4597919 w 6187971"/>
              <a:gd name="connsiteY3460" fmla="*/ 936500 h 5955635"/>
              <a:gd name="connsiteX3461" fmla="*/ 4529437 w 6187971"/>
              <a:gd name="connsiteY3461" fmla="*/ 880487 h 5955635"/>
              <a:gd name="connsiteX3462" fmla="*/ 4525895 w 6187971"/>
              <a:gd name="connsiteY3462" fmla="*/ 885952 h 5955635"/>
              <a:gd name="connsiteX3463" fmla="*/ 4524932 w 6187971"/>
              <a:gd name="connsiteY3463" fmla="*/ 881449 h 5955635"/>
              <a:gd name="connsiteX3464" fmla="*/ 4519466 w 6187971"/>
              <a:gd name="connsiteY3464" fmla="*/ 877907 h 5955635"/>
              <a:gd name="connsiteX3465" fmla="*/ 4520428 w 6187971"/>
              <a:gd name="connsiteY3465" fmla="*/ 882411 h 5955635"/>
              <a:gd name="connsiteX3466" fmla="*/ 4484744 w 6187971"/>
              <a:gd name="connsiteY3466" fmla="*/ 847649 h 5955635"/>
              <a:gd name="connsiteX3467" fmla="*/ 4476697 w 6187971"/>
              <a:gd name="connsiteY3467" fmla="*/ 854077 h 5955635"/>
              <a:gd name="connsiteX3468" fmla="*/ 4470269 w 6187971"/>
              <a:gd name="connsiteY3468" fmla="*/ 846031 h 5955635"/>
              <a:gd name="connsiteX3469" fmla="*/ 4459336 w 6187971"/>
              <a:gd name="connsiteY3469" fmla="*/ 838948 h 5955635"/>
              <a:gd name="connsiteX3470" fmla="*/ 4463840 w 6187971"/>
              <a:gd name="connsiteY3470" fmla="*/ 837986 h 5955635"/>
              <a:gd name="connsiteX3471" fmla="*/ 4462878 w 6187971"/>
              <a:gd name="connsiteY3471" fmla="*/ 833481 h 5955635"/>
              <a:gd name="connsiteX3472" fmla="*/ 4452907 w 6187971"/>
              <a:gd name="connsiteY3472" fmla="*/ 830902 h 5955635"/>
              <a:gd name="connsiteX3473" fmla="*/ 4448404 w 6187971"/>
              <a:gd name="connsiteY3473" fmla="*/ 831864 h 5955635"/>
              <a:gd name="connsiteX3474" fmla="*/ 4411102 w 6187971"/>
              <a:gd name="connsiteY3474" fmla="*/ 811576 h 5955635"/>
              <a:gd name="connsiteX3475" fmla="*/ 4422996 w 6187971"/>
              <a:gd name="connsiteY3475" fmla="*/ 823163 h 5955635"/>
              <a:gd name="connsiteX3476" fmla="*/ 4442937 w 6187971"/>
              <a:gd name="connsiteY3476" fmla="*/ 828322 h 5955635"/>
              <a:gd name="connsiteX3477" fmla="*/ 4437470 w 6187971"/>
              <a:gd name="connsiteY3477" fmla="*/ 824781 h 5955635"/>
              <a:gd name="connsiteX3478" fmla="*/ 4432966 w 6187971"/>
              <a:gd name="connsiteY3478" fmla="*/ 825743 h 5955635"/>
              <a:gd name="connsiteX3479" fmla="*/ 4433928 w 6187971"/>
              <a:gd name="connsiteY3479" fmla="*/ 830246 h 5955635"/>
              <a:gd name="connsiteX3480" fmla="*/ 4439395 w 6187971"/>
              <a:gd name="connsiteY3480" fmla="*/ 833789 h 5955635"/>
              <a:gd name="connsiteX3481" fmla="*/ 4434891 w 6187971"/>
              <a:gd name="connsiteY3481" fmla="*/ 834751 h 5955635"/>
              <a:gd name="connsiteX3482" fmla="*/ 4429425 w 6187971"/>
              <a:gd name="connsiteY3482" fmla="*/ 831209 h 5955635"/>
              <a:gd name="connsiteX3483" fmla="*/ 4430387 w 6187971"/>
              <a:gd name="connsiteY3483" fmla="*/ 835713 h 5955635"/>
              <a:gd name="connsiteX3484" fmla="*/ 4435853 w 6187971"/>
              <a:gd name="connsiteY3484" fmla="*/ 839255 h 5955635"/>
              <a:gd name="connsiteX3485" fmla="*/ 4441320 w 6187971"/>
              <a:gd name="connsiteY3485" fmla="*/ 842797 h 5955635"/>
              <a:gd name="connsiteX3486" fmla="*/ 4431350 w 6187971"/>
              <a:gd name="connsiteY3486" fmla="*/ 840217 h 5955635"/>
              <a:gd name="connsiteX3487" fmla="*/ 4425883 w 6187971"/>
              <a:gd name="connsiteY3487" fmla="*/ 836675 h 5955635"/>
              <a:gd name="connsiteX3488" fmla="*/ 4420416 w 6187971"/>
              <a:gd name="connsiteY3488" fmla="*/ 833133 h 5955635"/>
              <a:gd name="connsiteX3489" fmla="*/ 4409484 w 6187971"/>
              <a:gd name="connsiteY3489" fmla="*/ 826050 h 5955635"/>
              <a:gd name="connsiteX3490" fmla="*/ 4411408 w 6187971"/>
              <a:gd name="connsiteY3490" fmla="*/ 835058 h 5955635"/>
              <a:gd name="connsiteX3491" fmla="*/ 4412371 w 6187971"/>
              <a:gd name="connsiteY3491" fmla="*/ 839562 h 5955635"/>
              <a:gd name="connsiteX3492" fmla="*/ 4389543 w 6187971"/>
              <a:gd name="connsiteY3492" fmla="*/ 820892 h 5955635"/>
              <a:gd name="connsiteX3493" fmla="*/ 4394047 w 6187971"/>
              <a:gd name="connsiteY3493" fmla="*/ 819929 h 5955635"/>
              <a:gd name="connsiteX3494" fmla="*/ 4393085 w 6187971"/>
              <a:gd name="connsiteY3494" fmla="*/ 815425 h 5955635"/>
              <a:gd name="connsiteX3495" fmla="*/ 4388581 w 6187971"/>
              <a:gd name="connsiteY3495" fmla="*/ 816387 h 5955635"/>
              <a:gd name="connsiteX3496" fmla="*/ 4384076 w 6187971"/>
              <a:gd name="connsiteY3496" fmla="*/ 817349 h 5955635"/>
              <a:gd name="connsiteX3497" fmla="*/ 4378611 w 6187971"/>
              <a:gd name="connsiteY3497" fmla="*/ 813807 h 5955635"/>
              <a:gd name="connsiteX3498" fmla="*/ 4362211 w 6187971"/>
              <a:gd name="connsiteY3498" fmla="*/ 803182 h 5955635"/>
              <a:gd name="connsiteX3499" fmla="*/ 4335187 w 6187971"/>
              <a:gd name="connsiteY3499" fmla="*/ 808956 h 5955635"/>
              <a:gd name="connsiteX3500" fmla="*/ 4360594 w 6187971"/>
              <a:gd name="connsiteY3500" fmla="*/ 817656 h 5955635"/>
              <a:gd name="connsiteX3501" fmla="*/ 4351586 w 6187971"/>
              <a:gd name="connsiteY3501" fmla="*/ 819581 h 5955635"/>
              <a:gd name="connsiteX3502" fmla="*/ 4352548 w 6187971"/>
              <a:gd name="connsiteY3502" fmla="*/ 824085 h 5955635"/>
              <a:gd name="connsiteX3503" fmla="*/ 4308817 w 6187971"/>
              <a:gd name="connsiteY3503" fmla="*/ 795751 h 5955635"/>
              <a:gd name="connsiteX3504" fmla="*/ 4266049 w 6187971"/>
              <a:gd name="connsiteY3504" fmla="*/ 771921 h 5955635"/>
              <a:gd name="connsiteX3505" fmla="*/ 4275057 w 6187971"/>
              <a:gd name="connsiteY3505" fmla="*/ 769997 h 5955635"/>
              <a:gd name="connsiteX3506" fmla="*/ 4253192 w 6187971"/>
              <a:gd name="connsiteY3506" fmla="*/ 755830 h 5955635"/>
              <a:gd name="connsiteX3507" fmla="*/ 4233250 w 6187971"/>
              <a:gd name="connsiteY3507" fmla="*/ 750670 h 5955635"/>
              <a:gd name="connsiteX3508" fmla="*/ 4224243 w 6187971"/>
              <a:gd name="connsiteY3508" fmla="*/ 752594 h 5955635"/>
              <a:gd name="connsiteX3509" fmla="*/ 4150601 w 6187971"/>
              <a:gd name="connsiteY3509" fmla="*/ 716522 h 5955635"/>
              <a:gd name="connsiteX3510" fmla="*/ 4135164 w 6187971"/>
              <a:gd name="connsiteY3510" fmla="*/ 710400 h 5955635"/>
              <a:gd name="connsiteX3511" fmla="*/ 4189520 w 6187971"/>
              <a:gd name="connsiteY3511" fmla="*/ 722336 h 5955635"/>
              <a:gd name="connsiteX3512" fmla="*/ 4188557 w 6187971"/>
              <a:gd name="connsiteY3512" fmla="*/ 717832 h 5955635"/>
              <a:gd name="connsiteX3513" fmla="*/ 4197566 w 6187971"/>
              <a:gd name="connsiteY3513" fmla="*/ 715907 h 5955635"/>
              <a:gd name="connsiteX3514" fmla="*/ 4134202 w 6187971"/>
              <a:gd name="connsiteY3514" fmla="*/ 705897 h 5955635"/>
              <a:gd name="connsiteX3515" fmla="*/ 4133240 w 6187971"/>
              <a:gd name="connsiteY3515" fmla="*/ 701393 h 5955635"/>
              <a:gd name="connsiteX3516" fmla="*/ 4137743 w 6187971"/>
              <a:gd name="connsiteY3516" fmla="*/ 700431 h 5955635"/>
              <a:gd name="connsiteX3517" fmla="*/ 4132277 w 6187971"/>
              <a:gd name="connsiteY3517" fmla="*/ 696888 h 5955635"/>
              <a:gd name="connsiteX3518" fmla="*/ 4111373 w 6187971"/>
              <a:gd name="connsiteY3518" fmla="*/ 687226 h 5955635"/>
              <a:gd name="connsiteX3519" fmla="*/ 4106870 w 6187971"/>
              <a:gd name="connsiteY3519" fmla="*/ 688188 h 5955635"/>
              <a:gd name="connsiteX3520" fmla="*/ 4101403 w 6187971"/>
              <a:gd name="connsiteY3520" fmla="*/ 684647 h 5955635"/>
              <a:gd name="connsiteX3521" fmla="*/ 4090471 w 6187971"/>
              <a:gd name="connsiteY3521" fmla="*/ 677562 h 5955635"/>
              <a:gd name="connsiteX3522" fmla="*/ 4089509 w 6187971"/>
              <a:gd name="connsiteY3522" fmla="*/ 673058 h 5955635"/>
              <a:gd name="connsiteX3523" fmla="*/ 4084042 w 6187971"/>
              <a:gd name="connsiteY3523" fmla="*/ 669517 h 5955635"/>
              <a:gd name="connsiteX3524" fmla="*/ 4080500 w 6187971"/>
              <a:gd name="connsiteY3524" fmla="*/ 674983 h 5955635"/>
              <a:gd name="connsiteX3525" fmla="*/ 4050589 w 6187971"/>
              <a:gd name="connsiteY3525" fmla="*/ 667244 h 5955635"/>
              <a:gd name="connsiteX3526" fmla="*/ 4055093 w 6187971"/>
              <a:gd name="connsiteY3526" fmla="*/ 666282 h 5955635"/>
              <a:gd name="connsiteX3527" fmla="*/ 4054131 w 6187971"/>
              <a:gd name="connsiteY3527" fmla="*/ 661779 h 5955635"/>
              <a:gd name="connsiteX3528" fmla="*/ 4049627 w 6187971"/>
              <a:gd name="connsiteY3528" fmla="*/ 662741 h 5955635"/>
              <a:gd name="connsiteX3529" fmla="*/ 4045123 w 6187971"/>
              <a:gd name="connsiteY3529" fmla="*/ 663703 h 5955635"/>
              <a:gd name="connsiteX3530" fmla="*/ 4030648 w 6187971"/>
              <a:gd name="connsiteY3530" fmla="*/ 662086 h 5955635"/>
              <a:gd name="connsiteX3531" fmla="*/ 4036115 w 6187971"/>
              <a:gd name="connsiteY3531" fmla="*/ 665628 h 5955635"/>
              <a:gd name="connsiteX3532" fmla="*/ 4080500 w 6187971"/>
              <a:gd name="connsiteY3532" fmla="*/ 674983 h 5955635"/>
              <a:gd name="connsiteX3533" fmla="*/ 4071492 w 6187971"/>
              <a:gd name="connsiteY3533" fmla="*/ 676907 h 5955635"/>
              <a:gd name="connsiteX3534" fmla="*/ 4072455 w 6187971"/>
              <a:gd name="connsiteY3534" fmla="*/ 681412 h 5955635"/>
              <a:gd name="connsiteX3535" fmla="*/ 4076958 w 6187971"/>
              <a:gd name="connsiteY3535" fmla="*/ 680449 h 5955635"/>
              <a:gd name="connsiteX3536" fmla="*/ 4082425 w 6187971"/>
              <a:gd name="connsiteY3536" fmla="*/ 683991 h 5955635"/>
              <a:gd name="connsiteX3537" fmla="*/ 4086929 w 6187971"/>
              <a:gd name="connsiteY3537" fmla="*/ 683029 h 5955635"/>
              <a:gd name="connsiteX3538" fmla="*/ 4083387 w 6187971"/>
              <a:gd name="connsiteY3538" fmla="*/ 688496 h 5955635"/>
              <a:gd name="connsiteX3539" fmla="*/ 4053476 w 6187971"/>
              <a:gd name="connsiteY3539" fmla="*/ 680756 h 5955635"/>
              <a:gd name="connsiteX3540" fmla="*/ 3998561 w 6187971"/>
              <a:gd name="connsiteY3540" fmla="*/ 660699 h 5955635"/>
              <a:gd name="connsiteX3541" fmla="*/ 3993680 w 6187971"/>
              <a:gd name="connsiteY3541" fmla="*/ 659158 h 5955635"/>
              <a:gd name="connsiteX3542" fmla="*/ 3795199 w 6187971"/>
              <a:gd name="connsiteY3542" fmla="*/ 553069 h 5955635"/>
              <a:gd name="connsiteX3543" fmla="*/ 3610375 w 6187971"/>
              <a:gd name="connsiteY3543" fmla="*/ 502608 h 5955635"/>
              <a:gd name="connsiteX3544" fmla="*/ 3188329 w 6187971"/>
              <a:gd name="connsiteY3544" fmla="*/ 467631 h 5955635"/>
              <a:gd name="connsiteX3545" fmla="*/ 2059975 w 6187971"/>
              <a:gd name="connsiteY3545" fmla="*/ 659812 h 5955635"/>
              <a:gd name="connsiteX3546" fmla="*/ 1819343 w 6187971"/>
              <a:gd name="connsiteY3546" fmla="*/ 787483 h 5955635"/>
              <a:gd name="connsiteX3547" fmla="*/ 1454955 w 6187971"/>
              <a:gd name="connsiteY3547" fmla="*/ 1031541 h 5955635"/>
              <a:gd name="connsiteX3548" fmla="*/ 1413812 w 6187971"/>
              <a:gd name="connsiteY3548" fmla="*/ 1040331 h 5955635"/>
              <a:gd name="connsiteX3549" fmla="*/ 1408084 w 6187971"/>
              <a:gd name="connsiteY3549" fmla="*/ 1030679 h 5955635"/>
              <a:gd name="connsiteX3550" fmla="*/ 1408033 w 6187971"/>
              <a:gd name="connsiteY3550" fmla="*/ 1028519 h 5955635"/>
              <a:gd name="connsiteX3551" fmla="*/ 1412039 w 6187971"/>
              <a:gd name="connsiteY3551" fmla="*/ 1024844 h 5955635"/>
              <a:gd name="connsiteX3552" fmla="*/ 1971913 w 6187971"/>
              <a:gd name="connsiteY3552" fmla="*/ 659219 h 5955635"/>
              <a:gd name="connsiteX3553" fmla="*/ 1977379 w 6187971"/>
              <a:gd name="connsiteY3553" fmla="*/ 662762 h 5955635"/>
              <a:gd name="connsiteX3554" fmla="*/ 1981883 w 6187971"/>
              <a:gd name="connsiteY3554" fmla="*/ 661799 h 5955635"/>
              <a:gd name="connsiteX3555" fmla="*/ 1987350 w 6187971"/>
              <a:gd name="connsiteY3555" fmla="*/ 665340 h 5955635"/>
              <a:gd name="connsiteX3556" fmla="*/ 1979303 w 6187971"/>
              <a:gd name="connsiteY3556" fmla="*/ 671769 h 5955635"/>
              <a:gd name="connsiteX3557" fmla="*/ 1980266 w 6187971"/>
              <a:gd name="connsiteY3557" fmla="*/ 676274 h 5955635"/>
              <a:gd name="connsiteX3558" fmla="*/ 1984770 w 6187971"/>
              <a:gd name="connsiteY3558" fmla="*/ 675311 h 5955635"/>
              <a:gd name="connsiteX3559" fmla="*/ 1989274 w 6187971"/>
              <a:gd name="connsiteY3559" fmla="*/ 674349 h 5955635"/>
              <a:gd name="connsiteX3560" fmla="*/ 1992816 w 6187971"/>
              <a:gd name="connsiteY3560" fmla="*/ 668882 h 5955635"/>
              <a:gd name="connsiteX3561" fmla="*/ 1997320 w 6187971"/>
              <a:gd name="connsiteY3561" fmla="*/ 667920 h 5955635"/>
              <a:gd name="connsiteX3562" fmla="*/ 2012756 w 6187971"/>
              <a:gd name="connsiteY3562" fmla="*/ 674041 h 5955635"/>
              <a:gd name="connsiteX3563" fmla="*/ 2014374 w 6187971"/>
              <a:gd name="connsiteY3563" fmla="*/ 659567 h 5955635"/>
              <a:gd name="connsiteX3564" fmla="*/ 2009869 w 6187971"/>
              <a:gd name="connsiteY3564" fmla="*/ 660529 h 5955635"/>
              <a:gd name="connsiteX3565" fmla="*/ 2008907 w 6187971"/>
              <a:gd name="connsiteY3565" fmla="*/ 656026 h 5955635"/>
              <a:gd name="connsiteX3566" fmla="*/ 1995395 w 6187971"/>
              <a:gd name="connsiteY3566" fmla="*/ 658912 h 5955635"/>
              <a:gd name="connsiteX3567" fmla="*/ 1991854 w 6187971"/>
              <a:gd name="connsiteY3567" fmla="*/ 664378 h 5955635"/>
              <a:gd name="connsiteX3568" fmla="*/ 1994433 w 6187971"/>
              <a:gd name="connsiteY3568" fmla="*/ 654408 h 5955635"/>
              <a:gd name="connsiteX3569" fmla="*/ 1998937 w 6187971"/>
              <a:gd name="connsiteY3569" fmla="*/ 653446 h 5955635"/>
              <a:gd name="connsiteX3570" fmla="*/ 2006983 w 6187971"/>
              <a:gd name="connsiteY3570" fmla="*/ 647017 h 5955635"/>
              <a:gd name="connsiteX3571" fmla="*/ 2002479 w 6187971"/>
              <a:gd name="connsiteY3571" fmla="*/ 647979 h 5955635"/>
              <a:gd name="connsiteX3572" fmla="*/ 2213556 w 6187971"/>
              <a:gd name="connsiteY3572" fmla="*/ 555787 h 5955635"/>
              <a:gd name="connsiteX3573" fmla="*/ 2233497 w 6187971"/>
              <a:gd name="connsiteY3573" fmla="*/ 560947 h 5955635"/>
              <a:gd name="connsiteX3574" fmla="*/ 2222565 w 6187971"/>
              <a:gd name="connsiteY3574" fmla="*/ 553862 h 5955635"/>
              <a:gd name="connsiteX3575" fmla="*/ 2227068 w 6187971"/>
              <a:gd name="connsiteY3575" fmla="*/ 552900 h 5955635"/>
              <a:gd name="connsiteX3576" fmla="*/ 2659387 w 6187971"/>
              <a:gd name="connsiteY3576" fmla="*/ 432280 h 5955635"/>
              <a:gd name="connsiteX3577" fmla="*/ 2580211 w 6187971"/>
              <a:gd name="connsiteY3577" fmla="*/ 28532 h 5955635"/>
              <a:gd name="connsiteX3578" fmla="*/ 2760003 w 6187971"/>
              <a:gd name="connsiteY3578" fmla="*/ 9674 h 5955635"/>
              <a:gd name="connsiteX3579" fmla="*/ 4206393 w 6187971"/>
              <a:gd name="connsiteY3579" fmla="*/ 216884 h 5955635"/>
              <a:gd name="connsiteX3580" fmla="*/ 4962093 w 6187971"/>
              <a:gd name="connsiteY3580" fmla="*/ 669428 h 5955635"/>
              <a:gd name="connsiteX3581" fmla="*/ 5227886 w 6187971"/>
              <a:gd name="connsiteY3581" fmla="*/ 888353 h 5955635"/>
              <a:gd name="connsiteX3582" fmla="*/ 5331187 w 6187971"/>
              <a:gd name="connsiteY3582" fmla="*/ 1014893 h 5955635"/>
              <a:gd name="connsiteX3583" fmla="*/ 5518959 w 6187971"/>
              <a:gd name="connsiteY3583" fmla="*/ 1262220 h 5955635"/>
              <a:gd name="connsiteX3584" fmla="*/ 5467079 w 6187971"/>
              <a:gd name="connsiteY3584" fmla="*/ 1138382 h 5955635"/>
              <a:gd name="connsiteX3585" fmla="*/ 5724761 w 6187971"/>
              <a:gd name="connsiteY3585" fmla="*/ 1511561 h 5955635"/>
              <a:gd name="connsiteX3586" fmla="*/ 5659466 w 6187971"/>
              <a:gd name="connsiteY3586" fmla="*/ 1480536 h 5955635"/>
              <a:gd name="connsiteX3587" fmla="*/ 5720297 w 6187971"/>
              <a:gd name="connsiteY3587" fmla="*/ 1600507 h 5955635"/>
              <a:gd name="connsiteX3588" fmla="*/ 5738327 w 6187971"/>
              <a:gd name="connsiteY3588" fmla="*/ 1602521 h 5955635"/>
              <a:gd name="connsiteX3589" fmla="*/ 5788406 w 6187971"/>
              <a:gd name="connsiteY3589" fmla="*/ 1617243 h 5955635"/>
              <a:gd name="connsiteX3590" fmla="*/ 5933129 w 6187971"/>
              <a:gd name="connsiteY3590" fmla="*/ 1928517 h 5955635"/>
              <a:gd name="connsiteX3591" fmla="*/ 6015900 w 6187971"/>
              <a:gd name="connsiteY3591" fmla="*/ 2206099 h 5955635"/>
              <a:gd name="connsiteX3592" fmla="*/ 6018824 w 6187971"/>
              <a:gd name="connsiteY3592" fmla="*/ 2228938 h 5955635"/>
              <a:gd name="connsiteX3593" fmla="*/ 6006787 w 6187971"/>
              <a:gd name="connsiteY3593" fmla="*/ 2254975 h 5955635"/>
              <a:gd name="connsiteX3594" fmla="*/ 5981821 w 6187971"/>
              <a:gd name="connsiteY3594" fmla="*/ 2238800 h 5955635"/>
              <a:gd name="connsiteX3595" fmla="*/ 5955690 w 6187971"/>
              <a:gd name="connsiteY3595" fmla="*/ 2162256 h 5955635"/>
              <a:gd name="connsiteX3596" fmla="*/ 5938475 w 6187971"/>
              <a:gd name="connsiteY3596" fmla="*/ 2136603 h 5955635"/>
              <a:gd name="connsiteX3597" fmla="*/ 5953240 w 6187971"/>
              <a:gd name="connsiteY3597" fmla="*/ 2233173 h 5955635"/>
              <a:gd name="connsiteX3598" fmla="*/ 6087185 w 6187971"/>
              <a:gd name="connsiteY3598" fmla="*/ 2695361 h 5955635"/>
              <a:gd name="connsiteX3599" fmla="*/ 6081069 w 6187971"/>
              <a:gd name="connsiteY3599" fmla="*/ 3289153 h 5955635"/>
              <a:gd name="connsiteX3600" fmla="*/ 5808111 w 6187971"/>
              <a:gd name="connsiteY3600" fmla="*/ 4272372 h 5955635"/>
              <a:gd name="connsiteX3601" fmla="*/ 5083073 w 6187971"/>
              <a:gd name="connsiteY3601" fmla="*/ 5189877 h 5955635"/>
              <a:gd name="connsiteX3602" fmla="*/ 4748863 w 6187971"/>
              <a:gd name="connsiteY3602" fmla="*/ 5447042 h 5955635"/>
              <a:gd name="connsiteX3603" fmla="*/ 3740846 w 6187971"/>
              <a:gd name="connsiteY3603" fmla="*/ 5863806 h 5955635"/>
              <a:gd name="connsiteX3604" fmla="*/ 3169933 w 6187971"/>
              <a:gd name="connsiteY3604" fmla="*/ 5946671 h 5955635"/>
              <a:gd name="connsiteX3605" fmla="*/ 2972383 w 6187971"/>
              <a:gd name="connsiteY3605" fmla="*/ 5955635 h 5955635"/>
              <a:gd name="connsiteX3606" fmla="*/ 2888242 w 6187971"/>
              <a:gd name="connsiteY3606" fmla="*/ 5946236 h 5955635"/>
              <a:gd name="connsiteX3607" fmla="*/ 2773508 w 6187971"/>
              <a:gd name="connsiteY3607" fmla="*/ 5949239 h 5955635"/>
              <a:gd name="connsiteX3608" fmla="*/ 2719689 w 6187971"/>
              <a:gd name="connsiteY3608" fmla="*/ 5935317 h 5955635"/>
              <a:gd name="connsiteX3609" fmla="*/ 2651853 w 6187971"/>
              <a:gd name="connsiteY3609" fmla="*/ 5910702 h 5955635"/>
              <a:gd name="connsiteX3610" fmla="*/ 2524570 w 6187971"/>
              <a:gd name="connsiteY3610" fmla="*/ 5900743 h 5955635"/>
              <a:gd name="connsiteX3611" fmla="*/ 2303959 w 6187971"/>
              <a:gd name="connsiteY3611" fmla="*/ 5838373 h 5955635"/>
              <a:gd name="connsiteX3612" fmla="*/ 1704545 w 6187971"/>
              <a:gd name="connsiteY3612" fmla="*/ 5577311 h 5955635"/>
              <a:gd name="connsiteX3613" fmla="*/ 1349927 w 6187971"/>
              <a:gd name="connsiteY3613" fmla="*/ 5363675 h 5955635"/>
              <a:gd name="connsiteX3614" fmla="*/ 1326431 w 6187971"/>
              <a:gd name="connsiteY3614" fmla="*/ 5345230 h 5955635"/>
              <a:gd name="connsiteX3615" fmla="*/ 1324450 w 6187971"/>
              <a:gd name="connsiteY3615" fmla="*/ 5308501 h 5955635"/>
              <a:gd name="connsiteX3616" fmla="*/ 1353031 w 6187971"/>
              <a:gd name="connsiteY3616" fmla="*/ 5314127 h 5955635"/>
              <a:gd name="connsiteX3617" fmla="*/ 1535006 w 6187971"/>
              <a:gd name="connsiteY3617" fmla="*/ 5433636 h 5955635"/>
              <a:gd name="connsiteX3618" fmla="*/ 1570795 w 6187971"/>
              <a:gd name="connsiteY3618" fmla="*/ 5445544 h 5955635"/>
              <a:gd name="connsiteX3619" fmla="*/ 1578274 w 6187971"/>
              <a:gd name="connsiteY3619" fmla="*/ 5443946 h 5955635"/>
              <a:gd name="connsiteX3620" fmla="*/ 1573335 w 6187971"/>
              <a:gd name="connsiteY3620" fmla="*/ 5439134 h 5955635"/>
              <a:gd name="connsiteX3621" fmla="*/ 1245045 w 6187971"/>
              <a:gd name="connsiteY3621" fmla="*/ 5202275 h 5955635"/>
              <a:gd name="connsiteX3622" fmla="*/ 1146122 w 6187971"/>
              <a:gd name="connsiteY3622" fmla="*/ 5123684 h 5955635"/>
              <a:gd name="connsiteX3623" fmla="*/ 1114075 w 6187971"/>
              <a:gd name="connsiteY3623" fmla="*/ 5110977 h 5955635"/>
              <a:gd name="connsiteX3624" fmla="*/ 1239256 w 6187971"/>
              <a:gd name="connsiteY3624" fmla="*/ 5275861 h 5955635"/>
              <a:gd name="connsiteX3625" fmla="*/ 647691 w 6187971"/>
              <a:gd name="connsiteY3625" fmla="*/ 4639642 h 5955635"/>
              <a:gd name="connsiteX3626" fmla="*/ 698822 w 6187971"/>
              <a:gd name="connsiteY3626" fmla="*/ 4677603 h 5955635"/>
              <a:gd name="connsiteX3627" fmla="*/ 744471 w 6187971"/>
              <a:gd name="connsiteY3627" fmla="*/ 4726512 h 5955635"/>
              <a:gd name="connsiteX3628" fmla="*/ 859121 w 6187971"/>
              <a:gd name="connsiteY3628" fmla="*/ 4860405 h 5955635"/>
              <a:gd name="connsiteX3629" fmla="*/ 869143 w 6187971"/>
              <a:gd name="connsiteY3629" fmla="*/ 4852397 h 5955635"/>
              <a:gd name="connsiteX3630" fmla="*/ 750753 w 6187971"/>
              <a:gd name="connsiteY3630" fmla="*/ 4719304 h 5955635"/>
              <a:gd name="connsiteX3631" fmla="*/ 408923 w 6187971"/>
              <a:gd name="connsiteY3631" fmla="*/ 4135320 h 5955635"/>
              <a:gd name="connsiteX3632" fmla="*/ 164008 w 6187971"/>
              <a:gd name="connsiteY3632" fmla="*/ 2787582 h 5955635"/>
              <a:gd name="connsiteX3633" fmla="*/ 184206 w 6187971"/>
              <a:gd name="connsiteY3633" fmla="*/ 2525154 h 5955635"/>
              <a:gd name="connsiteX3634" fmla="*/ 195172 w 6187971"/>
              <a:gd name="connsiteY3634" fmla="*/ 2503257 h 5955635"/>
              <a:gd name="connsiteX3635" fmla="*/ 203581 w 6187971"/>
              <a:gd name="connsiteY3635" fmla="*/ 2515148 h 5955635"/>
              <a:gd name="connsiteX3636" fmla="*/ 227360 w 6187971"/>
              <a:gd name="connsiteY3636" fmla="*/ 3358710 h 5955635"/>
              <a:gd name="connsiteX3637" fmla="*/ 327131 w 6187971"/>
              <a:gd name="connsiteY3637" fmla="*/ 3789091 h 5955635"/>
              <a:gd name="connsiteX3638" fmla="*/ 340188 w 6187971"/>
              <a:gd name="connsiteY3638" fmla="*/ 3841053 h 5955635"/>
              <a:gd name="connsiteX3639" fmla="*/ 356203 w 6187971"/>
              <a:gd name="connsiteY3639" fmla="*/ 3861096 h 5955635"/>
              <a:gd name="connsiteX3640" fmla="*/ 365970 w 6187971"/>
              <a:gd name="connsiteY3640" fmla="*/ 3833590 h 5955635"/>
              <a:gd name="connsiteX3641" fmla="*/ 307461 w 6187971"/>
              <a:gd name="connsiteY3641" fmla="*/ 3632951 h 5955635"/>
              <a:gd name="connsiteX3642" fmla="*/ 402527 w 6187971"/>
              <a:gd name="connsiteY3642" fmla="*/ 1981840 h 5955635"/>
              <a:gd name="connsiteX3643" fmla="*/ 407611 w 6187971"/>
              <a:gd name="connsiteY3643" fmla="*/ 1969022 h 5955635"/>
              <a:gd name="connsiteX3644" fmla="*/ 419903 w 6187971"/>
              <a:gd name="connsiteY3644" fmla="*/ 1962484 h 5955635"/>
              <a:gd name="connsiteX3645" fmla="*/ 392454 w 6187971"/>
              <a:gd name="connsiteY3645" fmla="*/ 2071985 h 5955635"/>
              <a:gd name="connsiteX3646" fmla="*/ 253961 w 6187971"/>
              <a:gd name="connsiteY3646" fmla="*/ 2897420 h 5955635"/>
              <a:gd name="connsiteX3647" fmla="*/ 260448 w 6187971"/>
              <a:gd name="connsiteY3647" fmla="*/ 2991849 h 5955635"/>
              <a:gd name="connsiteX3648" fmla="*/ 272323 w 6187971"/>
              <a:gd name="connsiteY3648" fmla="*/ 3010820 h 5955635"/>
              <a:gd name="connsiteX3649" fmla="*/ 290098 w 6187971"/>
              <a:gd name="connsiteY3649" fmla="*/ 2993336 h 5955635"/>
              <a:gd name="connsiteX3650" fmla="*/ 304677 w 6187971"/>
              <a:gd name="connsiteY3650" fmla="*/ 2960890 h 5955635"/>
              <a:gd name="connsiteX3651" fmla="*/ 407652 w 6187971"/>
              <a:gd name="connsiteY3651" fmla="*/ 3607635 h 5955635"/>
              <a:gd name="connsiteX3652" fmla="*/ 440447 w 6187971"/>
              <a:gd name="connsiteY3652" fmla="*/ 3706220 h 5955635"/>
              <a:gd name="connsiteX3653" fmla="*/ 415132 w 6187971"/>
              <a:gd name="connsiteY3653" fmla="*/ 3606037 h 5955635"/>
              <a:gd name="connsiteX3654" fmla="*/ 337201 w 6187971"/>
              <a:gd name="connsiteY3654" fmla="*/ 3067354 h 5955635"/>
              <a:gd name="connsiteX3655" fmla="*/ 477138 w 6187971"/>
              <a:gd name="connsiteY3655" fmla="*/ 2065625 h 5955635"/>
              <a:gd name="connsiteX3656" fmla="*/ 489702 w 6187971"/>
              <a:gd name="connsiteY3656" fmla="*/ 2051208 h 5955635"/>
              <a:gd name="connsiteX3657" fmla="*/ 430613 w 6187971"/>
              <a:gd name="connsiteY3657" fmla="*/ 3413056 h 5955635"/>
              <a:gd name="connsiteX3658" fmla="*/ 428865 w 6187971"/>
              <a:gd name="connsiteY3658" fmla="*/ 3386728 h 5955635"/>
              <a:gd name="connsiteX3659" fmla="*/ 466894 w 6187971"/>
              <a:gd name="connsiteY3659" fmla="*/ 3622863 h 5955635"/>
              <a:gd name="connsiteX3660" fmla="*/ 489988 w 6187971"/>
              <a:gd name="connsiteY3660" fmla="*/ 3730960 h 5955635"/>
              <a:gd name="connsiteX3661" fmla="*/ 599154 w 6187971"/>
              <a:gd name="connsiteY3661" fmla="*/ 4065569 h 5955635"/>
              <a:gd name="connsiteX3662" fmla="*/ 634491 w 6187971"/>
              <a:gd name="connsiteY3662" fmla="*/ 4142793 h 5955635"/>
              <a:gd name="connsiteX3663" fmla="*/ 639302 w 6187971"/>
              <a:gd name="connsiteY3663" fmla="*/ 4165313 h 5955635"/>
              <a:gd name="connsiteX3664" fmla="*/ 643807 w 6187971"/>
              <a:gd name="connsiteY3664" fmla="*/ 4164351 h 5955635"/>
              <a:gd name="connsiteX3665" fmla="*/ 1044223 w 6187971"/>
              <a:gd name="connsiteY3665" fmla="*/ 4804087 h 5955635"/>
              <a:gd name="connsiteX3666" fmla="*/ 1194661 w 6187971"/>
              <a:gd name="connsiteY3666" fmla="*/ 4979171 h 5955635"/>
              <a:gd name="connsiteX3667" fmla="*/ 1143540 w 6187971"/>
              <a:gd name="connsiteY3667" fmla="*/ 4938286 h 5955635"/>
              <a:gd name="connsiteX3668" fmla="*/ 1194007 w 6187971"/>
              <a:gd name="connsiteY3668" fmla="*/ 4998149 h 5955635"/>
              <a:gd name="connsiteX3669" fmla="*/ 1243203 w 6187971"/>
              <a:gd name="connsiteY3669" fmla="*/ 5030025 h 5955635"/>
              <a:gd name="connsiteX3670" fmla="*/ 1200128 w 6187971"/>
              <a:gd name="connsiteY3670" fmla="*/ 4982713 h 5955635"/>
              <a:gd name="connsiteX3671" fmla="*/ 1320040 w 6187971"/>
              <a:gd name="connsiteY3671" fmla="*/ 5103092 h 5955635"/>
              <a:gd name="connsiteX3672" fmla="*/ 1390447 w 6187971"/>
              <a:gd name="connsiteY3672" fmla="*/ 5168114 h 5955635"/>
              <a:gd name="connsiteX3673" fmla="*/ 1438027 w 6187971"/>
              <a:gd name="connsiteY3673" fmla="*/ 5214464 h 5955635"/>
              <a:gd name="connsiteX3674" fmla="*/ 1469862 w 6187971"/>
              <a:gd name="connsiteY3674" fmla="*/ 5231211 h 5955635"/>
              <a:gd name="connsiteX3675" fmla="*/ 4098674 w 6187971"/>
              <a:gd name="connsiteY3675" fmla="*/ 5653890 h 5955635"/>
              <a:gd name="connsiteX3676" fmla="*/ 5058287 w 6187971"/>
              <a:gd name="connsiteY3676" fmla="*/ 5053265 h 5955635"/>
              <a:gd name="connsiteX3677" fmla="*/ 5862270 w 6187971"/>
              <a:gd name="connsiteY3677" fmla="*/ 2776293 h 5955635"/>
              <a:gd name="connsiteX3678" fmla="*/ 5834711 w 6187971"/>
              <a:gd name="connsiteY3678" fmla="*/ 2603214 h 5955635"/>
              <a:gd name="connsiteX3679" fmla="*/ 5838253 w 6187971"/>
              <a:gd name="connsiteY3679" fmla="*/ 2597748 h 5955635"/>
              <a:gd name="connsiteX3680" fmla="*/ 5835366 w 6187971"/>
              <a:gd name="connsiteY3680" fmla="*/ 2584235 h 5955635"/>
              <a:gd name="connsiteX3681" fmla="*/ 5829900 w 6187971"/>
              <a:gd name="connsiteY3681" fmla="*/ 2580694 h 5955635"/>
              <a:gd name="connsiteX3682" fmla="*/ 5802956 w 6187971"/>
              <a:gd name="connsiteY3682" fmla="*/ 2454580 h 5955635"/>
              <a:gd name="connsiteX3683" fmla="*/ 5713385 w 6187971"/>
              <a:gd name="connsiteY3683" fmla="*/ 2167591 h 5955635"/>
              <a:gd name="connsiteX3684" fmla="*/ 5230091 w 6187971"/>
              <a:gd name="connsiteY3684" fmla="*/ 1338337 h 5955635"/>
              <a:gd name="connsiteX3685" fmla="*/ 4852032 w 6187971"/>
              <a:gd name="connsiteY3685" fmla="*/ 957564 h 5955635"/>
              <a:gd name="connsiteX3686" fmla="*/ 4862002 w 6187971"/>
              <a:gd name="connsiteY3686" fmla="*/ 960144 h 5955635"/>
              <a:gd name="connsiteX3687" fmla="*/ 4798985 w 6187971"/>
              <a:gd name="connsiteY3687" fmla="*/ 907672 h 5955635"/>
              <a:gd name="connsiteX3688" fmla="*/ 4760721 w 6187971"/>
              <a:gd name="connsiteY3688" fmla="*/ 882879 h 5955635"/>
              <a:gd name="connsiteX3689" fmla="*/ 4644966 w 6187971"/>
              <a:gd name="connsiteY3689" fmla="*/ 803998 h 5955635"/>
              <a:gd name="connsiteX3690" fmla="*/ 4601235 w 6187971"/>
              <a:gd name="connsiteY3690" fmla="*/ 775665 h 5955635"/>
              <a:gd name="connsiteX3691" fmla="*/ 4191873 w 6187971"/>
              <a:gd name="connsiteY3691" fmla="*/ 556997 h 5955635"/>
              <a:gd name="connsiteX3692" fmla="*/ 4317947 w 6187971"/>
              <a:gd name="connsiteY3692" fmla="*/ 595996 h 5955635"/>
              <a:gd name="connsiteX3693" fmla="*/ 4340774 w 6187971"/>
              <a:gd name="connsiteY3693" fmla="*/ 614667 h 5955635"/>
              <a:gd name="connsiteX3694" fmla="*/ 4468773 w 6187971"/>
              <a:gd name="connsiteY3694" fmla="*/ 662675 h 5955635"/>
              <a:gd name="connsiteX3695" fmla="*/ 4433088 w 6187971"/>
              <a:gd name="connsiteY3695" fmla="*/ 627913 h 5955635"/>
              <a:gd name="connsiteX3696" fmla="*/ 4325031 w 6187971"/>
              <a:gd name="connsiteY3696" fmla="*/ 585063 h 5955635"/>
              <a:gd name="connsiteX3697" fmla="*/ 4302203 w 6187971"/>
              <a:gd name="connsiteY3697" fmla="*/ 566393 h 5955635"/>
              <a:gd name="connsiteX3698" fmla="*/ 4216974 w 6187971"/>
              <a:gd name="connsiteY3698" fmla="*/ 542214 h 5955635"/>
              <a:gd name="connsiteX3699" fmla="*/ 4133361 w 6187971"/>
              <a:gd name="connsiteY3699" fmla="*/ 503562 h 5955635"/>
              <a:gd name="connsiteX3700" fmla="*/ 4109878 w 6187971"/>
              <a:gd name="connsiteY3700" fmla="*/ 503869 h 5955635"/>
              <a:gd name="connsiteX3701" fmla="*/ 4072576 w 6187971"/>
              <a:gd name="connsiteY3701" fmla="*/ 483581 h 5955635"/>
              <a:gd name="connsiteX3702" fmla="*/ 4026266 w 6187971"/>
              <a:gd name="connsiteY3702" fmla="*/ 465217 h 5955635"/>
              <a:gd name="connsiteX3703" fmla="*/ 3970292 w 6187971"/>
              <a:gd name="connsiteY3703" fmla="*/ 467757 h 5955635"/>
              <a:gd name="connsiteX3704" fmla="*/ 3986691 w 6187971"/>
              <a:gd name="connsiteY3704" fmla="*/ 478382 h 5955635"/>
              <a:gd name="connsiteX3705" fmla="*/ 2556561 w 6187971"/>
              <a:gd name="connsiteY3705" fmla="*/ 397733 h 5955635"/>
              <a:gd name="connsiteX3706" fmla="*/ 2508145 w 6187971"/>
              <a:gd name="connsiteY3706" fmla="*/ 410487 h 5955635"/>
              <a:gd name="connsiteX3707" fmla="*/ 2458913 w 6187971"/>
              <a:gd name="connsiteY3707" fmla="*/ 419861 h 5955635"/>
              <a:gd name="connsiteX3708" fmla="*/ 1598952 w 6187971"/>
              <a:gd name="connsiteY3708" fmla="*/ 799372 h 5955635"/>
              <a:gd name="connsiteX3709" fmla="*/ 1473216 w 6187971"/>
              <a:gd name="connsiteY3709" fmla="*/ 879030 h 5955635"/>
              <a:gd name="connsiteX3710" fmla="*/ 1451174 w 6187971"/>
              <a:gd name="connsiteY3710" fmla="*/ 885695 h 5955635"/>
              <a:gd name="connsiteX3711" fmla="*/ 1449321 w 6187971"/>
              <a:gd name="connsiteY3711" fmla="*/ 858715 h 5955635"/>
              <a:gd name="connsiteX3712" fmla="*/ 1500105 w 6187971"/>
              <a:gd name="connsiteY3712" fmla="*/ 812669 h 5955635"/>
              <a:gd name="connsiteX3713" fmla="*/ 1844558 w 6187971"/>
              <a:gd name="connsiteY3713" fmla="*/ 621754 h 5955635"/>
              <a:gd name="connsiteX3714" fmla="*/ 1796350 w 6187971"/>
              <a:gd name="connsiteY3714" fmla="*/ 606633 h 5955635"/>
              <a:gd name="connsiteX3715" fmla="*/ 1915531 w 6187971"/>
              <a:gd name="connsiteY3715" fmla="*/ 542063 h 5955635"/>
              <a:gd name="connsiteX3716" fmla="*/ 2801357 w 6187971"/>
              <a:gd name="connsiteY3716" fmla="*/ 303925 h 5955635"/>
              <a:gd name="connsiteX3717" fmla="*/ 3448335 w 6187971"/>
              <a:gd name="connsiteY3717" fmla="*/ 329955 h 5955635"/>
              <a:gd name="connsiteX3718" fmla="*/ 3639713 w 6187971"/>
              <a:gd name="connsiteY3718" fmla="*/ 365329 h 5955635"/>
              <a:gd name="connsiteX3719" fmla="*/ 3679531 w 6187971"/>
              <a:gd name="connsiteY3719" fmla="*/ 341178 h 5955635"/>
              <a:gd name="connsiteX3720" fmla="*/ 3641345 w 6187971"/>
              <a:gd name="connsiteY3720" fmla="*/ 318050 h 5955635"/>
              <a:gd name="connsiteX3721" fmla="*/ 3579519 w 6187971"/>
              <a:gd name="connsiteY3721" fmla="*/ 294106 h 5955635"/>
              <a:gd name="connsiteX3722" fmla="*/ 3921820 w 6187971"/>
              <a:gd name="connsiteY3722" fmla="*/ 340254 h 5955635"/>
              <a:gd name="connsiteX3723" fmla="*/ 4117320 w 6187971"/>
              <a:gd name="connsiteY3723" fmla="*/ 404078 h 5955635"/>
              <a:gd name="connsiteX3724" fmla="*/ 3929573 w 6187971"/>
              <a:gd name="connsiteY3724" fmla="*/ 330776 h 5955635"/>
              <a:gd name="connsiteX3725" fmla="*/ 3651529 w 6187971"/>
              <a:gd name="connsiteY3725" fmla="*/ 265034 h 5955635"/>
              <a:gd name="connsiteX3726" fmla="*/ 2868463 w 6187971"/>
              <a:gd name="connsiteY3726" fmla="*/ 215284 h 5955635"/>
              <a:gd name="connsiteX3727" fmla="*/ 2767746 w 6187971"/>
              <a:gd name="connsiteY3727" fmla="*/ 228980 h 5955635"/>
              <a:gd name="connsiteX3728" fmla="*/ 2799794 w 6187971"/>
              <a:gd name="connsiteY3728" fmla="*/ 241686 h 5955635"/>
              <a:gd name="connsiteX3729" fmla="*/ 3465473 w 6187971"/>
              <a:gd name="connsiteY3729" fmla="*/ 263721 h 5955635"/>
              <a:gd name="connsiteX3730" fmla="*/ 3497920 w 6187971"/>
              <a:gd name="connsiteY3730" fmla="*/ 278298 h 5955635"/>
              <a:gd name="connsiteX3731" fmla="*/ 3460245 w 6187971"/>
              <a:gd name="connsiteY3731" fmla="*/ 294168 h 5955635"/>
              <a:gd name="connsiteX3732" fmla="*/ 3247224 w 6187971"/>
              <a:gd name="connsiteY3732" fmla="*/ 267329 h 5955635"/>
              <a:gd name="connsiteX3733" fmla="*/ 2317144 w 6187971"/>
              <a:gd name="connsiteY3733" fmla="*/ 362401 h 5955635"/>
              <a:gd name="connsiteX3734" fmla="*/ 1646991 w 6187971"/>
              <a:gd name="connsiteY3734" fmla="*/ 658097 h 5955635"/>
              <a:gd name="connsiteX3735" fmla="*/ 1510978 w 6187971"/>
              <a:gd name="connsiteY3735" fmla="*/ 726263 h 5955635"/>
              <a:gd name="connsiteX3736" fmla="*/ 2562299 w 6187971"/>
              <a:gd name="connsiteY3736" fmla="*/ 265051 h 5955635"/>
              <a:gd name="connsiteX3737" fmla="*/ 2496459 w 6187971"/>
              <a:gd name="connsiteY3737" fmla="*/ 249786 h 5955635"/>
              <a:gd name="connsiteX3738" fmla="*/ 2679065 w 6187971"/>
              <a:gd name="connsiteY3738" fmla="*/ 216639 h 5955635"/>
              <a:gd name="connsiteX3739" fmla="*/ 2939402 w 6187971"/>
              <a:gd name="connsiteY3739" fmla="*/ 190351 h 5955635"/>
              <a:gd name="connsiteX3740" fmla="*/ 2959175 w 6187971"/>
              <a:gd name="connsiteY3740" fmla="*/ 182215 h 5955635"/>
              <a:gd name="connsiteX3741" fmla="*/ 2939547 w 6187971"/>
              <a:gd name="connsiteY3741" fmla="*/ 172721 h 5955635"/>
              <a:gd name="connsiteX3742" fmla="*/ 2616967 w 6187971"/>
              <a:gd name="connsiteY3742" fmla="*/ 200575 h 5955635"/>
              <a:gd name="connsiteX3743" fmla="*/ 2537493 w 6187971"/>
              <a:gd name="connsiteY3743" fmla="*/ 203867 h 5955635"/>
              <a:gd name="connsiteX3744" fmla="*/ 2217149 w 6187971"/>
              <a:gd name="connsiteY3744" fmla="*/ 287950 h 5955635"/>
              <a:gd name="connsiteX3745" fmla="*/ 1542585 w 6187971"/>
              <a:gd name="connsiteY3745" fmla="*/ 590454 h 5955635"/>
              <a:gd name="connsiteX3746" fmla="*/ 1168430 w 6187971"/>
              <a:gd name="connsiteY3746" fmla="*/ 862020 h 5955635"/>
              <a:gd name="connsiteX3747" fmla="*/ 1130881 w 6187971"/>
              <a:gd name="connsiteY3747" fmla="*/ 887640 h 5955635"/>
              <a:gd name="connsiteX3748" fmla="*/ 1168592 w 6187971"/>
              <a:gd name="connsiteY3748" fmla="*/ 817011 h 5955635"/>
              <a:gd name="connsiteX3749" fmla="*/ 1476602 w 6187971"/>
              <a:gd name="connsiteY3749" fmla="*/ 592819 h 5955635"/>
              <a:gd name="connsiteX3750" fmla="*/ 2591346 w 6187971"/>
              <a:gd name="connsiteY3750" fmla="*/ 163030 h 5955635"/>
              <a:gd name="connsiteX3751" fmla="*/ 3091031 w 6187971"/>
              <a:gd name="connsiteY3751" fmla="*/ 140357 h 5955635"/>
              <a:gd name="connsiteX3752" fmla="*/ 3716875 w 6187971"/>
              <a:gd name="connsiteY3752" fmla="*/ 213921 h 5955635"/>
              <a:gd name="connsiteX3753" fmla="*/ 3758928 w 6187971"/>
              <a:gd name="connsiteY3753" fmla="*/ 245999 h 5955635"/>
              <a:gd name="connsiteX3754" fmla="*/ 3775216 w 6187971"/>
              <a:gd name="connsiteY3754" fmla="*/ 258163 h 5955635"/>
              <a:gd name="connsiteX3755" fmla="*/ 4143920 w 6187971"/>
              <a:gd name="connsiteY3755" fmla="*/ 372975 h 5955635"/>
              <a:gd name="connsiteX3756" fmla="*/ 4155540 w 6187971"/>
              <a:gd name="connsiteY3756" fmla="*/ 372448 h 5955635"/>
              <a:gd name="connsiteX3757" fmla="*/ 4123382 w 6187971"/>
              <a:gd name="connsiteY3757" fmla="*/ 322612 h 5955635"/>
              <a:gd name="connsiteX3758" fmla="*/ 3554239 w 6187971"/>
              <a:gd name="connsiteY3758" fmla="*/ 139165 h 5955635"/>
              <a:gd name="connsiteX3759" fmla="*/ 2590565 w 6187971"/>
              <a:gd name="connsiteY3759" fmla="*/ 131911 h 5955635"/>
              <a:gd name="connsiteX3760" fmla="*/ 2058218 w 6187971"/>
              <a:gd name="connsiteY3760" fmla="*/ 267154 h 5955635"/>
              <a:gd name="connsiteX3761" fmla="*/ 1849558 w 6187971"/>
              <a:gd name="connsiteY3761" fmla="*/ 315643 h 5955635"/>
              <a:gd name="connsiteX3762" fmla="*/ 2520059 w 6187971"/>
              <a:gd name="connsiteY3762" fmla="*/ 103956 h 5955635"/>
              <a:gd name="connsiteX3763" fmla="*/ 3222250 w 6187971"/>
              <a:gd name="connsiteY3763" fmla="*/ 49751 h 5955635"/>
              <a:gd name="connsiteX3764" fmla="*/ 2580338 w 6187971"/>
              <a:gd name="connsiteY3764" fmla="*/ 38281 h 5955635"/>
              <a:gd name="connsiteX3765" fmla="*/ 2580211 w 6187971"/>
              <a:gd name="connsiteY3765" fmla="*/ 28532 h 595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</a:cxnLst>
            <a:rect l="l" t="t" r="r" b="b"/>
            <a:pathLst>
              <a:path w="6187971" h="5955635">
                <a:moveTo>
                  <a:pt x="3175848" y="5544922"/>
                </a:moveTo>
                <a:cubicBezTo>
                  <a:pt x="3180352" y="5543959"/>
                  <a:pt x="3180352" y="5543959"/>
                  <a:pt x="3184857" y="5542997"/>
                </a:cubicBezTo>
                <a:lnTo>
                  <a:pt x="3185794" y="5544792"/>
                </a:lnTo>
                <a:close/>
                <a:moveTo>
                  <a:pt x="3509992" y="5452506"/>
                </a:moveTo>
                <a:lnTo>
                  <a:pt x="3560810" y="5445094"/>
                </a:lnTo>
                <a:lnTo>
                  <a:pt x="3523318" y="5451849"/>
                </a:lnTo>
                <a:cubicBezTo>
                  <a:pt x="3523318" y="5451849"/>
                  <a:pt x="3523318" y="5451849"/>
                  <a:pt x="3518813" y="5452811"/>
                </a:cubicBezTo>
                <a:close/>
                <a:moveTo>
                  <a:pt x="3472811" y="5457929"/>
                </a:moveTo>
                <a:cubicBezTo>
                  <a:pt x="3477314" y="5456967"/>
                  <a:pt x="3477314" y="5456967"/>
                  <a:pt x="3477314" y="5456967"/>
                </a:cubicBezTo>
                <a:cubicBezTo>
                  <a:pt x="3477314" y="5456967"/>
                  <a:pt x="3477314" y="5456967"/>
                  <a:pt x="3481818" y="5456005"/>
                </a:cubicBezTo>
                <a:cubicBezTo>
                  <a:pt x="3486323" y="5455043"/>
                  <a:pt x="3495330" y="5453118"/>
                  <a:pt x="3499835" y="5452156"/>
                </a:cubicBezTo>
                <a:lnTo>
                  <a:pt x="3509992" y="5452506"/>
                </a:lnTo>
                <a:close/>
                <a:moveTo>
                  <a:pt x="4648965" y="5205864"/>
                </a:moveTo>
                <a:lnTo>
                  <a:pt x="4648375" y="5206776"/>
                </a:lnTo>
                <a:cubicBezTo>
                  <a:pt x="4648375" y="5206776"/>
                  <a:pt x="4648375" y="5206776"/>
                  <a:pt x="4643871" y="5207738"/>
                </a:cubicBezTo>
                <a:close/>
                <a:moveTo>
                  <a:pt x="3439358" y="5455658"/>
                </a:moveTo>
                <a:lnTo>
                  <a:pt x="3443861" y="5454695"/>
                </a:lnTo>
                <a:cubicBezTo>
                  <a:pt x="3449327" y="5458236"/>
                  <a:pt x="3458336" y="5456312"/>
                  <a:pt x="3462839" y="5455350"/>
                </a:cubicBezTo>
                <a:cubicBezTo>
                  <a:pt x="3463802" y="5459854"/>
                  <a:pt x="3463802" y="5459854"/>
                  <a:pt x="3463802" y="5459854"/>
                </a:cubicBezTo>
                <a:cubicBezTo>
                  <a:pt x="3463802" y="5459854"/>
                  <a:pt x="3463802" y="5459854"/>
                  <a:pt x="3464764" y="5464358"/>
                </a:cubicBezTo>
                <a:cubicBezTo>
                  <a:pt x="3445785" y="5463703"/>
                  <a:pt x="3409754" y="5471401"/>
                  <a:pt x="3386270" y="5471708"/>
                </a:cubicBezTo>
                <a:cubicBezTo>
                  <a:pt x="3394316" y="5465280"/>
                  <a:pt x="3441282" y="5464665"/>
                  <a:pt x="3439358" y="5455658"/>
                </a:cubicBezTo>
                <a:close/>
                <a:moveTo>
                  <a:pt x="4926827" y="4878836"/>
                </a:moveTo>
                <a:cubicBezTo>
                  <a:pt x="4926827" y="4878836"/>
                  <a:pt x="4926827" y="4878836"/>
                  <a:pt x="4931331" y="4877874"/>
                </a:cubicBezTo>
                <a:lnTo>
                  <a:pt x="4927253" y="4880833"/>
                </a:lnTo>
                <a:close/>
                <a:moveTo>
                  <a:pt x="1616921" y="5147987"/>
                </a:moveTo>
                <a:lnTo>
                  <a:pt x="1621158" y="5151791"/>
                </a:lnTo>
                <a:lnTo>
                  <a:pt x="1617883" y="5152491"/>
                </a:lnTo>
                <a:cubicBezTo>
                  <a:pt x="1617883" y="5152491"/>
                  <a:pt x="1617883" y="5152491"/>
                  <a:pt x="1616921" y="5147987"/>
                </a:cubicBezTo>
                <a:close/>
                <a:moveTo>
                  <a:pt x="6029280" y="4202957"/>
                </a:moveTo>
                <a:cubicBezTo>
                  <a:pt x="6032957" y="4202171"/>
                  <a:pt x="6032957" y="4202171"/>
                  <a:pt x="6033742" y="4205846"/>
                </a:cubicBezTo>
                <a:cubicBezTo>
                  <a:pt x="6033742" y="4205846"/>
                  <a:pt x="6034527" y="4209520"/>
                  <a:pt x="6030850" y="4210306"/>
                </a:cubicBezTo>
                <a:cubicBezTo>
                  <a:pt x="6030065" y="4206631"/>
                  <a:pt x="6030065" y="4206631"/>
                  <a:pt x="6030065" y="4206631"/>
                </a:cubicBezTo>
                <a:cubicBezTo>
                  <a:pt x="6030065" y="4206631"/>
                  <a:pt x="6029280" y="4202957"/>
                  <a:pt x="6029280" y="4202957"/>
                </a:cubicBezTo>
                <a:close/>
                <a:moveTo>
                  <a:pt x="5195431" y="4350487"/>
                </a:moveTo>
                <a:lnTo>
                  <a:pt x="5195619" y="4350447"/>
                </a:lnTo>
                <a:lnTo>
                  <a:pt x="5191889" y="4355954"/>
                </a:lnTo>
                <a:cubicBezTo>
                  <a:pt x="5196393" y="4354992"/>
                  <a:pt x="5195431" y="4350487"/>
                  <a:pt x="5195431" y="4350487"/>
                </a:cubicBezTo>
                <a:close/>
                <a:moveTo>
                  <a:pt x="5135887" y="4358358"/>
                </a:moveTo>
                <a:lnTo>
                  <a:pt x="5135916" y="4358493"/>
                </a:lnTo>
                <a:cubicBezTo>
                  <a:pt x="5135916" y="4358493"/>
                  <a:pt x="5135916" y="4358493"/>
                  <a:pt x="5132374" y="4363959"/>
                </a:cubicBezTo>
                <a:close/>
                <a:moveTo>
                  <a:pt x="1535232" y="5118342"/>
                </a:moveTo>
                <a:cubicBezTo>
                  <a:pt x="1540699" y="5121884"/>
                  <a:pt x="1540699" y="5121884"/>
                  <a:pt x="1540699" y="5121884"/>
                </a:cubicBezTo>
                <a:cubicBezTo>
                  <a:pt x="1546166" y="5125426"/>
                  <a:pt x="1546166" y="5125426"/>
                  <a:pt x="1546166" y="5125426"/>
                </a:cubicBezTo>
                <a:cubicBezTo>
                  <a:pt x="1541661" y="5126389"/>
                  <a:pt x="1541661" y="5126389"/>
                  <a:pt x="1541661" y="5126389"/>
                </a:cubicBezTo>
                <a:cubicBezTo>
                  <a:pt x="1540699" y="5121884"/>
                  <a:pt x="1536195" y="5122847"/>
                  <a:pt x="1535232" y="5118342"/>
                </a:cubicBezTo>
                <a:close/>
                <a:moveTo>
                  <a:pt x="1296561" y="4951097"/>
                </a:moveTo>
                <a:lnTo>
                  <a:pt x="1298982" y="4952173"/>
                </a:lnTo>
                <a:cubicBezTo>
                  <a:pt x="1301153" y="4954064"/>
                  <a:pt x="1302760" y="4956076"/>
                  <a:pt x="1302760" y="4956076"/>
                </a:cubicBezTo>
                <a:cubicBezTo>
                  <a:pt x="1302760" y="4956076"/>
                  <a:pt x="1302760" y="4956076"/>
                  <a:pt x="1297293" y="4952534"/>
                </a:cubicBezTo>
                <a:close/>
                <a:moveTo>
                  <a:pt x="1299553" y="4938864"/>
                </a:moveTo>
                <a:lnTo>
                  <a:pt x="1305339" y="4946105"/>
                </a:lnTo>
                <a:cubicBezTo>
                  <a:pt x="1302125" y="4942083"/>
                  <a:pt x="1300518" y="4940071"/>
                  <a:pt x="1299715" y="4939066"/>
                </a:cubicBezTo>
                <a:close/>
                <a:moveTo>
                  <a:pt x="6187039" y="3627519"/>
                </a:moveTo>
                <a:cubicBezTo>
                  <a:pt x="6187287" y="3646676"/>
                  <a:pt x="6189889" y="3676857"/>
                  <a:pt x="6185137" y="3708609"/>
                </a:cubicBezTo>
                <a:cubicBezTo>
                  <a:pt x="6180385" y="3740361"/>
                  <a:pt x="6174063" y="3764764"/>
                  <a:pt x="6163816" y="3770795"/>
                </a:cubicBezTo>
                <a:cubicBezTo>
                  <a:pt x="6167494" y="3770009"/>
                  <a:pt x="6167494" y="3770009"/>
                  <a:pt x="6168279" y="3773684"/>
                </a:cubicBezTo>
                <a:cubicBezTo>
                  <a:pt x="6165386" y="3778144"/>
                  <a:pt x="6166956" y="3785493"/>
                  <a:pt x="6163279" y="3786278"/>
                </a:cubicBezTo>
                <a:cubicBezTo>
                  <a:pt x="6163279" y="3786278"/>
                  <a:pt x="6164064" y="3789953"/>
                  <a:pt x="6160387" y="3790738"/>
                </a:cubicBezTo>
                <a:cubicBezTo>
                  <a:pt x="6160387" y="3790738"/>
                  <a:pt x="6160387" y="3790738"/>
                  <a:pt x="6164064" y="3789953"/>
                </a:cubicBezTo>
                <a:cubicBezTo>
                  <a:pt x="6172989" y="3795730"/>
                  <a:pt x="6162989" y="3820919"/>
                  <a:pt x="6153775" y="3849782"/>
                </a:cubicBezTo>
                <a:cubicBezTo>
                  <a:pt x="6153775" y="3849782"/>
                  <a:pt x="6153775" y="3849782"/>
                  <a:pt x="6154561" y="3853456"/>
                </a:cubicBezTo>
                <a:cubicBezTo>
                  <a:pt x="6158238" y="3852671"/>
                  <a:pt x="6158238" y="3852671"/>
                  <a:pt x="6155346" y="3857131"/>
                </a:cubicBezTo>
                <a:cubicBezTo>
                  <a:pt x="6155346" y="3857131"/>
                  <a:pt x="6156131" y="3860805"/>
                  <a:pt x="6156131" y="3860805"/>
                </a:cubicBezTo>
                <a:cubicBezTo>
                  <a:pt x="6152454" y="3861591"/>
                  <a:pt x="6152454" y="3861591"/>
                  <a:pt x="6152454" y="3861591"/>
                </a:cubicBezTo>
                <a:cubicBezTo>
                  <a:pt x="6152454" y="3861591"/>
                  <a:pt x="6152454" y="3861591"/>
                  <a:pt x="6156916" y="3864480"/>
                </a:cubicBezTo>
                <a:cubicBezTo>
                  <a:pt x="6154809" y="3872614"/>
                  <a:pt x="6159271" y="3875502"/>
                  <a:pt x="6155841" y="3895446"/>
                </a:cubicBezTo>
                <a:cubicBezTo>
                  <a:pt x="6163196" y="3893874"/>
                  <a:pt x="6165841" y="3870257"/>
                  <a:pt x="6171873" y="3880495"/>
                </a:cubicBezTo>
                <a:cubicBezTo>
                  <a:pt x="6170819" y="3884562"/>
                  <a:pt x="6171212" y="3886399"/>
                  <a:pt x="6171604" y="3888236"/>
                </a:cubicBezTo>
                <a:lnTo>
                  <a:pt x="6171470" y="3892106"/>
                </a:lnTo>
                <a:lnTo>
                  <a:pt x="6170551" y="3892303"/>
                </a:lnTo>
                <a:cubicBezTo>
                  <a:pt x="6171336" y="3895977"/>
                  <a:pt x="6171336" y="3895977"/>
                  <a:pt x="6171336" y="3895977"/>
                </a:cubicBezTo>
                <a:lnTo>
                  <a:pt x="6171470" y="3892106"/>
                </a:lnTo>
                <a:lnTo>
                  <a:pt x="6174228" y="3891517"/>
                </a:lnTo>
                <a:cubicBezTo>
                  <a:pt x="6174228" y="3891517"/>
                  <a:pt x="6175013" y="3895192"/>
                  <a:pt x="6175013" y="3895192"/>
                </a:cubicBezTo>
                <a:cubicBezTo>
                  <a:pt x="6175798" y="3898866"/>
                  <a:pt x="6175798" y="3898866"/>
                  <a:pt x="6175798" y="3898866"/>
                </a:cubicBezTo>
                <a:cubicBezTo>
                  <a:pt x="6172906" y="3903326"/>
                  <a:pt x="6170798" y="3911461"/>
                  <a:pt x="6168691" y="3919595"/>
                </a:cubicBezTo>
                <a:cubicBezTo>
                  <a:pt x="6168691" y="3919595"/>
                  <a:pt x="6165799" y="3924055"/>
                  <a:pt x="6165799" y="3924055"/>
                </a:cubicBezTo>
                <a:cubicBezTo>
                  <a:pt x="6165799" y="3924055"/>
                  <a:pt x="6166584" y="3927730"/>
                  <a:pt x="6163691" y="3932189"/>
                </a:cubicBezTo>
                <a:cubicBezTo>
                  <a:pt x="6163691" y="3932189"/>
                  <a:pt x="6164476" y="3935864"/>
                  <a:pt x="6160799" y="3936650"/>
                </a:cubicBezTo>
                <a:cubicBezTo>
                  <a:pt x="6160014" y="3932975"/>
                  <a:pt x="6160014" y="3932975"/>
                  <a:pt x="6162906" y="3928515"/>
                </a:cubicBezTo>
                <a:cubicBezTo>
                  <a:pt x="6162906" y="3928515"/>
                  <a:pt x="6162121" y="3924841"/>
                  <a:pt x="6165014" y="3920380"/>
                </a:cubicBezTo>
                <a:cubicBezTo>
                  <a:pt x="6159229" y="3929301"/>
                  <a:pt x="6157122" y="3937435"/>
                  <a:pt x="6150552" y="3942681"/>
                </a:cubicBezTo>
                <a:cubicBezTo>
                  <a:pt x="6146090" y="3939792"/>
                  <a:pt x="6147412" y="3927983"/>
                  <a:pt x="6137165" y="3934015"/>
                </a:cubicBezTo>
                <a:cubicBezTo>
                  <a:pt x="6123199" y="3994629"/>
                  <a:pt x="6114232" y="4042650"/>
                  <a:pt x="6088449" y="4101948"/>
                </a:cubicBezTo>
                <a:cubicBezTo>
                  <a:pt x="6089234" y="4105622"/>
                  <a:pt x="6089234" y="4105622"/>
                  <a:pt x="6086341" y="4110083"/>
                </a:cubicBezTo>
                <a:cubicBezTo>
                  <a:pt x="6087126" y="4113757"/>
                  <a:pt x="6083449" y="4114542"/>
                  <a:pt x="6083449" y="4114542"/>
                </a:cubicBezTo>
                <a:cubicBezTo>
                  <a:pt x="6080019" y="4134486"/>
                  <a:pt x="6070020" y="4159674"/>
                  <a:pt x="6059236" y="4181188"/>
                </a:cubicBezTo>
                <a:cubicBezTo>
                  <a:pt x="6055806" y="4201132"/>
                  <a:pt x="6047377" y="4233669"/>
                  <a:pt x="6030808" y="4264104"/>
                </a:cubicBezTo>
                <a:cubicBezTo>
                  <a:pt x="6018701" y="4297427"/>
                  <a:pt x="6002132" y="4327862"/>
                  <a:pt x="5990563" y="4345702"/>
                </a:cubicBezTo>
                <a:cubicBezTo>
                  <a:pt x="5971886" y="4384270"/>
                  <a:pt x="5950318" y="4427299"/>
                  <a:pt x="5931641" y="4465868"/>
                </a:cubicBezTo>
                <a:cubicBezTo>
                  <a:pt x="5912180" y="4500763"/>
                  <a:pt x="5891934" y="4531983"/>
                  <a:pt x="5868547" y="4548506"/>
                </a:cubicBezTo>
                <a:cubicBezTo>
                  <a:pt x="5871440" y="4544045"/>
                  <a:pt x="5874332" y="4539585"/>
                  <a:pt x="5877224" y="4535125"/>
                </a:cubicBezTo>
                <a:cubicBezTo>
                  <a:pt x="5877224" y="4535125"/>
                  <a:pt x="5877224" y="4535125"/>
                  <a:pt x="5870655" y="4540371"/>
                </a:cubicBezTo>
                <a:cubicBezTo>
                  <a:pt x="5871440" y="4544045"/>
                  <a:pt x="5867762" y="4544831"/>
                  <a:pt x="5867762" y="4544831"/>
                </a:cubicBezTo>
                <a:cubicBezTo>
                  <a:pt x="5866977" y="4541157"/>
                  <a:pt x="5866977" y="4541157"/>
                  <a:pt x="5869870" y="4536697"/>
                </a:cubicBezTo>
                <a:cubicBezTo>
                  <a:pt x="5869870" y="4536697"/>
                  <a:pt x="5869870" y="4536697"/>
                  <a:pt x="5869085" y="4533022"/>
                </a:cubicBezTo>
                <a:cubicBezTo>
                  <a:pt x="5848838" y="4564242"/>
                  <a:pt x="5825700" y="4599923"/>
                  <a:pt x="5809916" y="4634032"/>
                </a:cubicBezTo>
                <a:cubicBezTo>
                  <a:pt x="5786529" y="4650554"/>
                  <a:pt x="5760498" y="4690694"/>
                  <a:pt x="5732112" y="4719811"/>
                </a:cubicBezTo>
                <a:cubicBezTo>
                  <a:pt x="5772068" y="4672854"/>
                  <a:pt x="5800743" y="4609097"/>
                  <a:pt x="5839913" y="4558465"/>
                </a:cubicBezTo>
                <a:cubicBezTo>
                  <a:pt x="5852268" y="4544299"/>
                  <a:pt x="5841235" y="4546656"/>
                  <a:pt x="5846236" y="4534062"/>
                </a:cubicBezTo>
                <a:cubicBezTo>
                  <a:pt x="5860697" y="4511762"/>
                  <a:pt x="5870159" y="4502056"/>
                  <a:pt x="5879621" y="4492350"/>
                </a:cubicBezTo>
                <a:cubicBezTo>
                  <a:pt x="5891190" y="4474510"/>
                  <a:pt x="5885943" y="4467947"/>
                  <a:pt x="5893835" y="4450893"/>
                </a:cubicBezTo>
                <a:cubicBezTo>
                  <a:pt x="5906189" y="4436727"/>
                  <a:pt x="5918544" y="4422561"/>
                  <a:pt x="5930898" y="4408396"/>
                </a:cubicBezTo>
                <a:cubicBezTo>
                  <a:pt x="5930898" y="4408396"/>
                  <a:pt x="5930898" y="4408396"/>
                  <a:pt x="5939823" y="4414173"/>
                </a:cubicBezTo>
                <a:cubicBezTo>
                  <a:pt x="5945608" y="4405253"/>
                  <a:pt x="5954285" y="4391873"/>
                  <a:pt x="5959284" y="4379279"/>
                </a:cubicBezTo>
                <a:cubicBezTo>
                  <a:pt x="5959284" y="4379279"/>
                  <a:pt x="5959284" y="4379279"/>
                  <a:pt x="5955607" y="4380064"/>
                </a:cubicBezTo>
                <a:cubicBezTo>
                  <a:pt x="5956392" y="4383739"/>
                  <a:pt x="5953500" y="4388199"/>
                  <a:pt x="5952715" y="4384525"/>
                </a:cubicBezTo>
                <a:cubicBezTo>
                  <a:pt x="5952715" y="4384525"/>
                  <a:pt x="5951930" y="4380850"/>
                  <a:pt x="5951930" y="4380850"/>
                </a:cubicBezTo>
                <a:cubicBezTo>
                  <a:pt x="5948252" y="4381636"/>
                  <a:pt x="5943253" y="4394230"/>
                  <a:pt x="5941683" y="4386882"/>
                </a:cubicBezTo>
                <a:cubicBezTo>
                  <a:pt x="5945897" y="4370612"/>
                  <a:pt x="5950360" y="4373501"/>
                  <a:pt x="5955359" y="4360907"/>
                </a:cubicBezTo>
                <a:cubicBezTo>
                  <a:pt x="5955359" y="4360907"/>
                  <a:pt x="5955359" y="4360907"/>
                  <a:pt x="5954574" y="4357232"/>
                </a:cubicBezTo>
                <a:cubicBezTo>
                  <a:pt x="5954574" y="4357232"/>
                  <a:pt x="5954574" y="4357232"/>
                  <a:pt x="5958251" y="4356446"/>
                </a:cubicBezTo>
                <a:cubicBezTo>
                  <a:pt x="5957466" y="4352772"/>
                  <a:pt x="5960359" y="4348312"/>
                  <a:pt x="5960359" y="4348312"/>
                </a:cubicBezTo>
                <a:cubicBezTo>
                  <a:pt x="5964036" y="4347527"/>
                  <a:pt x="5964036" y="4347527"/>
                  <a:pt x="5964036" y="4347527"/>
                </a:cubicBezTo>
                <a:cubicBezTo>
                  <a:pt x="5965358" y="4335718"/>
                  <a:pt x="5972465" y="4314989"/>
                  <a:pt x="5980357" y="4297935"/>
                </a:cubicBezTo>
                <a:cubicBezTo>
                  <a:pt x="5991927" y="4280095"/>
                  <a:pt x="6000604" y="4266714"/>
                  <a:pt x="6007959" y="4265143"/>
                </a:cubicBezTo>
                <a:cubicBezTo>
                  <a:pt x="6007174" y="4261469"/>
                  <a:pt x="6010851" y="4260683"/>
                  <a:pt x="6010851" y="4260683"/>
                </a:cubicBezTo>
                <a:cubicBezTo>
                  <a:pt x="6010066" y="4257009"/>
                  <a:pt x="6012958" y="4252549"/>
                  <a:pt x="6016636" y="4251763"/>
                </a:cubicBezTo>
                <a:cubicBezTo>
                  <a:pt x="6016636" y="4251763"/>
                  <a:pt x="6016636" y="4251763"/>
                  <a:pt x="6017421" y="4255437"/>
                </a:cubicBezTo>
                <a:cubicBezTo>
                  <a:pt x="6014528" y="4259898"/>
                  <a:pt x="6014528" y="4259898"/>
                  <a:pt x="6014528" y="4259898"/>
                </a:cubicBezTo>
                <a:cubicBezTo>
                  <a:pt x="6014528" y="4259898"/>
                  <a:pt x="6014528" y="4259898"/>
                  <a:pt x="6015313" y="4263572"/>
                </a:cubicBezTo>
                <a:cubicBezTo>
                  <a:pt x="6023205" y="4246518"/>
                  <a:pt x="6019528" y="4247303"/>
                  <a:pt x="6024528" y="4234709"/>
                </a:cubicBezTo>
                <a:cubicBezTo>
                  <a:pt x="6024528" y="4234709"/>
                  <a:pt x="6021635" y="4239169"/>
                  <a:pt x="6021635" y="4239169"/>
                </a:cubicBezTo>
                <a:cubicBezTo>
                  <a:pt x="6021635" y="4239169"/>
                  <a:pt x="6021635" y="4239169"/>
                  <a:pt x="6020850" y="4235494"/>
                </a:cubicBezTo>
                <a:cubicBezTo>
                  <a:pt x="6020850" y="4235494"/>
                  <a:pt x="6020850" y="4235494"/>
                  <a:pt x="6020065" y="4231820"/>
                </a:cubicBezTo>
                <a:cubicBezTo>
                  <a:pt x="6020065" y="4231820"/>
                  <a:pt x="6017958" y="4239955"/>
                  <a:pt x="6013496" y="4237066"/>
                </a:cubicBezTo>
                <a:cubicBezTo>
                  <a:pt x="6018495" y="4224471"/>
                  <a:pt x="6023495" y="4211877"/>
                  <a:pt x="6027957" y="4214766"/>
                </a:cubicBezTo>
                <a:cubicBezTo>
                  <a:pt x="6027957" y="4214766"/>
                  <a:pt x="6027172" y="4211091"/>
                  <a:pt x="6030850" y="4210306"/>
                </a:cubicBezTo>
                <a:cubicBezTo>
                  <a:pt x="6052666" y="4186434"/>
                  <a:pt x="6068450" y="4152325"/>
                  <a:pt x="6078987" y="4111654"/>
                </a:cubicBezTo>
                <a:cubicBezTo>
                  <a:pt x="6078987" y="4111654"/>
                  <a:pt x="6078202" y="4107979"/>
                  <a:pt x="6081879" y="4107194"/>
                </a:cubicBezTo>
                <a:cubicBezTo>
                  <a:pt x="6081094" y="4103519"/>
                  <a:pt x="6083986" y="4099059"/>
                  <a:pt x="6083986" y="4099059"/>
                </a:cubicBezTo>
                <a:cubicBezTo>
                  <a:pt x="6083986" y="4099059"/>
                  <a:pt x="6083986" y="4099059"/>
                  <a:pt x="6084771" y="4102733"/>
                </a:cubicBezTo>
                <a:cubicBezTo>
                  <a:pt x="6086094" y="4090925"/>
                  <a:pt x="6089523" y="4070982"/>
                  <a:pt x="6087953" y="4063633"/>
                </a:cubicBezTo>
                <a:cubicBezTo>
                  <a:pt x="6088738" y="4067307"/>
                  <a:pt x="6088738" y="4067307"/>
                  <a:pt x="6085846" y="4071767"/>
                </a:cubicBezTo>
                <a:cubicBezTo>
                  <a:pt x="6085846" y="4071767"/>
                  <a:pt x="6082169" y="4072553"/>
                  <a:pt x="6082169" y="4072553"/>
                </a:cubicBezTo>
                <a:cubicBezTo>
                  <a:pt x="6081384" y="4068878"/>
                  <a:pt x="6081384" y="4068878"/>
                  <a:pt x="6084276" y="4064419"/>
                </a:cubicBezTo>
                <a:lnTo>
                  <a:pt x="6083990" y="4063082"/>
                </a:lnTo>
                <a:lnTo>
                  <a:pt x="6084968" y="4060909"/>
                </a:lnTo>
                <a:cubicBezTo>
                  <a:pt x="6086052" y="4059236"/>
                  <a:pt x="6086775" y="4058121"/>
                  <a:pt x="6086383" y="4056284"/>
                </a:cubicBezTo>
                <a:cubicBezTo>
                  <a:pt x="6087168" y="4059959"/>
                  <a:pt x="6083491" y="4060744"/>
                  <a:pt x="6083491" y="4060744"/>
                </a:cubicBezTo>
                <a:lnTo>
                  <a:pt x="6083990" y="4063082"/>
                </a:lnTo>
                <a:lnTo>
                  <a:pt x="6081384" y="4068878"/>
                </a:lnTo>
                <a:cubicBezTo>
                  <a:pt x="6085888" y="4017969"/>
                  <a:pt x="6115349" y="3957886"/>
                  <a:pt x="6123530" y="3906191"/>
                </a:cubicBezTo>
                <a:cubicBezTo>
                  <a:pt x="6127208" y="3905405"/>
                  <a:pt x="6131422" y="3889137"/>
                  <a:pt x="6134315" y="3884676"/>
                </a:cubicBezTo>
                <a:cubicBezTo>
                  <a:pt x="6130637" y="3885462"/>
                  <a:pt x="6130637" y="3885462"/>
                  <a:pt x="6129067" y="3878113"/>
                </a:cubicBezTo>
                <a:cubicBezTo>
                  <a:pt x="6129067" y="3878113"/>
                  <a:pt x="6132745" y="3877328"/>
                  <a:pt x="6131959" y="3873653"/>
                </a:cubicBezTo>
                <a:cubicBezTo>
                  <a:pt x="6131175" y="3869979"/>
                  <a:pt x="6134852" y="3869193"/>
                  <a:pt x="6134066" y="3865519"/>
                </a:cubicBezTo>
                <a:cubicBezTo>
                  <a:pt x="6140925" y="3825633"/>
                  <a:pt x="6150387" y="3815927"/>
                  <a:pt x="6157494" y="3795198"/>
                </a:cubicBezTo>
                <a:cubicBezTo>
                  <a:pt x="6157494" y="3795198"/>
                  <a:pt x="6158279" y="3798873"/>
                  <a:pt x="6154602" y="3799658"/>
                </a:cubicBezTo>
                <a:cubicBezTo>
                  <a:pt x="6154602" y="3799658"/>
                  <a:pt x="6150925" y="3800444"/>
                  <a:pt x="6150140" y="3796769"/>
                </a:cubicBezTo>
                <a:cubicBezTo>
                  <a:pt x="6150140" y="3796769"/>
                  <a:pt x="6153032" y="3792310"/>
                  <a:pt x="6153032" y="3792310"/>
                </a:cubicBezTo>
                <a:cubicBezTo>
                  <a:pt x="6152247" y="3788635"/>
                  <a:pt x="6152247" y="3788635"/>
                  <a:pt x="6152247" y="3788635"/>
                </a:cubicBezTo>
                <a:cubicBezTo>
                  <a:pt x="6148322" y="3770263"/>
                  <a:pt x="6160966" y="3721457"/>
                  <a:pt x="6172783" y="3722774"/>
                </a:cubicBezTo>
                <a:cubicBezTo>
                  <a:pt x="6174643" y="3695483"/>
                  <a:pt x="6177040" y="3652707"/>
                  <a:pt x="6187039" y="3627519"/>
                </a:cubicBezTo>
                <a:close/>
                <a:moveTo>
                  <a:pt x="5453639" y="3702176"/>
                </a:moveTo>
                <a:lnTo>
                  <a:pt x="5453774" y="3702469"/>
                </a:lnTo>
                <a:cubicBezTo>
                  <a:pt x="5453249" y="3705524"/>
                  <a:pt x="5451719" y="3709383"/>
                  <a:pt x="5449948" y="3712116"/>
                </a:cubicBezTo>
                <a:close/>
                <a:moveTo>
                  <a:pt x="5548423" y="3643981"/>
                </a:moveTo>
                <a:cubicBezTo>
                  <a:pt x="5553889" y="3647523"/>
                  <a:pt x="5550347" y="3652990"/>
                  <a:pt x="5544882" y="3649448"/>
                </a:cubicBezTo>
                <a:cubicBezTo>
                  <a:pt x="5549385" y="3648486"/>
                  <a:pt x="5549385" y="3648486"/>
                  <a:pt x="5548423" y="3643981"/>
                </a:cubicBezTo>
                <a:close/>
                <a:moveTo>
                  <a:pt x="5501782" y="3594005"/>
                </a:moveTo>
                <a:lnTo>
                  <a:pt x="5500844" y="3597631"/>
                </a:lnTo>
                <a:cubicBezTo>
                  <a:pt x="5501806" y="3602135"/>
                  <a:pt x="5501806" y="3602135"/>
                  <a:pt x="5501806" y="3602135"/>
                </a:cubicBezTo>
                <a:cubicBezTo>
                  <a:pt x="5501806" y="3602135"/>
                  <a:pt x="5501806" y="3602135"/>
                  <a:pt x="5498264" y="3607601"/>
                </a:cubicBezTo>
                <a:cubicBezTo>
                  <a:pt x="5497302" y="3603098"/>
                  <a:pt x="5500844" y="3597631"/>
                  <a:pt x="5496339" y="3598593"/>
                </a:cubicBezTo>
                <a:close/>
                <a:moveTo>
                  <a:pt x="5505531" y="3584407"/>
                </a:moveTo>
                <a:lnTo>
                  <a:pt x="5502887" y="3593074"/>
                </a:lnTo>
                <a:lnTo>
                  <a:pt x="5501782" y="3594005"/>
                </a:lnTo>
                <a:lnTo>
                  <a:pt x="5503423" y="3587661"/>
                </a:lnTo>
                <a:close/>
                <a:moveTo>
                  <a:pt x="5509363" y="3567553"/>
                </a:moveTo>
                <a:lnTo>
                  <a:pt x="5513086" y="3566758"/>
                </a:lnTo>
                <a:cubicBezTo>
                  <a:pt x="5509545" y="3572225"/>
                  <a:pt x="5506002" y="3577690"/>
                  <a:pt x="5506965" y="3582195"/>
                </a:cubicBezTo>
                <a:lnTo>
                  <a:pt x="5505531" y="3584407"/>
                </a:lnTo>
                <a:lnTo>
                  <a:pt x="5507691" y="3577329"/>
                </a:lnTo>
                <a:close/>
                <a:moveTo>
                  <a:pt x="5510688" y="3559800"/>
                </a:moveTo>
                <a:lnTo>
                  <a:pt x="5509363" y="3567553"/>
                </a:lnTo>
                <a:lnTo>
                  <a:pt x="5508582" y="3567720"/>
                </a:lnTo>
                <a:close/>
                <a:moveTo>
                  <a:pt x="5161932" y="3575847"/>
                </a:moveTo>
                <a:cubicBezTo>
                  <a:pt x="5162324" y="3577685"/>
                  <a:pt x="5161601" y="3578799"/>
                  <a:pt x="5160517" y="3580472"/>
                </a:cubicBezTo>
                <a:lnTo>
                  <a:pt x="5159539" y="3582645"/>
                </a:lnTo>
                <a:lnTo>
                  <a:pt x="5159040" y="3580307"/>
                </a:lnTo>
                <a:cubicBezTo>
                  <a:pt x="5159040" y="3580307"/>
                  <a:pt x="5162717" y="3579521"/>
                  <a:pt x="5161932" y="3575847"/>
                </a:cubicBezTo>
                <a:close/>
                <a:moveTo>
                  <a:pt x="1120688" y="4434529"/>
                </a:moveTo>
                <a:lnTo>
                  <a:pt x="1126155" y="4438070"/>
                </a:lnTo>
                <a:cubicBezTo>
                  <a:pt x="1126155" y="4438070"/>
                  <a:pt x="1126155" y="4438070"/>
                  <a:pt x="1121651" y="4439032"/>
                </a:cubicBezTo>
                <a:close/>
                <a:moveTo>
                  <a:pt x="5592057" y="3360201"/>
                </a:moveTo>
                <a:lnTo>
                  <a:pt x="5593625" y="3370584"/>
                </a:lnTo>
                <a:cubicBezTo>
                  <a:pt x="5593625" y="3370584"/>
                  <a:pt x="5593625" y="3370584"/>
                  <a:pt x="5592663" y="3366081"/>
                </a:cubicBezTo>
                <a:cubicBezTo>
                  <a:pt x="5591701" y="3361577"/>
                  <a:pt x="5591701" y="3361577"/>
                  <a:pt x="5591701" y="3361577"/>
                </a:cubicBezTo>
                <a:close/>
                <a:moveTo>
                  <a:pt x="818034" y="4362609"/>
                </a:moveTo>
                <a:lnTo>
                  <a:pt x="820283" y="4366839"/>
                </a:lnTo>
                <a:lnTo>
                  <a:pt x="818996" y="4367114"/>
                </a:lnTo>
                <a:cubicBezTo>
                  <a:pt x="818034" y="4362609"/>
                  <a:pt x="818034" y="4362609"/>
                  <a:pt x="818034" y="4362609"/>
                </a:cubicBezTo>
                <a:close/>
                <a:moveTo>
                  <a:pt x="5246100" y="3411866"/>
                </a:moveTo>
                <a:lnTo>
                  <a:pt x="5247019" y="3411670"/>
                </a:lnTo>
                <a:lnTo>
                  <a:pt x="5246885" y="3415540"/>
                </a:lnTo>
                <a:cubicBezTo>
                  <a:pt x="5246885" y="3415540"/>
                  <a:pt x="5246885" y="3415540"/>
                  <a:pt x="5246100" y="3411866"/>
                </a:cubicBezTo>
                <a:close/>
                <a:moveTo>
                  <a:pt x="5262588" y="3147082"/>
                </a:moveTo>
                <a:cubicBezTo>
                  <a:pt x="5252589" y="3172271"/>
                  <a:pt x="5250192" y="3215045"/>
                  <a:pt x="5248332" y="3242337"/>
                </a:cubicBezTo>
                <a:cubicBezTo>
                  <a:pt x="5236515" y="3241020"/>
                  <a:pt x="5223871" y="3289826"/>
                  <a:pt x="5227796" y="3308198"/>
                </a:cubicBezTo>
                <a:cubicBezTo>
                  <a:pt x="5227796" y="3308198"/>
                  <a:pt x="5227796" y="3308198"/>
                  <a:pt x="5228581" y="3311872"/>
                </a:cubicBezTo>
                <a:cubicBezTo>
                  <a:pt x="5228581" y="3311872"/>
                  <a:pt x="5225689" y="3316332"/>
                  <a:pt x="5225689" y="3316332"/>
                </a:cubicBezTo>
                <a:cubicBezTo>
                  <a:pt x="5226475" y="3320007"/>
                  <a:pt x="5230152" y="3319222"/>
                  <a:pt x="5230152" y="3319222"/>
                </a:cubicBezTo>
                <a:cubicBezTo>
                  <a:pt x="5233830" y="3318436"/>
                  <a:pt x="5233044" y="3314761"/>
                  <a:pt x="5233044" y="3314761"/>
                </a:cubicBezTo>
                <a:cubicBezTo>
                  <a:pt x="5225937" y="3335490"/>
                  <a:pt x="5216475" y="3345195"/>
                  <a:pt x="5209615" y="3385082"/>
                </a:cubicBezTo>
                <a:cubicBezTo>
                  <a:pt x="5210401" y="3388757"/>
                  <a:pt x="5206724" y="3389542"/>
                  <a:pt x="5207509" y="3393216"/>
                </a:cubicBezTo>
                <a:cubicBezTo>
                  <a:pt x="5208294" y="3396890"/>
                  <a:pt x="5204616" y="3397676"/>
                  <a:pt x="5204616" y="3397676"/>
                </a:cubicBezTo>
                <a:cubicBezTo>
                  <a:pt x="5206186" y="3405025"/>
                  <a:pt x="5206186" y="3405025"/>
                  <a:pt x="5209864" y="3404240"/>
                </a:cubicBezTo>
                <a:cubicBezTo>
                  <a:pt x="5206971" y="3408699"/>
                  <a:pt x="5202757" y="3424968"/>
                  <a:pt x="5199079" y="3425754"/>
                </a:cubicBezTo>
                <a:cubicBezTo>
                  <a:pt x="5190898" y="3477449"/>
                  <a:pt x="5161437" y="3537532"/>
                  <a:pt x="5156933" y="3588442"/>
                </a:cubicBezTo>
                <a:lnTo>
                  <a:pt x="5159539" y="3582645"/>
                </a:lnTo>
                <a:lnTo>
                  <a:pt x="5159825" y="3583982"/>
                </a:lnTo>
                <a:cubicBezTo>
                  <a:pt x="5156933" y="3588442"/>
                  <a:pt x="5156933" y="3588442"/>
                  <a:pt x="5157718" y="3592116"/>
                </a:cubicBezTo>
                <a:cubicBezTo>
                  <a:pt x="5157718" y="3592116"/>
                  <a:pt x="5161395" y="3591330"/>
                  <a:pt x="5161395" y="3591330"/>
                </a:cubicBezTo>
                <a:cubicBezTo>
                  <a:pt x="5164287" y="3586871"/>
                  <a:pt x="5164287" y="3586871"/>
                  <a:pt x="5163502" y="3583196"/>
                </a:cubicBezTo>
                <a:cubicBezTo>
                  <a:pt x="5165072" y="3590545"/>
                  <a:pt x="5161643" y="3610488"/>
                  <a:pt x="5160320" y="3622296"/>
                </a:cubicBezTo>
                <a:cubicBezTo>
                  <a:pt x="5159535" y="3618622"/>
                  <a:pt x="5159535" y="3618622"/>
                  <a:pt x="5159535" y="3618622"/>
                </a:cubicBezTo>
                <a:cubicBezTo>
                  <a:pt x="5159535" y="3618622"/>
                  <a:pt x="5156643" y="3623082"/>
                  <a:pt x="5157428" y="3626757"/>
                </a:cubicBezTo>
                <a:cubicBezTo>
                  <a:pt x="5153751" y="3627542"/>
                  <a:pt x="5154536" y="3631216"/>
                  <a:pt x="5154536" y="3631216"/>
                </a:cubicBezTo>
                <a:cubicBezTo>
                  <a:pt x="5143999" y="3671889"/>
                  <a:pt x="5128215" y="3705997"/>
                  <a:pt x="5106399" y="3729869"/>
                </a:cubicBezTo>
                <a:cubicBezTo>
                  <a:pt x="5110076" y="3729083"/>
                  <a:pt x="5109291" y="3725408"/>
                  <a:pt x="5109291" y="3725408"/>
                </a:cubicBezTo>
                <a:cubicBezTo>
                  <a:pt x="5108506" y="3721734"/>
                  <a:pt x="5108506" y="3721734"/>
                  <a:pt x="5104829" y="3722520"/>
                </a:cubicBezTo>
                <a:cubicBezTo>
                  <a:pt x="5104829" y="3722520"/>
                  <a:pt x="5105614" y="3726194"/>
                  <a:pt x="5105614" y="3726194"/>
                </a:cubicBezTo>
                <a:cubicBezTo>
                  <a:pt x="5105614" y="3726194"/>
                  <a:pt x="5105614" y="3726194"/>
                  <a:pt x="5106399" y="3729869"/>
                </a:cubicBezTo>
                <a:cubicBezTo>
                  <a:pt x="5102721" y="3730655"/>
                  <a:pt x="5103506" y="3734329"/>
                  <a:pt x="5103506" y="3734329"/>
                </a:cubicBezTo>
                <a:cubicBezTo>
                  <a:pt x="5099044" y="3731440"/>
                  <a:pt x="5094044" y="3744034"/>
                  <a:pt x="5089045" y="3756628"/>
                </a:cubicBezTo>
                <a:cubicBezTo>
                  <a:pt x="5093507" y="3759518"/>
                  <a:pt x="5095614" y="3751383"/>
                  <a:pt x="5095614" y="3751383"/>
                </a:cubicBezTo>
                <a:cubicBezTo>
                  <a:pt x="5096399" y="3755057"/>
                  <a:pt x="5096399" y="3755057"/>
                  <a:pt x="5096399" y="3755057"/>
                </a:cubicBezTo>
                <a:cubicBezTo>
                  <a:pt x="5097184" y="3758732"/>
                  <a:pt x="5097184" y="3758732"/>
                  <a:pt x="5097184" y="3758732"/>
                </a:cubicBezTo>
                <a:cubicBezTo>
                  <a:pt x="5097184" y="3758732"/>
                  <a:pt x="5100077" y="3754271"/>
                  <a:pt x="5100077" y="3754271"/>
                </a:cubicBezTo>
                <a:cubicBezTo>
                  <a:pt x="5095077" y="3766866"/>
                  <a:pt x="5098754" y="3766080"/>
                  <a:pt x="5090862" y="3783135"/>
                </a:cubicBezTo>
                <a:cubicBezTo>
                  <a:pt x="5090077" y="3779461"/>
                  <a:pt x="5090077" y="3779461"/>
                  <a:pt x="5090077" y="3779461"/>
                </a:cubicBezTo>
                <a:cubicBezTo>
                  <a:pt x="5090077" y="3779461"/>
                  <a:pt x="5090077" y="3779461"/>
                  <a:pt x="5092970" y="3775001"/>
                </a:cubicBezTo>
                <a:cubicBezTo>
                  <a:pt x="5092185" y="3771327"/>
                  <a:pt x="5092185" y="3771327"/>
                  <a:pt x="5092185" y="3771327"/>
                </a:cubicBezTo>
                <a:cubicBezTo>
                  <a:pt x="5088507" y="3772112"/>
                  <a:pt x="5085615" y="3776572"/>
                  <a:pt x="5086400" y="3780246"/>
                </a:cubicBezTo>
                <a:cubicBezTo>
                  <a:pt x="5086400" y="3780246"/>
                  <a:pt x="5082723" y="3781032"/>
                  <a:pt x="5083508" y="3784706"/>
                </a:cubicBezTo>
                <a:cubicBezTo>
                  <a:pt x="5076153" y="3786277"/>
                  <a:pt x="5067476" y="3799657"/>
                  <a:pt x="5055907" y="3817497"/>
                </a:cubicBezTo>
                <a:cubicBezTo>
                  <a:pt x="5048015" y="3834552"/>
                  <a:pt x="5040908" y="3855281"/>
                  <a:pt x="5039585" y="3867090"/>
                </a:cubicBezTo>
                <a:cubicBezTo>
                  <a:pt x="5039585" y="3867090"/>
                  <a:pt x="5039585" y="3867090"/>
                  <a:pt x="5035908" y="3867875"/>
                </a:cubicBezTo>
                <a:cubicBezTo>
                  <a:pt x="5035908" y="3867875"/>
                  <a:pt x="5033016" y="3872335"/>
                  <a:pt x="5033801" y="3876009"/>
                </a:cubicBezTo>
                <a:cubicBezTo>
                  <a:pt x="5030123" y="3876795"/>
                  <a:pt x="5030123" y="3876795"/>
                  <a:pt x="5030123" y="3876795"/>
                </a:cubicBezTo>
                <a:cubicBezTo>
                  <a:pt x="5030908" y="3880470"/>
                  <a:pt x="5030908" y="3880470"/>
                  <a:pt x="5030908" y="3880470"/>
                </a:cubicBezTo>
                <a:cubicBezTo>
                  <a:pt x="5025909" y="3893064"/>
                  <a:pt x="5021446" y="3890175"/>
                  <a:pt x="5017232" y="3906445"/>
                </a:cubicBezTo>
                <a:cubicBezTo>
                  <a:pt x="5018802" y="3913793"/>
                  <a:pt x="5023801" y="3901198"/>
                  <a:pt x="5027479" y="3900413"/>
                </a:cubicBezTo>
                <a:cubicBezTo>
                  <a:pt x="5027479" y="3900413"/>
                  <a:pt x="5028264" y="3904088"/>
                  <a:pt x="5028264" y="3904088"/>
                </a:cubicBezTo>
                <a:cubicBezTo>
                  <a:pt x="5029049" y="3907762"/>
                  <a:pt x="5031941" y="3903302"/>
                  <a:pt x="5031156" y="3899627"/>
                </a:cubicBezTo>
                <a:cubicBezTo>
                  <a:pt x="5034833" y="3898841"/>
                  <a:pt x="5034833" y="3898841"/>
                  <a:pt x="5034833" y="3898841"/>
                </a:cubicBezTo>
                <a:cubicBezTo>
                  <a:pt x="5029834" y="3911436"/>
                  <a:pt x="5021157" y="3924816"/>
                  <a:pt x="5015372" y="3933736"/>
                </a:cubicBezTo>
                <a:cubicBezTo>
                  <a:pt x="5006447" y="3927959"/>
                  <a:pt x="5006447" y="3927959"/>
                  <a:pt x="5006447" y="3927959"/>
                </a:cubicBezTo>
                <a:cubicBezTo>
                  <a:pt x="4994093" y="3942124"/>
                  <a:pt x="4981739" y="3956290"/>
                  <a:pt x="4969384" y="3970456"/>
                </a:cubicBezTo>
                <a:cubicBezTo>
                  <a:pt x="4961492" y="3987510"/>
                  <a:pt x="4966740" y="3994073"/>
                  <a:pt x="4955170" y="4011913"/>
                </a:cubicBezTo>
                <a:cubicBezTo>
                  <a:pt x="4945708" y="4021619"/>
                  <a:pt x="4936246" y="4031325"/>
                  <a:pt x="4921785" y="4053624"/>
                </a:cubicBezTo>
                <a:cubicBezTo>
                  <a:pt x="4916785" y="4066219"/>
                  <a:pt x="4927817" y="4063862"/>
                  <a:pt x="4915463" y="4078028"/>
                </a:cubicBezTo>
                <a:cubicBezTo>
                  <a:pt x="4876292" y="4128659"/>
                  <a:pt x="4847617" y="4192416"/>
                  <a:pt x="4807661" y="4239374"/>
                </a:cubicBezTo>
                <a:cubicBezTo>
                  <a:pt x="4836047" y="4210257"/>
                  <a:pt x="4862078" y="4170117"/>
                  <a:pt x="4885465" y="4153594"/>
                </a:cubicBezTo>
                <a:cubicBezTo>
                  <a:pt x="4901249" y="4119486"/>
                  <a:pt x="4924387" y="4083805"/>
                  <a:pt x="4944634" y="4052585"/>
                </a:cubicBezTo>
                <a:cubicBezTo>
                  <a:pt x="4945419" y="4056260"/>
                  <a:pt x="4945419" y="4056260"/>
                  <a:pt x="4945419" y="4056260"/>
                </a:cubicBezTo>
                <a:cubicBezTo>
                  <a:pt x="4942526" y="4060720"/>
                  <a:pt x="4942526" y="4060720"/>
                  <a:pt x="4943311" y="4064394"/>
                </a:cubicBezTo>
                <a:cubicBezTo>
                  <a:pt x="4943311" y="4064394"/>
                  <a:pt x="4946989" y="4063608"/>
                  <a:pt x="4946204" y="4059934"/>
                </a:cubicBezTo>
                <a:cubicBezTo>
                  <a:pt x="4952773" y="4054689"/>
                  <a:pt x="4952773" y="4054689"/>
                  <a:pt x="4952773" y="4054689"/>
                </a:cubicBezTo>
                <a:cubicBezTo>
                  <a:pt x="4949881" y="4059148"/>
                  <a:pt x="4946989" y="4063608"/>
                  <a:pt x="4944096" y="4068069"/>
                </a:cubicBezTo>
                <a:cubicBezTo>
                  <a:pt x="4967483" y="4051546"/>
                  <a:pt x="4987729" y="4020326"/>
                  <a:pt x="5007190" y="3985431"/>
                </a:cubicBezTo>
                <a:cubicBezTo>
                  <a:pt x="5025867" y="3946862"/>
                  <a:pt x="5047435" y="3903834"/>
                  <a:pt x="5066112" y="3865264"/>
                </a:cubicBezTo>
                <a:cubicBezTo>
                  <a:pt x="5077681" y="3847424"/>
                  <a:pt x="5094250" y="3816990"/>
                  <a:pt x="5106357" y="3783667"/>
                </a:cubicBezTo>
                <a:cubicBezTo>
                  <a:pt x="5122926" y="3753233"/>
                  <a:pt x="5131355" y="3720694"/>
                  <a:pt x="5134785" y="3700752"/>
                </a:cubicBezTo>
                <a:cubicBezTo>
                  <a:pt x="5145569" y="3679237"/>
                  <a:pt x="5155568" y="3654049"/>
                  <a:pt x="5158998" y="3634105"/>
                </a:cubicBezTo>
                <a:cubicBezTo>
                  <a:pt x="5158998" y="3634105"/>
                  <a:pt x="5162675" y="3633319"/>
                  <a:pt x="5161890" y="3629645"/>
                </a:cubicBezTo>
                <a:cubicBezTo>
                  <a:pt x="5164783" y="3625185"/>
                  <a:pt x="5164783" y="3625185"/>
                  <a:pt x="5163998" y="3621510"/>
                </a:cubicBezTo>
                <a:cubicBezTo>
                  <a:pt x="5189781" y="3562213"/>
                  <a:pt x="5198748" y="3514193"/>
                  <a:pt x="5212714" y="3453577"/>
                </a:cubicBezTo>
                <a:cubicBezTo>
                  <a:pt x="5222961" y="3447546"/>
                  <a:pt x="5221639" y="3459355"/>
                  <a:pt x="5226101" y="3462243"/>
                </a:cubicBezTo>
                <a:cubicBezTo>
                  <a:pt x="5232671" y="3456998"/>
                  <a:pt x="5234778" y="3448863"/>
                  <a:pt x="5240563" y="3439944"/>
                </a:cubicBezTo>
                <a:cubicBezTo>
                  <a:pt x="5237671" y="3444403"/>
                  <a:pt x="5238456" y="3448077"/>
                  <a:pt x="5238456" y="3448077"/>
                </a:cubicBezTo>
                <a:cubicBezTo>
                  <a:pt x="5235563" y="3452538"/>
                  <a:pt x="5235563" y="3452538"/>
                  <a:pt x="5236348" y="3456212"/>
                </a:cubicBezTo>
                <a:cubicBezTo>
                  <a:pt x="5240026" y="3455426"/>
                  <a:pt x="5239241" y="3451752"/>
                  <a:pt x="5239241" y="3451752"/>
                </a:cubicBezTo>
                <a:cubicBezTo>
                  <a:pt x="5242133" y="3447292"/>
                  <a:pt x="5241348" y="3443618"/>
                  <a:pt x="5241348" y="3443618"/>
                </a:cubicBezTo>
                <a:cubicBezTo>
                  <a:pt x="5241348" y="3443618"/>
                  <a:pt x="5244240" y="3439158"/>
                  <a:pt x="5244240" y="3439158"/>
                </a:cubicBezTo>
                <a:cubicBezTo>
                  <a:pt x="5246348" y="3431023"/>
                  <a:pt x="5248455" y="3422889"/>
                  <a:pt x="5251347" y="3418429"/>
                </a:cubicBezTo>
                <a:cubicBezTo>
                  <a:pt x="5251347" y="3418429"/>
                  <a:pt x="5251347" y="3418429"/>
                  <a:pt x="5250562" y="3414755"/>
                </a:cubicBezTo>
                <a:cubicBezTo>
                  <a:pt x="5250562" y="3414755"/>
                  <a:pt x="5249777" y="3411081"/>
                  <a:pt x="5249777" y="3411081"/>
                </a:cubicBezTo>
                <a:lnTo>
                  <a:pt x="5247019" y="3411670"/>
                </a:lnTo>
                <a:lnTo>
                  <a:pt x="5247153" y="3407799"/>
                </a:lnTo>
                <a:cubicBezTo>
                  <a:pt x="5246761" y="3405962"/>
                  <a:pt x="5246368" y="3404124"/>
                  <a:pt x="5247422" y="3400057"/>
                </a:cubicBezTo>
                <a:cubicBezTo>
                  <a:pt x="5241390" y="3389820"/>
                  <a:pt x="5238745" y="3413437"/>
                  <a:pt x="5231391" y="3415009"/>
                </a:cubicBezTo>
                <a:cubicBezTo>
                  <a:pt x="5234820" y="3395065"/>
                  <a:pt x="5230358" y="3392177"/>
                  <a:pt x="5232465" y="3384043"/>
                </a:cubicBezTo>
                <a:cubicBezTo>
                  <a:pt x="5228003" y="3381153"/>
                  <a:pt x="5228003" y="3381153"/>
                  <a:pt x="5228003" y="3381153"/>
                </a:cubicBezTo>
                <a:cubicBezTo>
                  <a:pt x="5228003" y="3381153"/>
                  <a:pt x="5228003" y="3381153"/>
                  <a:pt x="5231680" y="3380368"/>
                </a:cubicBezTo>
                <a:cubicBezTo>
                  <a:pt x="5231680" y="3380368"/>
                  <a:pt x="5230895" y="3376694"/>
                  <a:pt x="5230895" y="3376694"/>
                </a:cubicBezTo>
                <a:cubicBezTo>
                  <a:pt x="5233788" y="3372234"/>
                  <a:pt x="5233788" y="3372234"/>
                  <a:pt x="5230110" y="3373020"/>
                </a:cubicBezTo>
                <a:cubicBezTo>
                  <a:pt x="5229324" y="3369345"/>
                  <a:pt x="5229324" y="3369345"/>
                  <a:pt x="5229324" y="3369345"/>
                </a:cubicBezTo>
                <a:cubicBezTo>
                  <a:pt x="5238539" y="3340481"/>
                  <a:pt x="5248539" y="3315293"/>
                  <a:pt x="5239613" y="3309515"/>
                </a:cubicBezTo>
                <a:cubicBezTo>
                  <a:pt x="5235936" y="3310301"/>
                  <a:pt x="5235936" y="3310301"/>
                  <a:pt x="5235936" y="3310301"/>
                </a:cubicBezTo>
                <a:cubicBezTo>
                  <a:pt x="5239613" y="3309515"/>
                  <a:pt x="5238828" y="3305841"/>
                  <a:pt x="5238828" y="3305841"/>
                </a:cubicBezTo>
                <a:cubicBezTo>
                  <a:pt x="5242506" y="3305056"/>
                  <a:pt x="5240936" y="3297706"/>
                  <a:pt x="5243828" y="3293247"/>
                </a:cubicBezTo>
                <a:cubicBezTo>
                  <a:pt x="5243043" y="3289573"/>
                  <a:pt x="5243043" y="3289573"/>
                  <a:pt x="5239366" y="3290358"/>
                </a:cubicBezTo>
                <a:cubicBezTo>
                  <a:pt x="5249613" y="3284326"/>
                  <a:pt x="5255935" y="3259924"/>
                  <a:pt x="5260687" y="3228171"/>
                </a:cubicBezTo>
                <a:cubicBezTo>
                  <a:pt x="5265439" y="3196420"/>
                  <a:pt x="5262836" y="3166239"/>
                  <a:pt x="5262588" y="3147082"/>
                </a:cubicBezTo>
                <a:close/>
                <a:moveTo>
                  <a:pt x="869439" y="3941889"/>
                </a:moveTo>
                <a:cubicBezTo>
                  <a:pt x="869439" y="3941889"/>
                  <a:pt x="869439" y="3941889"/>
                  <a:pt x="870401" y="3946393"/>
                </a:cubicBezTo>
                <a:lnTo>
                  <a:pt x="869247" y="3944432"/>
                </a:lnTo>
                <a:close/>
                <a:moveTo>
                  <a:pt x="5600071" y="2827600"/>
                </a:moveTo>
                <a:cubicBezTo>
                  <a:pt x="5600071" y="2827600"/>
                  <a:pt x="5600071" y="2827600"/>
                  <a:pt x="5601033" y="2832105"/>
                </a:cubicBezTo>
                <a:lnTo>
                  <a:pt x="5600701" y="2831889"/>
                </a:lnTo>
                <a:close/>
                <a:moveTo>
                  <a:pt x="5594604" y="2824058"/>
                </a:moveTo>
                <a:lnTo>
                  <a:pt x="5594817" y="2824013"/>
                </a:lnTo>
                <a:lnTo>
                  <a:pt x="5595567" y="2828563"/>
                </a:lnTo>
                <a:cubicBezTo>
                  <a:pt x="5595567" y="2828563"/>
                  <a:pt x="5595567" y="2828563"/>
                  <a:pt x="5594604" y="2824058"/>
                </a:cubicBezTo>
                <a:close/>
                <a:moveTo>
                  <a:pt x="756958" y="3768116"/>
                </a:moveTo>
                <a:cubicBezTo>
                  <a:pt x="761462" y="3767153"/>
                  <a:pt x="763387" y="3776161"/>
                  <a:pt x="764349" y="3780665"/>
                </a:cubicBezTo>
                <a:cubicBezTo>
                  <a:pt x="759845" y="3781628"/>
                  <a:pt x="759845" y="3781628"/>
                  <a:pt x="759845" y="3781628"/>
                </a:cubicBezTo>
                <a:close/>
                <a:moveTo>
                  <a:pt x="5540370" y="2614293"/>
                </a:moveTo>
                <a:cubicBezTo>
                  <a:pt x="5541332" y="2618797"/>
                  <a:pt x="5545837" y="2617834"/>
                  <a:pt x="5545837" y="2617834"/>
                </a:cubicBezTo>
                <a:cubicBezTo>
                  <a:pt x="5541332" y="2618797"/>
                  <a:pt x="5541332" y="2618797"/>
                  <a:pt x="5541332" y="2618797"/>
                </a:cubicBezTo>
                <a:cubicBezTo>
                  <a:pt x="5540370" y="2614293"/>
                  <a:pt x="5540370" y="2614293"/>
                  <a:pt x="5540370" y="2614293"/>
                </a:cubicBezTo>
                <a:close/>
                <a:moveTo>
                  <a:pt x="5744362" y="2533034"/>
                </a:moveTo>
                <a:cubicBezTo>
                  <a:pt x="5742746" y="2547508"/>
                  <a:pt x="5747249" y="2546546"/>
                  <a:pt x="5751754" y="2545583"/>
                </a:cubicBezTo>
                <a:cubicBezTo>
                  <a:pt x="5759452" y="2581616"/>
                  <a:pt x="5762646" y="2618610"/>
                  <a:pt x="5770344" y="2654643"/>
                </a:cubicBezTo>
                <a:cubicBezTo>
                  <a:pt x="5775155" y="2677163"/>
                  <a:pt x="5779353" y="2652719"/>
                  <a:pt x="5792210" y="2668810"/>
                </a:cubicBezTo>
                <a:cubicBezTo>
                  <a:pt x="5792517" y="2692292"/>
                  <a:pt x="5798946" y="2700338"/>
                  <a:pt x="5800215" y="2728325"/>
                </a:cubicBezTo>
                <a:cubicBezTo>
                  <a:pt x="5804720" y="2727363"/>
                  <a:pt x="5807299" y="2717392"/>
                  <a:pt x="5803450" y="2699375"/>
                </a:cubicBezTo>
                <a:cubicBezTo>
                  <a:pt x="5805375" y="2708384"/>
                  <a:pt x="5811803" y="2716430"/>
                  <a:pt x="5811149" y="2735408"/>
                </a:cubicBezTo>
                <a:cubicBezTo>
                  <a:pt x="5813728" y="2725438"/>
                  <a:pt x="5819194" y="2728979"/>
                  <a:pt x="5820811" y="2714505"/>
                </a:cubicBezTo>
                <a:cubicBezTo>
                  <a:pt x="5828161" y="2792999"/>
                  <a:pt x="5835512" y="2871492"/>
                  <a:pt x="5838358" y="2950947"/>
                </a:cubicBezTo>
                <a:cubicBezTo>
                  <a:pt x="5840282" y="2959956"/>
                  <a:pt x="5842207" y="2968964"/>
                  <a:pt x="5838665" y="2974430"/>
                </a:cubicBezTo>
                <a:cubicBezTo>
                  <a:pt x="5870897" y="3918890"/>
                  <a:pt x="5403604" y="4795814"/>
                  <a:pt x="4638016" y="5312600"/>
                </a:cubicBezTo>
                <a:cubicBezTo>
                  <a:pt x="4638016" y="5312600"/>
                  <a:pt x="4638016" y="5312600"/>
                  <a:pt x="4633512" y="5313563"/>
                </a:cubicBezTo>
                <a:cubicBezTo>
                  <a:pt x="4633512" y="5313563"/>
                  <a:pt x="4629008" y="5314525"/>
                  <a:pt x="4629008" y="5314525"/>
                </a:cubicBezTo>
                <a:cubicBezTo>
                  <a:pt x="4637054" y="5308097"/>
                  <a:pt x="4631588" y="5304555"/>
                  <a:pt x="4623541" y="5310984"/>
                </a:cubicBezTo>
                <a:cubicBezTo>
                  <a:pt x="4631588" y="5304555"/>
                  <a:pt x="4631588" y="5304555"/>
                  <a:pt x="4631588" y="5304555"/>
                </a:cubicBezTo>
                <a:cubicBezTo>
                  <a:pt x="4635130" y="5299088"/>
                  <a:pt x="4635130" y="5299088"/>
                  <a:pt x="4629663" y="5295546"/>
                </a:cubicBezTo>
                <a:cubicBezTo>
                  <a:pt x="4629663" y="5295546"/>
                  <a:pt x="4625159" y="5296509"/>
                  <a:pt x="4621617" y="5301975"/>
                </a:cubicBezTo>
                <a:cubicBezTo>
                  <a:pt x="4618076" y="5307442"/>
                  <a:pt x="4618076" y="5307442"/>
                  <a:pt x="4618076" y="5307442"/>
                </a:cubicBezTo>
                <a:cubicBezTo>
                  <a:pt x="4613571" y="5308404"/>
                  <a:pt x="4613571" y="5308404"/>
                  <a:pt x="4613571" y="5308404"/>
                </a:cubicBezTo>
                <a:cubicBezTo>
                  <a:pt x="4611647" y="5299395"/>
                  <a:pt x="4607142" y="5300358"/>
                  <a:pt x="4599097" y="5306787"/>
                </a:cubicBezTo>
                <a:cubicBezTo>
                  <a:pt x="4592013" y="5317720"/>
                  <a:pt x="4600059" y="5311291"/>
                  <a:pt x="4597479" y="5321261"/>
                </a:cubicBezTo>
                <a:cubicBezTo>
                  <a:pt x="4605526" y="5314833"/>
                  <a:pt x="4605526" y="5314833"/>
                  <a:pt x="4605526" y="5314833"/>
                </a:cubicBezTo>
                <a:cubicBezTo>
                  <a:pt x="4601984" y="5320299"/>
                  <a:pt x="4597479" y="5321261"/>
                  <a:pt x="4602946" y="5324803"/>
                </a:cubicBezTo>
                <a:cubicBezTo>
                  <a:pt x="4607450" y="5323841"/>
                  <a:pt x="4611954" y="5322878"/>
                  <a:pt x="4615496" y="5317412"/>
                </a:cubicBezTo>
                <a:cubicBezTo>
                  <a:pt x="4619038" y="5311946"/>
                  <a:pt x="4619038" y="5311946"/>
                  <a:pt x="4619038" y="5311946"/>
                </a:cubicBezTo>
                <a:cubicBezTo>
                  <a:pt x="4620000" y="5316449"/>
                  <a:pt x="4615496" y="5317412"/>
                  <a:pt x="4616458" y="5321916"/>
                </a:cubicBezTo>
                <a:cubicBezTo>
                  <a:pt x="4611954" y="5322878"/>
                  <a:pt x="4611954" y="5322878"/>
                  <a:pt x="4611954" y="5322878"/>
                </a:cubicBezTo>
                <a:cubicBezTo>
                  <a:pt x="4608413" y="5328345"/>
                  <a:pt x="4608413" y="5328345"/>
                  <a:pt x="4608413" y="5328345"/>
                </a:cubicBezTo>
                <a:cubicBezTo>
                  <a:pt x="4609375" y="5332848"/>
                  <a:pt x="4609375" y="5332848"/>
                  <a:pt x="4609375" y="5332848"/>
                </a:cubicBezTo>
                <a:cubicBezTo>
                  <a:pt x="4547587" y="5374307"/>
                  <a:pt x="4480333" y="5412224"/>
                  <a:pt x="4413078" y="5450140"/>
                </a:cubicBezTo>
                <a:cubicBezTo>
                  <a:pt x="4412116" y="5445637"/>
                  <a:pt x="4406651" y="5442095"/>
                  <a:pt x="4398604" y="5448524"/>
                </a:cubicBezTo>
                <a:cubicBezTo>
                  <a:pt x="4399566" y="5453027"/>
                  <a:pt x="4399566" y="5453027"/>
                  <a:pt x="4399566" y="5453027"/>
                </a:cubicBezTo>
                <a:cubicBezTo>
                  <a:pt x="4184292" y="5569664"/>
                  <a:pt x="3944267" y="5658621"/>
                  <a:pt x="3692038" y="5712509"/>
                </a:cubicBezTo>
                <a:cubicBezTo>
                  <a:pt x="3097500" y="5839529"/>
                  <a:pt x="2506625" y="5763253"/>
                  <a:pt x="1989514" y="5525218"/>
                </a:cubicBezTo>
                <a:cubicBezTo>
                  <a:pt x="1999484" y="5527798"/>
                  <a:pt x="2003988" y="5526835"/>
                  <a:pt x="2003026" y="5522331"/>
                </a:cubicBezTo>
                <a:cubicBezTo>
                  <a:pt x="1969266" y="5496576"/>
                  <a:pt x="1962182" y="5507510"/>
                  <a:pt x="1925842" y="5491725"/>
                </a:cubicBezTo>
                <a:cubicBezTo>
                  <a:pt x="1925842" y="5491725"/>
                  <a:pt x="1926804" y="5496229"/>
                  <a:pt x="1926804" y="5496229"/>
                </a:cubicBezTo>
                <a:cubicBezTo>
                  <a:pt x="1894969" y="5479483"/>
                  <a:pt x="1868599" y="5466278"/>
                  <a:pt x="1836763" y="5449531"/>
                </a:cubicBezTo>
                <a:cubicBezTo>
                  <a:pt x="1830334" y="5441485"/>
                  <a:pt x="1793032" y="5421197"/>
                  <a:pt x="1783061" y="5418617"/>
                </a:cubicBezTo>
                <a:cubicBezTo>
                  <a:pt x="1782099" y="5414113"/>
                  <a:pt x="1777595" y="5415075"/>
                  <a:pt x="1777595" y="5415075"/>
                </a:cubicBezTo>
                <a:cubicBezTo>
                  <a:pt x="1772129" y="5411534"/>
                  <a:pt x="1772129" y="5411534"/>
                  <a:pt x="1773091" y="5416038"/>
                </a:cubicBezTo>
                <a:cubicBezTo>
                  <a:pt x="1772129" y="5411534"/>
                  <a:pt x="1767625" y="5412496"/>
                  <a:pt x="1766662" y="5407992"/>
                </a:cubicBezTo>
                <a:cubicBezTo>
                  <a:pt x="1756692" y="5405412"/>
                  <a:pt x="1745760" y="5398329"/>
                  <a:pt x="1740293" y="5394787"/>
                </a:cubicBezTo>
                <a:cubicBezTo>
                  <a:pt x="1713924" y="5381582"/>
                  <a:pt x="1691096" y="5362911"/>
                  <a:pt x="1664727" y="5349706"/>
                </a:cubicBezTo>
                <a:cubicBezTo>
                  <a:pt x="1653794" y="5342623"/>
                  <a:pt x="1642862" y="5335539"/>
                  <a:pt x="1631929" y="5328456"/>
                </a:cubicBezTo>
                <a:cubicBezTo>
                  <a:pt x="1610063" y="5314288"/>
                  <a:pt x="1587235" y="5295618"/>
                  <a:pt x="1565371" y="5281450"/>
                </a:cubicBezTo>
                <a:cubicBezTo>
                  <a:pt x="1565371" y="5281450"/>
                  <a:pt x="1569874" y="5280488"/>
                  <a:pt x="1569874" y="5280488"/>
                </a:cubicBezTo>
                <a:cubicBezTo>
                  <a:pt x="1564408" y="5276946"/>
                  <a:pt x="1559904" y="5277908"/>
                  <a:pt x="1554437" y="5274367"/>
                </a:cubicBezTo>
                <a:cubicBezTo>
                  <a:pt x="1365694" y="5140435"/>
                  <a:pt x="1195623" y="4983675"/>
                  <a:pt x="1044223" y="4804087"/>
                </a:cubicBezTo>
                <a:cubicBezTo>
                  <a:pt x="872576" y="4595857"/>
                  <a:pt x="735690" y="4351944"/>
                  <a:pt x="631951" y="4086820"/>
                </a:cubicBezTo>
                <a:cubicBezTo>
                  <a:pt x="631951" y="4086820"/>
                  <a:pt x="635493" y="4081353"/>
                  <a:pt x="635493" y="4081353"/>
                </a:cubicBezTo>
                <a:cubicBezTo>
                  <a:pt x="654124" y="4124469"/>
                  <a:pt x="677914" y="4147644"/>
                  <a:pt x="700742" y="4166316"/>
                </a:cubicBezTo>
                <a:cubicBezTo>
                  <a:pt x="708133" y="4178866"/>
                  <a:pt x="710057" y="4187873"/>
                  <a:pt x="711982" y="4196882"/>
                </a:cubicBezTo>
                <a:cubicBezTo>
                  <a:pt x="706515" y="4193340"/>
                  <a:pt x="706515" y="4193340"/>
                  <a:pt x="706515" y="4193340"/>
                </a:cubicBezTo>
                <a:cubicBezTo>
                  <a:pt x="706515" y="4193340"/>
                  <a:pt x="702011" y="4194302"/>
                  <a:pt x="702011" y="4194302"/>
                </a:cubicBezTo>
                <a:cubicBezTo>
                  <a:pt x="702973" y="4198807"/>
                  <a:pt x="707478" y="4197844"/>
                  <a:pt x="707478" y="4197844"/>
                </a:cubicBezTo>
                <a:cubicBezTo>
                  <a:pt x="708440" y="4202348"/>
                  <a:pt x="708440" y="4202348"/>
                  <a:pt x="708440" y="4202348"/>
                </a:cubicBezTo>
                <a:cubicBezTo>
                  <a:pt x="713906" y="4205890"/>
                  <a:pt x="713906" y="4205890"/>
                  <a:pt x="713906" y="4205890"/>
                </a:cubicBezTo>
                <a:cubicBezTo>
                  <a:pt x="724838" y="4212973"/>
                  <a:pt x="731574" y="4244502"/>
                  <a:pt x="732229" y="4225523"/>
                </a:cubicBezTo>
                <a:cubicBezTo>
                  <a:pt x="740583" y="4242577"/>
                  <a:pt x="748936" y="4259631"/>
                  <a:pt x="750861" y="4268639"/>
                </a:cubicBezTo>
                <a:cubicBezTo>
                  <a:pt x="757289" y="4276685"/>
                  <a:pt x="747012" y="4250623"/>
                  <a:pt x="759869" y="4266714"/>
                </a:cubicBezTo>
                <a:cubicBezTo>
                  <a:pt x="763718" y="4284731"/>
                  <a:pt x="761138" y="4294702"/>
                  <a:pt x="761138" y="4294702"/>
                </a:cubicBezTo>
                <a:cubicBezTo>
                  <a:pt x="775612" y="4296318"/>
                  <a:pt x="769491" y="4311755"/>
                  <a:pt x="770454" y="4316259"/>
                </a:cubicBezTo>
                <a:cubicBezTo>
                  <a:pt x="771416" y="4320764"/>
                  <a:pt x="789739" y="4340397"/>
                  <a:pt x="788122" y="4354871"/>
                </a:cubicBezTo>
                <a:cubicBezTo>
                  <a:pt x="797131" y="4352946"/>
                  <a:pt x="807408" y="4379008"/>
                  <a:pt x="816723" y="4400567"/>
                </a:cubicBezTo>
                <a:cubicBezTo>
                  <a:pt x="827001" y="4426629"/>
                  <a:pt x="836317" y="4448186"/>
                  <a:pt x="845324" y="4446262"/>
                </a:cubicBezTo>
                <a:cubicBezTo>
                  <a:pt x="864610" y="4470400"/>
                  <a:pt x="839859" y="4442720"/>
                  <a:pt x="848211" y="4459775"/>
                </a:cubicBezTo>
                <a:cubicBezTo>
                  <a:pt x="861069" y="4475865"/>
                  <a:pt x="848211" y="4459775"/>
                  <a:pt x="865572" y="4474903"/>
                </a:cubicBezTo>
                <a:cubicBezTo>
                  <a:pt x="857604" y="4487203"/>
                  <a:pt x="876053" y="4499156"/>
                  <a:pt x="883599" y="4512777"/>
                </a:cubicBezTo>
                <a:lnTo>
                  <a:pt x="885976" y="4526170"/>
                </a:lnTo>
                <a:lnTo>
                  <a:pt x="885567" y="4525764"/>
                </a:lnTo>
                <a:lnTo>
                  <a:pt x="881591" y="4516811"/>
                </a:lnTo>
                <a:cubicBezTo>
                  <a:pt x="880989" y="4513997"/>
                  <a:pt x="880508" y="4511745"/>
                  <a:pt x="877775" y="4509974"/>
                </a:cubicBezTo>
                <a:cubicBezTo>
                  <a:pt x="874638" y="4511822"/>
                  <a:pt x="875239" y="4514636"/>
                  <a:pt x="877625" y="4517880"/>
                </a:cubicBezTo>
                <a:lnTo>
                  <a:pt x="885567" y="4525764"/>
                </a:lnTo>
                <a:lnTo>
                  <a:pt x="886128" y="4527028"/>
                </a:lnTo>
                <a:lnTo>
                  <a:pt x="885976" y="4526170"/>
                </a:lnTo>
                <a:lnTo>
                  <a:pt x="888178" y="4528356"/>
                </a:lnTo>
                <a:cubicBezTo>
                  <a:pt x="896176" y="4535477"/>
                  <a:pt x="903489" y="4542157"/>
                  <a:pt x="894482" y="4544081"/>
                </a:cubicBezTo>
                <a:cubicBezTo>
                  <a:pt x="917309" y="4562753"/>
                  <a:pt x="924700" y="4575303"/>
                  <a:pt x="933053" y="4592357"/>
                </a:cubicBezTo>
                <a:cubicBezTo>
                  <a:pt x="934015" y="4596860"/>
                  <a:pt x="934015" y="4596860"/>
                  <a:pt x="934015" y="4596860"/>
                </a:cubicBezTo>
                <a:cubicBezTo>
                  <a:pt x="934015" y="4596860"/>
                  <a:pt x="934978" y="4601364"/>
                  <a:pt x="934978" y="4601364"/>
                </a:cubicBezTo>
                <a:cubicBezTo>
                  <a:pt x="939482" y="4600402"/>
                  <a:pt x="939482" y="4600402"/>
                  <a:pt x="939482" y="4600402"/>
                </a:cubicBezTo>
                <a:cubicBezTo>
                  <a:pt x="936902" y="4610373"/>
                  <a:pt x="944948" y="4603944"/>
                  <a:pt x="946872" y="4612952"/>
                </a:cubicBezTo>
                <a:cubicBezTo>
                  <a:pt x="947834" y="4617456"/>
                  <a:pt x="953301" y="4620998"/>
                  <a:pt x="955226" y="4630006"/>
                </a:cubicBezTo>
                <a:cubicBezTo>
                  <a:pt x="966159" y="4637089"/>
                  <a:pt x="988986" y="4655761"/>
                  <a:pt x="998301" y="4677318"/>
                </a:cubicBezTo>
                <a:cubicBezTo>
                  <a:pt x="997339" y="4672815"/>
                  <a:pt x="1002806" y="4676356"/>
                  <a:pt x="1008272" y="4679898"/>
                </a:cubicBezTo>
                <a:cubicBezTo>
                  <a:pt x="1003768" y="4680860"/>
                  <a:pt x="1003768" y="4680860"/>
                  <a:pt x="1003768" y="4680860"/>
                </a:cubicBezTo>
                <a:cubicBezTo>
                  <a:pt x="998301" y="4677318"/>
                  <a:pt x="999264" y="4681823"/>
                  <a:pt x="999264" y="4681823"/>
                </a:cubicBezTo>
                <a:cubicBezTo>
                  <a:pt x="1000226" y="4686327"/>
                  <a:pt x="1005693" y="4689868"/>
                  <a:pt x="1005693" y="4689868"/>
                </a:cubicBezTo>
                <a:cubicBezTo>
                  <a:pt x="1005693" y="4689868"/>
                  <a:pt x="1005693" y="4689868"/>
                  <a:pt x="1010197" y="4688906"/>
                </a:cubicBezTo>
                <a:cubicBezTo>
                  <a:pt x="1011159" y="4693410"/>
                  <a:pt x="1011159" y="4693410"/>
                  <a:pt x="1011159" y="4693410"/>
                </a:cubicBezTo>
                <a:cubicBezTo>
                  <a:pt x="1033987" y="4712082"/>
                  <a:pt x="1064512" y="4766786"/>
                  <a:pt x="1068054" y="4761319"/>
                </a:cubicBezTo>
                <a:cubicBezTo>
                  <a:pt x="1069016" y="4765823"/>
                  <a:pt x="1069978" y="4770327"/>
                  <a:pt x="1070941" y="4774831"/>
                </a:cubicBezTo>
                <a:cubicBezTo>
                  <a:pt x="1074483" y="4769364"/>
                  <a:pt x="1086377" y="4780952"/>
                  <a:pt x="1088302" y="4789960"/>
                </a:cubicBezTo>
                <a:cubicBezTo>
                  <a:pt x="1088302" y="4789960"/>
                  <a:pt x="1082836" y="4786418"/>
                  <a:pt x="1082836" y="4786418"/>
                </a:cubicBezTo>
                <a:cubicBezTo>
                  <a:pt x="1083799" y="4790923"/>
                  <a:pt x="1083799" y="4790923"/>
                  <a:pt x="1084761" y="4795426"/>
                </a:cubicBezTo>
                <a:cubicBezTo>
                  <a:pt x="1089264" y="4794464"/>
                  <a:pt x="1089264" y="4794464"/>
                  <a:pt x="1089264" y="4794464"/>
                </a:cubicBezTo>
                <a:cubicBezTo>
                  <a:pt x="1090227" y="4798968"/>
                  <a:pt x="1090227" y="4798968"/>
                  <a:pt x="1090227" y="4798968"/>
                </a:cubicBezTo>
                <a:cubicBezTo>
                  <a:pt x="1098580" y="4816022"/>
                  <a:pt x="1121101" y="4811211"/>
                  <a:pt x="1121407" y="4834693"/>
                </a:cubicBezTo>
                <a:cubicBezTo>
                  <a:pt x="1142311" y="4844356"/>
                  <a:pt x="1161596" y="4868494"/>
                  <a:pt x="1169950" y="4885547"/>
                </a:cubicBezTo>
                <a:cubicBezTo>
                  <a:pt x="1178958" y="4883623"/>
                  <a:pt x="1222995" y="4935440"/>
                  <a:pt x="1230080" y="4924507"/>
                </a:cubicBezTo>
                <a:cubicBezTo>
                  <a:pt x="1220109" y="4921928"/>
                  <a:pt x="1190853" y="4895210"/>
                  <a:pt x="1183462" y="4882661"/>
                </a:cubicBezTo>
                <a:cubicBezTo>
                  <a:pt x="1182500" y="4878157"/>
                  <a:pt x="1194394" y="4889745"/>
                  <a:pt x="1187004" y="4877195"/>
                </a:cubicBezTo>
                <a:cubicBezTo>
                  <a:pt x="1187004" y="4877195"/>
                  <a:pt x="1177033" y="4874615"/>
                  <a:pt x="1176071" y="4870111"/>
                </a:cubicBezTo>
                <a:cubicBezTo>
                  <a:pt x="1153243" y="4851440"/>
                  <a:pt x="1127528" y="4819256"/>
                  <a:pt x="1103738" y="4796081"/>
                </a:cubicBezTo>
                <a:cubicBezTo>
                  <a:pt x="1102776" y="4791577"/>
                  <a:pt x="1102776" y="4791577"/>
                  <a:pt x="1102776" y="4791577"/>
                </a:cubicBezTo>
                <a:cubicBezTo>
                  <a:pt x="1102776" y="4791577"/>
                  <a:pt x="1101814" y="4787074"/>
                  <a:pt x="1101814" y="4787074"/>
                </a:cubicBezTo>
                <a:cubicBezTo>
                  <a:pt x="1096348" y="4783532"/>
                  <a:pt x="1096348" y="4783532"/>
                  <a:pt x="1097311" y="4788036"/>
                </a:cubicBezTo>
                <a:cubicBezTo>
                  <a:pt x="1077063" y="4759394"/>
                  <a:pt x="1087033" y="4761974"/>
                  <a:pt x="1052310" y="4731715"/>
                </a:cubicBezTo>
                <a:cubicBezTo>
                  <a:pt x="1052310" y="4731715"/>
                  <a:pt x="1057776" y="4735257"/>
                  <a:pt x="1062280" y="4734295"/>
                </a:cubicBezTo>
                <a:cubicBezTo>
                  <a:pt x="1054889" y="4721745"/>
                  <a:pt x="1051348" y="4727210"/>
                  <a:pt x="1044919" y="4719165"/>
                </a:cubicBezTo>
                <a:cubicBezTo>
                  <a:pt x="1049423" y="4718203"/>
                  <a:pt x="1049423" y="4718203"/>
                  <a:pt x="1049423" y="4718203"/>
                </a:cubicBezTo>
                <a:cubicBezTo>
                  <a:pt x="1049423" y="4718203"/>
                  <a:pt x="1048461" y="4713698"/>
                  <a:pt x="1048461" y="4713698"/>
                </a:cubicBezTo>
                <a:cubicBezTo>
                  <a:pt x="1047499" y="4709195"/>
                  <a:pt x="1042995" y="4710157"/>
                  <a:pt x="1042995" y="4710157"/>
                </a:cubicBezTo>
                <a:cubicBezTo>
                  <a:pt x="1042995" y="4710157"/>
                  <a:pt x="1038491" y="4711120"/>
                  <a:pt x="1038491" y="4711120"/>
                </a:cubicBezTo>
                <a:cubicBezTo>
                  <a:pt x="1006348" y="4670890"/>
                  <a:pt x="987716" y="4627774"/>
                  <a:pt x="952032" y="4593011"/>
                </a:cubicBezTo>
                <a:cubicBezTo>
                  <a:pt x="952032" y="4593011"/>
                  <a:pt x="951070" y="4588508"/>
                  <a:pt x="951070" y="4588508"/>
                </a:cubicBezTo>
                <a:cubicBezTo>
                  <a:pt x="951070" y="4588508"/>
                  <a:pt x="950107" y="4584003"/>
                  <a:pt x="945603" y="4584966"/>
                </a:cubicBezTo>
                <a:cubicBezTo>
                  <a:pt x="937249" y="4567911"/>
                  <a:pt x="936287" y="4563408"/>
                  <a:pt x="923430" y="4547316"/>
                </a:cubicBezTo>
                <a:cubicBezTo>
                  <a:pt x="922468" y="4542812"/>
                  <a:pt x="922468" y="4542812"/>
                  <a:pt x="922468" y="4542812"/>
                </a:cubicBezTo>
                <a:cubicBezTo>
                  <a:pt x="921506" y="4538307"/>
                  <a:pt x="921506" y="4538307"/>
                  <a:pt x="921506" y="4538307"/>
                </a:cubicBezTo>
                <a:cubicBezTo>
                  <a:pt x="917002" y="4539270"/>
                  <a:pt x="917002" y="4539270"/>
                  <a:pt x="917002" y="4539270"/>
                </a:cubicBezTo>
                <a:cubicBezTo>
                  <a:pt x="909610" y="4526720"/>
                  <a:pt x="908648" y="4522217"/>
                  <a:pt x="903182" y="4518674"/>
                </a:cubicBezTo>
                <a:cubicBezTo>
                  <a:pt x="906724" y="4513208"/>
                  <a:pt x="906724" y="4513208"/>
                  <a:pt x="906724" y="4513208"/>
                </a:cubicBezTo>
                <a:cubicBezTo>
                  <a:pt x="868152" y="4464933"/>
                  <a:pt x="856912" y="4434367"/>
                  <a:pt x="835702" y="4401222"/>
                </a:cubicBezTo>
                <a:cubicBezTo>
                  <a:pt x="835702" y="4401222"/>
                  <a:pt x="835702" y="4401222"/>
                  <a:pt x="840206" y="4400260"/>
                </a:cubicBezTo>
                <a:cubicBezTo>
                  <a:pt x="839244" y="4395755"/>
                  <a:pt x="839244" y="4395755"/>
                  <a:pt x="839244" y="4395755"/>
                </a:cubicBezTo>
                <a:cubicBezTo>
                  <a:pt x="834740" y="4396718"/>
                  <a:pt x="833777" y="4392213"/>
                  <a:pt x="833777" y="4392213"/>
                </a:cubicBezTo>
                <a:cubicBezTo>
                  <a:pt x="826791" y="4376045"/>
                  <a:pt x="826127" y="4377069"/>
                  <a:pt x="822708" y="4371399"/>
                </a:cubicBezTo>
                <a:lnTo>
                  <a:pt x="820283" y="4366839"/>
                </a:lnTo>
                <a:lnTo>
                  <a:pt x="823500" y="4366151"/>
                </a:lnTo>
                <a:cubicBezTo>
                  <a:pt x="822538" y="4361647"/>
                  <a:pt x="822538" y="4361647"/>
                  <a:pt x="822538" y="4361647"/>
                </a:cubicBezTo>
                <a:cubicBezTo>
                  <a:pt x="822538" y="4361647"/>
                  <a:pt x="817071" y="4358106"/>
                  <a:pt x="817071" y="4358106"/>
                </a:cubicBezTo>
                <a:cubicBezTo>
                  <a:pt x="811605" y="4354564"/>
                  <a:pt x="811605" y="4354564"/>
                  <a:pt x="811605" y="4354564"/>
                </a:cubicBezTo>
                <a:cubicBezTo>
                  <a:pt x="806793" y="4332043"/>
                  <a:pt x="797786" y="4333967"/>
                  <a:pt x="801327" y="4328502"/>
                </a:cubicBezTo>
                <a:cubicBezTo>
                  <a:pt x="783003" y="4308868"/>
                  <a:pt x="776267" y="4277340"/>
                  <a:pt x="756982" y="4253202"/>
                </a:cubicBezTo>
                <a:cubicBezTo>
                  <a:pt x="761486" y="4252240"/>
                  <a:pt x="761486" y="4252240"/>
                  <a:pt x="761486" y="4252240"/>
                </a:cubicBezTo>
                <a:cubicBezTo>
                  <a:pt x="761486" y="4252240"/>
                  <a:pt x="761486" y="4252240"/>
                  <a:pt x="762448" y="4256744"/>
                </a:cubicBezTo>
                <a:cubicBezTo>
                  <a:pt x="763411" y="4261249"/>
                  <a:pt x="767914" y="4260286"/>
                  <a:pt x="767914" y="4260286"/>
                </a:cubicBezTo>
                <a:cubicBezTo>
                  <a:pt x="766952" y="4255782"/>
                  <a:pt x="766952" y="4255782"/>
                  <a:pt x="765989" y="4251278"/>
                </a:cubicBezTo>
                <a:cubicBezTo>
                  <a:pt x="765027" y="4246774"/>
                  <a:pt x="760524" y="4247736"/>
                  <a:pt x="759562" y="4243232"/>
                </a:cubicBezTo>
                <a:cubicBezTo>
                  <a:pt x="768569" y="4241308"/>
                  <a:pt x="755713" y="4225216"/>
                  <a:pt x="751208" y="4226178"/>
                </a:cubicBezTo>
                <a:cubicBezTo>
                  <a:pt x="750246" y="4221674"/>
                  <a:pt x="745742" y="4222636"/>
                  <a:pt x="745742" y="4222636"/>
                </a:cubicBezTo>
                <a:cubicBezTo>
                  <a:pt x="745742" y="4222636"/>
                  <a:pt x="746704" y="4227140"/>
                  <a:pt x="747666" y="4231645"/>
                </a:cubicBezTo>
                <a:cubicBezTo>
                  <a:pt x="745742" y="4222636"/>
                  <a:pt x="741238" y="4223598"/>
                  <a:pt x="734810" y="4215553"/>
                </a:cubicBezTo>
                <a:cubicBezTo>
                  <a:pt x="732885" y="4206545"/>
                  <a:pt x="737389" y="4205583"/>
                  <a:pt x="730960" y="4197536"/>
                </a:cubicBezTo>
                <a:cubicBezTo>
                  <a:pt x="730960" y="4197536"/>
                  <a:pt x="726456" y="4198499"/>
                  <a:pt x="724531" y="4189491"/>
                </a:cubicBezTo>
                <a:cubicBezTo>
                  <a:pt x="729036" y="4188529"/>
                  <a:pt x="729998" y="4193033"/>
                  <a:pt x="729998" y="4193033"/>
                </a:cubicBezTo>
                <a:cubicBezTo>
                  <a:pt x="733540" y="4187566"/>
                  <a:pt x="732578" y="4183062"/>
                  <a:pt x="729691" y="4169550"/>
                </a:cubicBezTo>
                <a:cubicBezTo>
                  <a:pt x="742548" y="4185642"/>
                  <a:pt x="750246" y="4221674"/>
                  <a:pt x="769532" y="4245812"/>
                </a:cubicBezTo>
                <a:cubicBezTo>
                  <a:pt x="778848" y="4267369"/>
                  <a:pt x="808104" y="4294087"/>
                  <a:pt x="808104" y="4294087"/>
                </a:cubicBezTo>
                <a:cubicBezTo>
                  <a:pt x="812607" y="4293124"/>
                  <a:pt x="808758" y="4275108"/>
                  <a:pt x="804909" y="4257092"/>
                </a:cubicBezTo>
                <a:cubicBezTo>
                  <a:pt x="836704" y="4339783"/>
                  <a:pt x="899374" y="4434714"/>
                  <a:pt x="954652" y="4517097"/>
                </a:cubicBezTo>
                <a:cubicBezTo>
                  <a:pt x="950148" y="4518059"/>
                  <a:pt x="950148" y="4518059"/>
                  <a:pt x="951110" y="4522564"/>
                </a:cubicBezTo>
                <a:cubicBezTo>
                  <a:pt x="951110" y="4522564"/>
                  <a:pt x="950148" y="4518059"/>
                  <a:pt x="950148" y="4518059"/>
                </a:cubicBezTo>
                <a:cubicBezTo>
                  <a:pt x="945643" y="4519022"/>
                  <a:pt x="945643" y="4519022"/>
                  <a:pt x="945643" y="4519022"/>
                </a:cubicBezTo>
                <a:cubicBezTo>
                  <a:pt x="945643" y="4519022"/>
                  <a:pt x="946605" y="4523526"/>
                  <a:pt x="947568" y="4528030"/>
                </a:cubicBezTo>
                <a:cubicBezTo>
                  <a:pt x="948530" y="4532534"/>
                  <a:pt x="948530" y="4532534"/>
                  <a:pt x="950455" y="4541543"/>
                </a:cubicBezTo>
                <a:cubicBezTo>
                  <a:pt x="953997" y="4536076"/>
                  <a:pt x="959463" y="4539618"/>
                  <a:pt x="971358" y="4551205"/>
                </a:cubicBezTo>
                <a:cubicBezTo>
                  <a:pt x="972320" y="4555710"/>
                  <a:pt x="972320" y="4555710"/>
                  <a:pt x="972320" y="4555710"/>
                </a:cubicBezTo>
                <a:cubicBezTo>
                  <a:pt x="973282" y="4560213"/>
                  <a:pt x="973282" y="4560213"/>
                  <a:pt x="973282" y="4560213"/>
                </a:cubicBezTo>
                <a:cubicBezTo>
                  <a:pt x="974245" y="4564718"/>
                  <a:pt x="974245" y="4564718"/>
                  <a:pt x="979711" y="4568259"/>
                </a:cubicBezTo>
                <a:cubicBezTo>
                  <a:pt x="980674" y="4572763"/>
                  <a:pt x="985178" y="4571801"/>
                  <a:pt x="986140" y="4576305"/>
                </a:cubicBezTo>
                <a:cubicBezTo>
                  <a:pt x="983560" y="4586275"/>
                  <a:pt x="999959" y="4596901"/>
                  <a:pt x="996417" y="4602367"/>
                </a:cubicBezTo>
                <a:cubicBezTo>
                  <a:pt x="995455" y="4597864"/>
                  <a:pt x="995455" y="4597864"/>
                  <a:pt x="990952" y="4598826"/>
                </a:cubicBezTo>
                <a:lnTo>
                  <a:pt x="991914" y="4603329"/>
                </a:lnTo>
                <a:cubicBezTo>
                  <a:pt x="991914" y="4603329"/>
                  <a:pt x="997379" y="4606871"/>
                  <a:pt x="997379" y="4606871"/>
                </a:cubicBezTo>
                <a:cubicBezTo>
                  <a:pt x="1003808" y="4614917"/>
                  <a:pt x="1010237" y="4622963"/>
                  <a:pt x="1010237" y="4622963"/>
                </a:cubicBezTo>
                <a:cubicBezTo>
                  <a:pt x="1011200" y="4627466"/>
                  <a:pt x="1011200" y="4627466"/>
                  <a:pt x="1011200" y="4627466"/>
                </a:cubicBezTo>
                <a:cubicBezTo>
                  <a:pt x="1011200" y="4627466"/>
                  <a:pt x="1012162" y="4631971"/>
                  <a:pt x="1017628" y="4635513"/>
                </a:cubicBezTo>
                <a:cubicBezTo>
                  <a:pt x="1018590" y="4640016"/>
                  <a:pt x="1023094" y="4639054"/>
                  <a:pt x="1023094" y="4639054"/>
                </a:cubicBezTo>
                <a:cubicBezTo>
                  <a:pt x="1022132" y="4634551"/>
                  <a:pt x="1022132" y="4634551"/>
                  <a:pt x="1022132" y="4634551"/>
                </a:cubicBezTo>
                <a:cubicBezTo>
                  <a:pt x="1023094" y="4639054"/>
                  <a:pt x="1023094" y="4639054"/>
                  <a:pt x="1029523" y="4647100"/>
                </a:cubicBezTo>
                <a:cubicBezTo>
                  <a:pt x="1028560" y="4642596"/>
                  <a:pt x="1033065" y="4641634"/>
                  <a:pt x="1034027" y="4646138"/>
                </a:cubicBezTo>
                <a:cubicBezTo>
                  <a:pt x="1034027" y="4646138"/>
                  <a:pt x="1034989" y="4650642"/>
                  <a:pt x="1040455" y="4654184"/>
                </a:cubicBezTo>
                <a:cubicBezTo>
                  <a:pt x="1041417" y="4658688"/>
                  <a:pt x="1041417" y="4658688"/>
                  <a:pt x="1041417" y="4658688"/>
                </a:cubicBezTo>
                <a:cubicBezTo>
                  <a:pt x="1042380" y="4663192"/>
                  <a:pt x="1042380" y="4663192"/>
                  <a:pt x="1042380" y="4663192"/>
                </a:cubicBezTo>
                <a:cubicBezTo>
                  <a:pt x="1047846" y="4666733"/>
                  <a:pt x="1047846" y="4666733"/>
                  <a:pt x="1047846" y="4666733"/>
                </a:cubicBezTo>
                <a:cubicBezTo>
                  <a:pt x="1046884" y="4662230"/>
                  <a:pt x="1046884" y="4662230"/>
                  <a:pt x="1046884" y="4662230"/>
                </a:cubicBezTo>
                <a:cubicBezTo>
                  <a:pt x="1060704" y="4682825"/>
                  <a:pt x="1079027" y="4702459"/>
                  <a:pt x="1089960" y="4709542"/>
                </a:cubicBezTo>
                <a:cubicBezTo>
                  <a:pt x="1089960" y="4709542"/>
                  <a:pt x="1090922" y="4714047"/>
                  <a:pt x="1096388" y="4717588"/>
                </a:cubicBezTo>
                <a:cubicBezTo>
                  <a:pt x="1096388" y="4717588"/>
                  <a:pt x="1101855" y="4721130"/>
                  <a:pt x="1101855" y="4721130"/>
                </a:cubicBezTo>
                <a:cubicBezTo>
                  <a:pt x="1101855" y="4721130"/>
                  <a:pt x="1101855" y="4721130"/>
                  <a:pt x="1100893" y="4716625"/>
                </a:cubicBezTo>
                <a:cubicBezTo>
                  <a:pt x="1099931" y="4712122"/>
                  <a:pt x="1099931" y="4712122"/>
                  <a:pt x="1099931" y="4712122"/>
                </a:cubicBezTo>
                <a:cubicBezTo>
                  <a:pt x="1130148" y="4743343"/>
                  <a:pt x="1131111" y="4747847"/>
                  <a:pt x="1157788" y="4784534"/>
                </a:cubicBezTo>
                <a:cubicBezTo>
                  <a:pt x="1172262" y="4786152"/>
                  <a:pt x="1178691" y="4794197"/>
                  <a:pt x="1178691" y="4794197"/>
                </a:cubicBezTo>
                <a:cubicBezTo>
                  <a:pt x="1184157" y="4797739"/>
                  <a:pt x="1179653" y="4798701"/>
                  <a:pt x="1186082" y="4806747"/>
                </a:cubicBezTo>
                <a:cubicBezTo>
                  <a:pt x="1195090" y="4804822"/>
                  <a:pt x="1193473" y="4819296"/>
                  <a:pt x="1205368" y="4830884"/>
                </a:cubicBezTo>
                <a:cubicBezTo>
                  <a:pt x="1222729" y="4846014"/>
                  <a:pt x="1208910" y="4825418"/>
                  <a:pt x="1226271" y="4840547"/>
                </a:cubicBezTo>
                <a:cubicBezTo>
                  <a:pt x="1215338" y="4833464"/>
                  <a:pt x="1228195" y="4849556"/>
                  <a:pt x="1241052" y="4865648"/>
                </a:cubicBezTo>
                <a:cubicBezTo>
                  <a:pt x="1240090" y="4861143"/>
                  <a:pt x="1240090" y="4861143"/>
                  <a:pt x="1235587" y="4862105"/>
                </a:cubicBezTo>
                <a:cubicBezTo>
                  <a:pt x="1234624" y="4857601"/>
                  <a:pt x="1229158" y="4854060"/>
                  <a:pt x="1230120" y="4858563"/>
                </a:cubicBezTo>
                <a:cubicBezTo>
                  <a:pt x="1225616" y="4859526"/>
                  <a:pt x="1231082" y="4863068"/>
                  <a:pt x="1232045" y="4867572"/>
                </a:cubicBezTo>
                <a:cubicBezTo>
                  <a:pt x="1237511" y="4871113"/>
                  <a:pt x="1237511" y="4871113"/>
                  <a:pt x="1238474" y="4875617"/>
                </a:cubicBezTo>
                <a:cubicBezTo>
                  <a:pt x="1233007" y="4872076"/>
                  <a:pt x="1225616" y="4859526"/>
                  <a:pt x="1222074" y="4864992"/>
                </a:cubicBezTo>
                <a:cubicBezTo>
                  <a:pt x="1233007" y="4872076"/>
                  <a:pt x="1239436" y="4880122"/>
                  <a:pt x="1243939" y="4879160"/>
                </a:cubicBezTo>
                <a:cubicBezTo>
                  <a:pt x="1243939" y="4879160"/>
                  <a:pt x="1249406" y="4882701"/>
                  <a:pt x="1249406" y="4882701"/>
                </a:cubicBezTo>
                <a:cubicBezTo>
                  <a:pt x="1255835" y="4890747"/>
                  <a:pt x="1255835" y="4890747"/>
                  <a:pt x="1260338" y="4889785"/>
                </a:cubicBezTo>
                <a:cubicBezTo>
                  <a:pt x="1265805" y="4893326"/>
                  <a:pt x="1260338" y="4889785"/>
                  <a:pt x="1259376" y="4885281"/>
                </a:cubicBezTo>
                <a:cubicBezTo>
                  <a:pt x="1258413" y="4880776"/>
                  <a:pt x="1258413" y="4880776"/>
                  <a:pt x="1253910" y="4881738"/>
                </a:cubicBezTo>
                <a:cubicBezTo>
                  <a:pt x="1252948" y="4877235"/>
                  <a:pt x="1252948" y="4877235"/>
                  <a:pt x="1252948" y="4877235"/>
                </a:cubicBezTo>
                <a:cubicBezTo>
                  <a:pt x="1263880" y="4884318"/>
                  <a:pt x="1261956" y="4875311"/>
                  <a:pt x="1270309" y="4892364"/>
                </a:cubicBezTo>
                <a:cubicBezTo>
                  <a:pt x="1279316" y="4890439"/>
                  <a:pt x="1262918" y="4879814"/>
                  <a:pt x="1266460" y="4874348"/>
                </a:cubicBezTo>
                <a:cubicBezTo>
                  <a:pt x="1284783" y="4893981"/>
                  <a:pt x="1275775" y="4895906"/>
                  <a:pt x="1286708" y="4902990"/>
                </a:cubicBezTo>
                <a:cubicBezTo>
                  <a:pt x="1282203" y="4903952"/>
                  <a:pt x="1282203" y="4903952"/>
                  <a:pt x="1282203" y="4903952"/>
                </a:cubicBezTo>
                <a:cubicBezTo>
                  <a:pt x="1276738" y="4900410"/>
                  <a:pt x="1276738" y="4900410"/>
                  <a:pt x="1272233" y="4901372"/>
                </a:cubicBezTo>
                <a:cubicBezTo>
                  <a:pt x="1272233" y="4901372"/>
                  <a:pt x="1277700" y="4904914"/>
                  <a:pt x="1278662" y="4909418"/>
                </a:cubicBezTo>
                <a:cubicBezTo>
                  <a:pt x="1269654" y="4911342"/>
                  <a:pt x="1269654" y="4911342"/>
                  <a:pt x="1285090" y="4917464"/>
                </a:cubicBezTo>
                <a:cubicBezTo>
                  <a:pt x="1280587" y="4918427"/>
                  <a:pt x="1280587" y="4918427"/>
                  <a:pt x="1280587" y="4918427"/>
                </a:cubicBezTo>
                <a:cubicBezTo>
                  <a:pt x="1281549" y="4922930"/>
                  <a:pt x="1282511" y="4927434"/>
                  <a:pt x="1287015" y="4926472"/>
                </a:cubicBezTo>
                <a:cubicBezTo>
                  <a:pt x="1287015" y="4926472"/>
                  <a:pt x="1287015" y="4926472"/>
                  <a:pt x="1291519" y="4925510"/>
                </a:cubicBezTo>
                <a:cubicBezTo>
                  <a:pt x="1292481" y="4930014"/>
                  <a:pt x="1292481" y="4930014"/>
                  <a:pt x="1292481" y="4930014"/>
                </a:cubicBezTo>
                <a:lnTo>
                  <a:pt x="1298910" y="4938059"/>
                </a:lnTo>
                <a:lnTo>
                  <a:pt x="1292356" y="4937694"/>
                </a:lnTo>
                <a:cubicBezTo>
                  <a:pt x="1290547" y="4937491"/>
                  <a:pt x="1289420" y="4937732"/>
                  <a:pt x="1289901" y="4939984"/>
                </a:cubicBezTo>
                <a:cubicBezTo>
                  <a:pt x="1289901" y="4939984"/>
                  <a:pt x="1291510" y="4941996"/>
                  <a:pt x="1293236" y="4944571"/>
                </a:cubicBezTo>
                <a:lnTo>
                  <a:pt x="1296561" y="4951097"/>
                </a:lnTo>
                <a:lnTo>
                  <a:pt x="1291826" y="4948992"/>
                </a:lnTo>
                <a:cubicBezTo>
                  <a:pt x="1282818" y="4950916"/>
                  <a:pt x="1301142" y="4970550"/>
                  <a:pt x="1310150" y="4968626"/>
                </a:cubicBezTo>
                <a:cubicBezTo>
                  <a:pt x="1310150" y="4968626"/>
                  <a:pt x="1311113" y="4973130"/>
                  <a:pt x="1315616" y="4972168"/>
                </a:cubicBezTo>
                <a:cubicBezTo>
                  <a:pt x="1316579" y="4976671"/>
                  <a:pt x="1316579" y="4976671"/>
                  <a:pt x="1316579" y="4976671"/>
                </a:cubicBezTo>
                <a:cubicBezTo>
                  <a:pt x="1322045" y="4980213"/>
                  <a:pt x="1321083" y="4975709"/>
                  <a:pt x="1321083" y="4975709"/>
                </a:cubicBezTo>
                <a:cubicBezTo>
                  <a:pt x="1321083" y="4975709"/>
                  <a:pt x="1315616" y="4972168"/>
                  <a:pt x="1315616" y="4972168"/>
                </a:cubicBezTo>
                <a:cubicBezTo>
                  <a:pt x="1319158" y="4966701"/>
                  <a:pt x="1308226" y="4959618"/>
                  <a:pt x="1302760" y="4956076"/>
                </a:cubicBezTo>
                <a:cubicBezTo>
                  <a:pt x="1308226" y="4959618"/>
                  <a:pt x="1308226" y="4959618"/>
                  <a:pt x="1308226" y="4959618"/>
                </a:cubicBezTo>
                <a:cubicBezTo>
                  <a:pt x="1313692" y="4963159"/>
                  <a:pt x="1318196" y="4962197"/>
                  <a:pt x="1317234" y="4957694"/>
                </a:cubicBezTo>
                <a:cubicBezTo>
                  <a:pt x="1317234" y="4957694"/>
                  <a:pt x="1316271" y="4953189"/>
                  <a:pt x="1310805" y="4949647"/>
                </a:cubicBezTo>
                <a:cubicBezTo>
                  <a:pt x="1305339" y="4946105"/>
                  <a:pt x="1305339" y="4946105"/>
                  <a:pt x="1305339" y="4946105"/>
                </a:cubicBezTo>
                <a:cubicBezTo>
                  <a:pt x="1326241" y="4955769"/>
                  <a:pt x="1305339" y="4946105"/>
                  <a:pt x="1296986" y="4929052"/>
                </a:cubicBezTo>
                <a:cubicBezTo>
                  <a:pt x="1302452" y="4932593"/>
                  <a:pt x="1302452" y="4932593"/>
                  <a:pt x="1302452" y="4932593"/>
                </a:cubicBezTo>
                <a:cubicBezTo>
                  <a:pt x="1302452" y="4932593"/>
                  <a:pt x="1301490" y="4928089"/>
                  <a:pt x="1301490" y="4928089"/>
                </a:cubicBezTo>
                <a:cubicBezTo>
                  <a:pt x="1301490" y="4928089"/>
                  <a:pt x="1300528" y="4923585"/>
                  <a:pt x="1300528" y="4923585"/>
                </a:cubicBezTo>
                <a:cubicBezTo>
                  <a:pt x="1296024" y="4924547"/>
                  <a:pt x="1296024" y="4924547"/>
                  <a:pt x="1295061" y="4920043"/>
                </a:cubicBezTo>
                <a:cubicBezTo>
                  <a:pt x="1299565" y="4919081"/>
                  <a:pt x="1294099" y="4915540"/>
                  <a:pt x="1293137" y="4911035"/>
                </a:cubicBezTo>
                <a:cubicBezTo>
                  <a:pt x="1303107" y="4913615"/>
                  <a:pt x="1309535" y="4921661"/>
                  <a:pt x="1322392" y="4937753"/>
                </a:cubicBezTo>
                <a:cubicBezTo>
                  <a:pt x="1322392" y="4937753"/>
                  <a:pt x="1322392" y="4937753"/>
                  <a:pt x="1317889" y="4938715"/>
                </a:cubicBezTo>
                <a:cubicBezTo>
                  <a:pt x="1317889" y="4938715"/>
                  <a:pt x="1317889" y="4938715"/>
                  <a:pt x="1318851" y="4943218"/>
                </a:cubicBezTo>
                <a:cubicBezTo>
                  <a:pt x="1318851" y="4943218"/>
                  <a:pt x="1323354" y="4942256"/>
                  <a:pt x="1323354" y="4942256"/>
                </a:cubicBezTo>
                <a:cubicBezTo>
                  <a:pt x="1324317" y="4946760"/>
                  <a:pt x="1324317" y="4946760"/>
                  <a:pt x="1324317" y="4946760"/>
                </a:cubicBezTo>
                <a:cubicBezTo>
                  <a:pt x="1328821" y="4945798"/>
                  <a:pt x="1328821" y="4945798"/>
                  <a:pt x="1328821" y="4945798"/>
                </a:cubicBezTo>
                <a:cubicBezTo>
                  <a:pt x="1335250" y="4953844"/>
                  <a:pt x="1331708" y="4959310"/>
                  <a:pt x="1342641" y="4966394"/>
                </a:cubicBezTo>
                <a:cubicBezTo>
                  <a:pt x="1343603" y="4970897"/>
                  <a:pt x="1343603" y="4970897"/>
                  <a:pt x="1343603" y="4970897"/>
                </a:cubicBezTo>
                <a:cubicBezTo>
                  <a:pt x="1343603" y="4970897"/>
                  <a:pt x="1344566" y="4975402"/>
                  <a:pt x="1349069" y="4974440"/>
                </a:cubicBezTo>
                <a:cubicBezTo>
                  <a:pt x="1349069" y="4974440"/>
                  <a:pt x="1348107" y="4969935"/>
                  <a:pt x="1348107" y="4969935"/>
                </a:cubicBezTo>
                <a:cubicBezTo>
                  <a:pt x="1359040" y="4977019"/>
                  <a:pt x="1361927" y="4990531"/>
                  <a:pt x="1370935" y="4988607"/>
                </a:cubicBezTo>
                <a:cubicBezTo>
                  <a:pt x="1371897" y="4993111"/>
                  <a:pt x="1371897" y="4993111"/>
                  <a:pt x="1377363" y="4996652"/>
                </a:cubicBezTo>
                <a:cubicBezTo>
                  <a:pt x="1377363" y="4996652"/>
                  <a:pt x="1377363" y="4996652"/>
                  <a:pt x="1376401" y="4992149"/>
                </a:cubicBezTo>
                <a:cubicBezTo>
                  <a:pt x="1401153" y="5019827"/>
                  <a:pt x="1391838" y="4998270"/>
                  <a:pt x="1397304" y="5001812"/>
                </a:cubicBezTo>
                <a:cubicBezTo>
                  <a:pt x="1405658" y="5018865"/>
                  <a:pt x="1434914" y="5045582"/>
                  <a:pt x="1457741" y="5064254"/>
                </a:cubicBezTo>
                <a:cubicBezTo>
                  <a:pt x="1462246" y="5063292"/>
                  <a:pt x="1462246" y="5063292"/>
                  <a:pt x="1462246" y="5063292"/>
                </a:cubicBezTo>
                <a:cubicBezTo>
                  <a:pt x="1463208" y="5067795"/>
                  <a:pt x="1467712" y="5066833"/>
                  <a:pt x="1467712" y="5066833"/>
                </a:cubicBezTo>
                <a:cubicBezTo>
                  <a:pt x="1483149" y="5072955"/>
                  <a:pt x="1496968" y="5093550"/>
                  <a:pt x="1498892" y="5102559"/>
                </a:cubicBezTo>
                <a:cubicBezTo>
                  <a:pt x="1502435" y="5097092"/>
                  <a:pt x="1502435" y="5097092"/>
                  <a:pt x="1507901" y="5100634"/>
                </a:cubicBezTo>
                <a:cubicBezTo>
                  <a:pt x="1507901" y="5100634"/>
                  <a:pt x="1508863" y="5105137"/>
                  <a:pt x="1509826" y="5109642"/>
                </a:cubicBezTo>
                <a:cubicBezTo>
                  <a:pt x="1513367" y="5104175"/>
                  <a:pt x="1518833" y="5107717"/>
                  <a:pt x="1525262" y="5115763"/>
                </a:cubicBezTo>
                <a:cubicBezTo>
                  <a:pt x="1520758" y="5116725"/>
                  <a:pt x="1520758" y="5116725"/>
                  <a:pt x="1520758" y="5116725"/>
                </a:cubicBezTo>
                <a:cubicBezTo>
                  <a:pt x="1521720" y="5121229"/>
                  <a:pt x="1527187" y="5124771"/>
                  <a:pt x="1527187" y="5124771"/>
                </a:cubicBezTo>
                <a:cubicBezTo>
                  <a:pt x="1527187" y="5124771"/>
                  <a:pt x="1531691" y="5123809"/>
                  <a:pt x="1531691" y="5123809"/>
                </a:cubicBezTo>
                <a:cubicBezTo>
                  <a:pt x="1534578" y="5137321"/>
                  <a:pt x="1577346" y="5161151"/>
                  <a:pt x="1565451" y="5149564"/>
                </a:cubicBezTo>
                <a:cubicBezTo>
                  <a:pt x="1556443" y="5151489"/>
                  <a:pt x="1567069" y="5135089"/>
                  <a:pt x="1558060" y="5137014"/>
                </a:cubicBezTo>
                <a:cubicBezTo>
                  <a:pt x="1554518" y="5142480"/>
                  <a:pt x="1543586" y="5135397"/>
                  <a:pt x="1537157" y="5127351"/>
                </a:cubicBezTo>
                <a:cubicBezTo>
                  <a:pt x="1538119" y="5131855"/>
                  <a:pt x="1542623" y="5130892"/>
                  <a:pt x="1542623" y="5130892"/>
                </a:cubicBezTo>
                <a:cubicBezTo>
                  <a:pt x="1548090" y="5134434"/>
                  <a:pt x="1548090" y="5134434"/>
                  <a:pt x="1548090" y="5134434"/>
                </a:cubicBezTo>
                <a:cubicBezTo>
                  <a:pt x="1547128" y="5129930"/>
                  <a:pt x="1547128" y="5129930"/>
                  <a:pt x="1546166" y="5125426"/>
                </a:cubicBezTo>
                <a:cubicBezTo>
                  <a:pt x="1546166" y="5125426"/>
                  <a:pt x="1551631" y="5128968"/>
                  <a:pt x="1551631" y="5128968"/>
                </a:cubicBezTo>
                <a:cubicBezTo>
                  <a:pt x="1551631" y="5128968"/>
                  <a:pt x="1550669" y="5124464"/>
                  <a:pt x="1550669" y="5124464"/>
                </a:cubicBezTo>
                <a:cubicBezTo>
                  <a:pt x="1545203" y="5120922"/>
                  <a:pt x="1545203" y="5120922"/>
                  <a:pt x="1545203" y="5120922"/>
                </a:cubicBezTo>
                <a:cubicBezTo>
                  <a:pt x="1539737" y="5117380"/>
                  <a:pt x="1539737" y="5117380"/>
                  <a:pt x="1539737" y="5117380"/>
                </a:cubicBezTo>
                <a:cubicBezTo>
                  <a:pt x="1543279" y="5111913"/>
                  <a:pt x="1549707" y="5119960"/>
                  <a:pt x="1554211" y="5118998"/>
                </a:cubicBezTo>
                <a:cubicBezTo>
                  <a:pt x="1554211" y="5118998"/>
                  <a:pt x="1555173" y="5123502"/>
                  <a:pt x="1555173" y="5123502"/>
                </a:cubicBezTo>
                <a:cubicBezTo>
                  <a:pt x="1556135" y="5128005"/>
                  <a:pt x="1556135" y="5128005"/>
                  <a:pt x="1556135" y="5128005"/>
                </a:cubicBezTo>
                <a:cubicBezTo>
                  <a:pt x="1561602" y="5131547"/>
                  <a:pt x="1567069" y="5135089"/>
                  <a:pt x="1571572" y="5134127"/>
                </a:cubicBezTo>
                <a:cubicBezTo>
                  <a:pt x="1571572" y="5134127"/>
                  <a:pt x="1576077" y="5133165"/>
                  <a:pt x="1570610" y="5129623"/>
                </a:cubicBezTo>
                <a:cubicBezTo>
                  <a:pt x="1569648" y="5125119"/>
                  <a:pt x="1569648" y="5125119"/>
                  <a:pt x="1569648" y="5125119"/>
                </a:cubicBezTo>
                <a:cubicBezTo>
                  <a:pt x="1586047" y="5135744"/>
                  <a:pt x="1567069" y="5135089"/>
                  <a:pt x="1587010" y="5140248"/>
                </a:cubicBezTo>
                <a:cubicBezTo>
                  <a:pt x="1587972" y="5144752"/>
                  <a:pt x="1587972" y="5144752"/>
                  <a:pt x="1587972" y="5144752"/>
                </a:cubicBezTo>
                <a:cubicBezTo>
                  <a:pt x="1588934" y="5149256"/>
                  <a:pt x="1588934" y="5149256"/>
                  <a:pt x="1593438" y="5148294"/>
                </a:cubicBezTo>
                <a:cubicBezTo>
                  <a:pt x="1598904" y="5151836"/>
                  <a:pt x="1598904" y="5151836"/>
                  <a:pt x="1598904" y="5151836"/>
                </a:cubicBezTo>
                <a:cubicBezTo>
                  <a:pt x="1604371" y="5155378"/>
                  <a:pt x="1604371" y="5155378"/>
                  <a:pt x="1610799" y="5163423"/>
                </a:cubicBezTo>
                <a:cubicBezTo>
                  <a:pt x="1618845" y="5156994"/>
                  <a:pt x="1646177" y="5174704"/>
                  <a:pt x="1638786" y="5162154"/>
                </a:cubicBezTo>
                <a:cubicBezTo>
                  <a:pt x="1636534" y="5162635"/>
                  <a:pt x="1632675" y="5161104"/>
                  <a:pt x="1628575" y="5158449"/>
                </a:cubicBezTo>
                <a:lnTo>
                  <a:pt x="1621158" y="5151791"/>
                </a:lnTo>
                <a:lnTo>
                  <a:pt x="1626891" y="5150566"/>
                </a:lnTo>
                <a:cubicBezTo>
                  <a:pt x="1654223" y="5168275"/>
                  <a:pt x="1681554" y="5185984"/>
                  <a:pt x="1698916" y="5201113"/>
                </a:cubicBezTo>
                <a:cubicBezTo>
                  <a:pt x="1699878" y="5205617"/>
                  <a:pt x="1704383" y="5204655"/>
                  <a:pt x="1704383" y="5204655"/>
                </a:cubicBezTo>
                <a:cubicBezTo>
                  <a:pt x="1721744" y="5219784"/>
                  <a:pt x="1688945" y="5198534"/>
                  <a:pt x="1695374" y="5206579"/>
                </a:cubicBezTo>
                <a:cubicBezTo>
                  <a:pt x="1716277" y="5216242"/>
                  <a:pt x="1711773" y="5217205"/>
                  <a:pt x="1713697" y="5226213"/>
                </a:cubicBezTo>
                <a:cubicBezTo>
                  <a:pt x="1733638" y="5231372"/>
                  <a:pt x="1741992" y="5248426"/>
                  <a:pt x="1734601" y="5235876"/>
                </a:cubicBezTo>
                <a:cubicBezTo>
                  <a:pt x="1739105" y="5234914"/>
                  <a:pt x="1739105" y="5234914"/>
                  <a:pt x="1739105" y="5234914"/>
                </a:cubicBezTo>
                <a:cubicBezTo>
                  <a:pt x="1743608" y="5233952"/>
                  <a:pt x="1743608" y="5233952"/>
                  <a:pt x="1743608" y="5233952"/>
                </a:cubicBezTo>
                <a:cubicBezTo>
                  <a:pt x="1749075" y="5237493"/>
                  <a:pt x="1759046" y="5240073"/>
                  <a:pt x="1765474" y="5248118"/>
                </a:cubicBezTo>
                <a:cubicBezTo>
                  <a:pt x="1764511" y="5243615"/>
                  <a:pt x="1769016" y="5242652"/>
                  <a:pt x="1774483" y="5246193"/>
                </a:cubicBezTo>
                <a:cubicBezTo>
                  <a:pt x="1794423" y="5251353"/>
                  <a:pt x="1814672" y="5279995"/>
                  <a:pt x="1840078" y="5288696"/>
                </a:cubicBezTo>
                <a:cubicBezTo>
                  <a:pt x="1846507" y="5296741"/>
                  <a:pt x="1850049" y="5291274"/>
                  <a:pt x="1860019" y="5293854"/>
                </a:cubicBezTo>
                <a:cubicBezTo>
                  <a:pt x="1860019" y="5293854"/>
                  <a:pt x="1866448" y="5301901"/>
                  <a:pt x="1872877" y="5309946"/>
                </a:cubicBezTo>
                <a:cubicBezTo>
                  <a:pt x="1926578" y="5340859"/>
                  <a:pt x="2003762" y="5371466"/>
                  <a:pt x="2056500" y="5397876"/>
                </a:cubicBezTo>
                <a:cubicBezTo>
                  <a:pt x="2082870" y="5411080"/>
                  <a:pt x="2103773" y="5420743"/>
                  <a:pt x="2135609" y="5437490"/>
                </a:cubicBezTo>
                <a:cubicBezTo>
                  <a:pt x="2145579" y="5440070"/>
                  <a:pt x="2170024" y="5444266"/>
                  <a:pt x="2180957" y="5451349"/>
                </a:cubicBezTo>
                <a:cubicBezTo>
                  <a:pt x="2180957" y="5451349"/>
                  <a:pt x="2187385" y="5459396"/>
                  <a:pt x="2187385" y="5459396"/>
                </a:cubicBezTo>
                <a:cubicBezTo>
                  <a:pt x="2212793" y="5468096"/>
                  <a:pt x="2211830" y="5463592"/>
                  <a:pt x="2228229" y="5474217"/>
                </a:cubicBezTo>
                <a:cubicBezTo>
                  <a:pt x="2217297" y="5467134"/>
                  <a:pt x="2275502" y="5497085"/>
                  <a:pt x="2305413" y="5504824"/>
                </a:cubicBezTo>
                <a:cubicBezTo>
                  <a:pt x="2352685" y="5527692"/>
                  <a:pt x="2417013" y="5542206"/>
                  <a:pt x="2473293" y="5563150"/>
                </a:cubicBezTo>
                <a:cubicBezTo>
                  <a:pt x="2497738" y="5567346"/>
                  <a:pt x="2533115" y="5578627"/>
                  <a:pt x="2572035" y="5584441"/>
                </a:cubicBezTo>
                <a:cubicBezTo>
                  <a:pt x="2611917" y="5594759"/>
                  <a:pt x="2655341" y="5599610"/>
                  <a:pt x="2679785" y="5603808"/>
                </a:cubicBezTo>
                <a:cubicBezTo>
                  <a:pt x="2747653" y="5612856"/>
                  <a:pt x="2802972" y="5629295"/>
                  <a:pt x="2856366" y="5636726"/>
                </a:cubicBezTo>
                <a:cubicBezTo>
                  <a:pt x="2894323" y="5638036"/>
                  <a:pt x="2946755" y="5640963"/>
                  <a:pt x="2989216" y="5641311"/>
                </a:cubicBezTo>
                <a:cubicBezTo>
                  <a:pt x="3014623" y="5650012"/>
                  <a:pt x="3047114" y="5647780"/>
                  <a:pt x="3079605" y="5645548"/>
                </a:cubicBezTo>
                <a:cubicBezTo>
                  <a:pt x="3096004" y="5656173"/>
                  <a:pt x="3142970" y="5655559"/>
                  <a:pt x="3189935" y="5654944"/>
                </a:cubicBezTo>
                <a:cubicBezTo>
                  <a:pt x="3236900" y="5654329"/>
                  <a:pt x="3283865" y="5653715"/>
                  <a:pt x="3300264" y="5664340"/>
                </a:cubicBezTo>
                <a:cubicBezTo>
                  <a:pt x="3313777" y="5661453"/>
                  <a:pt x="3337259" y="5661146"/>
                  <a:pt x="3342726" y="5664687"/>
                </a:cubicBezTo>
                <a:cubicBezTo>
                  <a:pt x="3354313" y="5652793"/>
                  <a:pt x="3405783" y="5651215"/>
                  <a:pt x="3412212" y="5659262"/>
                </a:cubicBezTo>
                <a:cubicBezTo>
                  <a:pt x="3416716" y="5658299"/>
                  <a:pt x="3425724" y="5656375"/>
                  <a:pt x="3430228" y="5655412"/>
                </a:cubicBezTo>
                <a:cubicBezTo>
                  <a:pt x="3433115" y="5668925"/>
                  <a:pt x="3471726" y="5651255"/>
                  <a:pt x="3505179" y="5653528"/>
                </a:cubicBezTo>
                <a:cubicBezTo>
                  <a:pt x="3509684" y="5652566"/>
                  <a:pt x="3509684" y="5652566"/>
                  <a:pt x="3509684" y="5652566"/>
                </a:cubicBezTo>
                <a:cubicBezTo>
                  <a:pt x="3509684" y="5652566"/>
                  <a:pt x="3510646" y="5657069"/>
                  <a:pt x="3510646" y="5657069"/>
                </a:cubicBezTo>
                <a:cubicBezTo>
                  <a:pt x="3515150" y="5656107"/>
                  <a:pt x="3515150" y="5656107"/>
                  <a:pt x="3519654" y="5655145"/>
                </a:cubicBezTo>
                <a:cubicBezTo>
                  <a:pt x="3519654" y="5655145"/>
                  <a:pt x="3519654" y="5655145"/>
                  <a:pt x="3518691" y="5650641"/>
                </a:cubicBezTo>
                <a:cubicBezTo>
                  <a:pt x="3518691" y="5650641"/>
                  <a:pt x="3514188" y="5651604"/>
                  <a:pt x="3514188" y="5651604"/>
                </a:cubicBezTo>
                <a:cubicBezTo>
                  <a:pt x="3523196" y="5649679"/>
                  <a:pt x="3536708" y="5646792"/>
                  <a:pt x="3535746" y="5642288"/>
                </a:cubicBezTo>
                <a:cubicBezTo>
                  <a:pt x="3614240" y="5634937"/>
                  <a:pt x="3691771" y="5623083"/>
                  <a:pt x="3771882" y="5601257"/>
                </a:cubicBezTo>
                <a:cubicBezTo>
                  <a:pt x="3802449" y="5590018"/>
                  <a:pt x="3824970" y="5585207"/>
                  <a:pt x="3861001" y="5577509"/>
                </a:cubicBezTo>
                <a:cubicBezTo>
                  <a:pt x="3900576" y="5564344"/>
                  <a:pt x="3957204" y="5542826"/>
                  <a:pt x="4010291" y="5526775"/>
                </a:cubicBezTo>
                <a:cubicBezTo>
                  <a:pt x="4066919" y="5505258"/>
                  <a:pt x="4119044" y="5484701"/>
                  <a:pt x="4162160" y="5466071"/>
                </a:cubicBezTo>
                <a:cubicBezTo>
                  <a:pt x="4197231" y="5453868"/>
                  <a:pt x="4214285" y="5445515"/>
                  <a:pt x="4252897" y="5427847"/>
                </a:cubicBezTo>
                <a:cubicBezTo>
                  <a:pt x="4260943" y="5421418"/>
                  <a:pt x="4274455" y="5418531"/>
                  <a:pt x="4283464" y="5416606"/>
                </a:cubicBezTo>
                <a:cubicBezTo>
                  <a:pt x="4305021" y="5407292"/>
                  <a:pt x="4320151" y="5389931"/>
                  <a:pt x="4342672" y="5385119"/>
                </a:cubicBezTo>
                <a:cubicBezTo>
                  <a:pt x="4342672" y="5385119"/>
                  <a:pt x="4343634" y="5389623"/>
                  <a:pt x="4343634" y="5389623"/>
                </a:cubicBezTo>
                <a:cubicBezTo>
                  <a:pt x="4339129" y="5390585"/>
                  <a:pt x="4344596" y="5394127"/>
                  <a:pt x="4348138" y="5388660"/>
                </a:cubicBezTo>
                <a:cubicBezTo>
                  <a:pt x="4352642" y="5387698"/>
                  <a:pt x="4357146" y="5386736"/>
                  <a:pt x="4357146" y="5386736"/>
                </a:cubicBezTo>
                <a:cubicBezTo>
                  <a:pt x="4356184" y="5382232"/>
                  <a:pt x="4360688" y="5381270"/>
                  <a:pt x="4360688" y="5381270"/>
                </a:cubicBezTo>
                <a:cubicBezTo>
                  <a:pt x="4361650" y="5385773"/>
                  <a:pt x="4366154" y="5384811"/>
                  <a:pt x="4370658" y="5383849"/>
                </a:cubicBezTo>
                <a:cubicBezTo>
                  <a:pt x="4374200" y="5378383"/>
                  <a:pt x="4369696" y="5379346"/>
                  <a:pt x="4368733" y="5374841"/>
                </a:cubicBezTo>
                <a:cubicBezTo>
                  <a:pt x="4368733" y="5374841"/>
                  <a:pt x="4373238" y="5373879"/>
                  <a:pt x="4373238" y="5373879"/>
                </a:cubicBezTo>
                <a:cubicBezTo>
                  <a:pt x="4377742" y="5372917"/>
                  <a:pt x="4381283" y="5367450"/>
                  <a:pt x="4381283" y="5367450"/>
                </a:cubicBezTo>
                <a:cubicBezTo>
                  <a:pt x="4380321" y="5362947"/>
                  <a:pt x="4375818" y="5363909"/>
                  <a:pt x="4371313" y="5364871"/>
                </a:cubicBezTo>
                <a:cubicBezTo>
                  <a:pt x="4372275" y="5369375"/>
                  <a:pt x="4372275" y="5369375"/>
                  <a:pt x="4372275" y="5369375"/>
                </a:cubicBezTo>
                <a:cubicBezTo>
                  <a:pt x="4366809" y="5365834"/>
                  <a:pt x="4366809" y="5365834"/>
                  <a:pt x="4366809" y="5365834"/>
                </a:cubicBezTo>
                <a:cubicBezTo>
                  <a:pt x="4401880" y="5353631"/>
                  <a:pt x="4453042" y="5328572"/>
                  <a:pt x="4471713" y="5305744"/>
                </a:cubicBezTo>
                <a:cubicBezTo>
                  <a:pt x="4510325" y="5288076"/>
                  <a:pt x="4564067" y="5253045"/>
                  <a:pt x="4629396" y="5206120"/>
                </a:cubicBezTo>
                <a:cubicBezTo>
                  <a:pt x="4630359" y="5210625"/>
                  <a:pt x="4630359" y="5210625"/>
                  <a:pt x="4630359" y="5210625"/>
                </a:cubicBezTo>
                <a:cubicBezTo>
                  <a:pt x="4630359" y="5210625"/>
                  <a:pt x="4625854" y="5211587"/>
                  <a:pt x="4625854" y="5211587"/>
                </a:cubicBezTo>
                <a:cubicBezTo>
                  <a:pt x="4622312" y="5217054"/>
                  <a:pt x="4617809" y="5218016"/>
                  <a:pt x="4623274" y="5221557"/>
                </a:cubicBezTo>
                <a:cubicBezTo>
                  <a:pt x="4623274" y="5221557"/>
                  <a:pt x="4627779" y="5220595"/>
                  <a:pt x="4631321" y="5215129"/>
                </a:cubicBezTo>
                <a:cubicBezTo>
                  <a:pt x="4635824" y="5214167"/>
                  <a:pt x="4635824" y="5214167"/>
                  <a:pt x="4639366" y="5208700"/>
                </a:cubicBezTo>
                <a:cubicBezTo>
                  <a:pt x="4640329" y="5213205"/>
                  <a:pt x="4644833" y="5212242"/>
                  <a:pt x="4653841" y="5210318"/>
                </a:cubicBezTo>
                <a:cubicBezTo>
                  <a:pt x="4653360" y="5208066"/>
                  <a:pt x="4652878" y="5205813"/>
                  <a:pt x="4651512" y="5204927"/>
                </a:cubicBezTo>
                <a:lnTo>
                  <a:pt x="4648965" y="5205864"/>
                </a:lnTo>
                <a:lnTo>
                  <a:pt x="4655458" y="5195843"/>
                </a:lnTo>
                <a:cubicBezTo>
                  <a:pt x="4650954" y="5196806"/>
                  <a:pt x="4646451" y="5197768"/>
                  <a:pt x="4641946" y="5198730"/>
                </a:cubicBezTo>
                <a:cubicBezTo>
                  <a:pt x="4652572" y="5182331"/>
                  <a:pt x="4659656" y="5171398"/>
                  <a:pt x="4680251" y="5157579"/>
                </a:cubicBezTo>
                <a:cubicBezTo>
                  <a:pt x="4676709" y="5163045"/>
                  <a:pt x="4681213" y="5162082"/>
                  <a:pt x="4685717" y="5161120"/>
                </a:cubicBezTo>
                <a:cubicBezTo>
                  <a:pt x="4706313" y="5147301"/>
                  <a:pt x="4724022" y="5119970"/>
                  <a:pt x="4736572" y="5112579"/>
                </a:cubicBezTo>
                <a:cubicBezTo>
                  <a:pt x="4736572" y="5112579"/>
                  <a:pt x="4737534" y="5117083"/>
                  <a:pt x="4733031" y="5118045"/>
                </a:cubicBezTo>
                <a:cubicBezTo>
                  <a:pt x="4761673" y="5097797"/>
                  <a:pt x="4779381" y="5070465"/>
                  <a:pt x="4793855" y="5072083"/>
                </a:cubicBezTo>
                <a:cubicBezTo>
                  <a:pt x="4789352" y="5073045"/>
                  <a:pt x="4792893" y="5067578"/>
                  <a:pt x="4797397" y="5066616"/>
                </a:cubicBezTo>
                <a:cubicBezTo>
                  <a:pt x="4803519" y="5051179"/>
                  <a:pt x="4783885" y="5069503"/>
                  <a:pt x="4779381" y="5070465"/>
                </a:cubicBezTo>
                <a:cubicBezTo>
                  <a:pt x="4803519" y="5051179"/>
                  <a:pt x="4812527" y="5049255"/>
                  <a:pt x="4818648" y="5033818"/>
                </a:cubicBezTo>
                <a:cubicBezTo>
                  <a:pt x="4824115" y="5037360"/>
                  <a:pt x="4817031" y="5048293"/>
                  <a:pt x="4828619" y="5036398"/>
                </a:cubicBezTo>
                <a:cubicBezTo>
                  <a:pt x="4831199" y="5026427"/>
                  <a:pt x="4827657" y="5031894"/>
                  <a:pt x="4834740" y="5020962"/>
                </a:cubicBezTo>
                <a:cubicBezTo>
                  <a:pt x="4833778" y="5016457"/>
                  <a:pt x="4838282" y="5015495"/>
                  <a:pt x="4838282" y="5015495"/>
                </a:cubicBezTo>
                <a:cubicBezTo>
                  <a:pt x="4841824" y="5010028"/>
                  <a:pt x="4846328" y="5009066"/>
                  <a:pt x="4845366" y="5004562"/>
                </a:cubicBezTo>
                <a:cubicBezTo>
                  <a:pt x="4844404" y="5000058"/>
                  <a:pt x="4839899" y="5001020"/>
                  <a:pt x="4836357" y="5006486"/>
                </a:cubicBezTo>
                <a:cubicBezTo>
                  <a:pt x="4836357" y="5006486"/>
                  <a:pt x="4836357" y="5006486"/>
                  <a:pt x="4831853" y="5007449"/>
                </a:cubicBezTo>
                <a:cubicBezTo>
                  <a:pt x="4867579" y="4976268"/>
                  <a:pt x="4873700" y="4960832"/>
                  <a:pt x="4916509" y="4918718"/>
                </a:cubicBezTo>
                <a:cubicBezTo>
                  <a:pt x="4936450" y="4923877"/>
                  <a:pt x="4920051" y="4913251"/>
                  <a:pt x="4950617" y="4902012"/>
                </a:cubicBezTo>
                <a:cubicBezTo>
                  <a:pt x="4951579" y="4906516"/>
                  <a:pt x="4951579" y="4906516"/>
                  <a:pt x="4951579" y="4906516"/>
                </a:cubicBezTo>
                <a:cubicBezTo>
                  <a:pt x="4948037" y="4911982"/>
                  <a:pt x="4952542" y="4911020"/>
                  <a:pt x="4956084" y="4905553"/>
                </a:cubicBezTo>
                <a:cubicBezTo>
                  <a:pt x="4960588" y="4904591"/>
                  <a:pt x="4964129" y="4899125"/>
                  <a:pt x="4963167" y="4894621"/>
                </a:cubicBezTo>
                <a:cubicBezTo>
                  <a:pt x="4966709" y="4889154"/>
                  <a:pt x="4966709" y="4889154"/>
                  <a:pt x="4966709" y="4889154"/>
                </a:cubicBezTo>
                <a:cubicBezTo>
                  <a:pt x="4974754" y="4882727"/>
                  <a:pt x="4973792" y="4878222"/>
                  <a:pt x="4968326" y="4874680"/>
                </a:cubicBezTo>
                <a:cubicBezTo>
                  <a:pt x="4977334" y="4872755"/>
                  <a:pt x="4979914" y="4862785"/>
                  <a:pt x="4983456" y="4857319"/>
                </a:cubicBezTo>
                <a:cubicBezTo>
                  <a:pt x="4975410" y="4863748"/>
                  <a:pt x="4967364" y="4870176"/>
                  <a:pt x="4959318" y="4876605"/>
                </a:cubicBezTo>
                <a:cubicBezTo>
                  <a:pt x="4960280" y="4881109"/>
                  <a:pt x="4961242" y="4885613"/>
                  <a:pt x="4961242" y="4885613"/>
                </a:cubicBezTo>
                <a:cubicBezTo>
                  <a:pt x="4961242" y="4885613"/>
                  <a:pt x="4956739" y="4886575"/>
                  <a:pt x="4957701" y="4891079"/>
                </a:cubicBezTo>
                <a:cubicBezTo>
                  <a:pt x="4957701" y="4891079"/>
                  <a:pt x="4953197" y="4892041"/>
                  <a:pt x="4953197" y="4892041"/>
                </a:cubicBezTo>
                <a:cubicBezTo>
                  <a:pt x="4948692" y="4893003"/>
                  <a:pt x="4949655" y="4897508"/>
                  <a:pt x="4950617" y="4902012"/>
                </a:cubicBezTo>
                <a:cubicBezTo>
                  <a:pt x="4926172" y="4897815"/>
                  <a:pt x="4900110" y="4908093"/>
                  <a:pt x="4875317" y="4946357"/>
                </a:cubicBezTo>
                <a:cubicBezTo>
                  <a:pt x="4870813" y="4947320"/>
                  <a:pt x="4867272" y="4952786"/>
                  <a:pt x="4866310" y="4948282"/>
                </a:cubicBezTo>
                <a:cubicBezTo>
                  <a:pt x="4870813" y="4947320"/>
                  <a:pt x="4869851" y="4942815"/>
                  <a:pt x="4865347" y="4943777"/>
                </a:cubicBezTo>
                <a:cubicBezTo>
                  <a:pt x="4865347" y="4943777"/>
                  <a:pt x="4865347" y="4943777"/>
                  <a:pt x="4861805" y="4949244"/>
                </a:cubicBezTo>
                <a:cubicBezTo>
                  <a:pt x="4861805" y="4949244"/>
                  <a:pt x="4857301" y="4950206"/>
                  <a:pt x="4857301" y="4950206"/>
                </a:cubicBezTo>
                <a:cubicBezTo>
                  <a:pt x="4865675" y="4934288"/>
                  <a:pt x="4874770" y="4921749"/>
                  <a:pt x="4886477" y="4910416"/>
                </a:cubicBezTo>
                <a:lnTo>
                  <a:pt x="4927253" y="4880833"/>
                </a:lnTo>
                <a:lnTo>
                  <a:pt x="4927789" y="4883341"/>
                </a:lnTo>
                <a:cubicBezTo>
                  <a:pt x="4932294" y="4882378"/>
                  <a:pt x="4932294" y="4882378"/>
                  <a:pt x="4931331" y="4877874"/>
                </a:cubicBezTo>
                <a:cubicBezTo>
                  <a:pt x="4940339" y="4875949"/>
                  <a:pt x="4939377" y="4871446"/>
                  <a:pt x="4947423" y="4865017"/>
                </a:cubicBezTo>
                <a:cubicBezTo>
                  <a:pt x="4947423" y="4865017"/>
                  <a:pt x="4948386" y="4869521"/>
                  <a:pt x="4943881" y="4870484"/>
                </a:cubicBezTo>
                <a:cubicBezTo>
                  <a:pt x="4943881" y="4870484"/>
                  <a:pt x="4948386" y="4869521"/>
                  <a:pt x="4948386" y="4869521"/>
                </a:cubicBezTo>
                <a:cubicBezTo>
                  <a:pt x="4948386" y="4869521"/>
                  <a:pt x="4951928" y="4864055"/>
                  <a:pt x="4951928" y="4864055"/>
                </a:cubicBezTo>
                <a:cubicBezTo>
                  <a:pt x="4976065" y="4844769"/>
                  <a:pt x="4998585" y="4839958"/>
                  <a:pt x="5016294" y="4812627"/>
                </a:cubicBezTo>
                <a:cubicBezTo>
                  <a:pt x="5009211" y="4823559"/>
                  <a:pt x="5017256" y="4817130"/>
                  <a:pt x="5026265" y="4815205"/>
                </a:cubicBezTo>
                <a:cubicBezTo>
                  <a:pt x="5015640" y="4831604"/>
                  <a:pt x="5002127" y="4834491"/>
                  <a:pt x="5008556" y="4842537"/>
                </a:cubicBezTo>
                <a:cubicBezTo>
                  <a:pt x="5030768" y="4814243"/>
                  <a:pt x="5045898" y="4796882"/>
                  <a:pt x="5081624" y="4765702"/>
                </a:cubicBezTo>
                <a:cubicBezTo>
                  <a:pt x="5082586" y="4770205"/>
                  <a:pt x="5086128" y="4764739"/>
                  <a:pt x="5090632" y="4763777"/>
                </a:cubicBezTo>
                <a:cubicBezTo>
                  <a:pt x="5094174" y="4758310"/>
                  <a:pt x="5097716" y="4752844"/>
                  <a:pt x="5093211" y="4753806"/>
                </a:cubicBezTo>
                <a:cubicBezTo>
                  <a:pt x="5101257" y="4747378"/>
                  <a:pt x="5103837" y="4737407"/>
                  <a:pt x="5109959" y="4721971"/>
                </a:cubicBezTo>
                <a:cubicBezTo>
                  <a:pt x="5115424" y="4725513"/>
                  <a:pt x="5108341" y="4736445"/>
                  <a:pt x="5116387" y="4730017"/>
                </a:cubicBezTo>
                <a:cubicBezTo>
                  <a:pt x="5115424" y="4725513"/>
                  <a:pt x="5123471" y="4719084"/>
                  <a:pt x="5122508" y="4714579"/>
                </a:cubicBezTo>
                <a:cubicBezTo>
                  <a:pt x="5122508" y="4714579"/>
                  <a:pt x="5127013" y="4713617"/>
                  <a:pt x="5126050" y="4709114"/>
                </a:cubicBezTo>
                <a:cubicBezTo>
                  <a:pt x="5130554" y="4708152"/>
                  <a:pt x="5130554" y="4708152"/>
                  <a:pt x="5130554" y="4708152"/>
                </a:cubicBezTo>
                <a:cubicBezTo>
                  <a:pt x="5129592" y="4703647"/>
                  <a:pt x="5129592" y="4703647"/>
                  <a:pt x="5129592" y="4703647"/>
                </a:cubicBezTo>
                <a:cubicBezTo>
                  <a:pt x="5126050" y="4709114"/>
                  <a:pt x="5126050" y="4709114"/>
                  <a:pt x="5126050" y="4709114"/>
                </a:cubicBezTo>
                <a:cubicBezTo>
                  <a:pt x="5121546" y="4710076"/>
                  <a:pt x="5121546" y="4710076"/>
                  <a:pt x="5121546" y="4710076"/>
                </a:cubicBezTo>
                <a:cubicBezTo>
                  <a:pt x="5136676" y="4692715"/>
                  <a:pt x="5136676" y="4692715"/>
                  <a:pt x="5136676" y="4692715"/>
                </a:cubicBezTo>
                <a:cubicBezTo>
                  <a:pt x="5133134" y="4698181"/>
                  <a:pt x="5134096" y="4702685"/>
                  <a:pt x="5137638" y="4697218"/>
                </a:cubicBezTo>
                <a:cubicBezTo>
                  <a:pt x="5170476" y="4652526"/>
                  <a:pt x="5191419" y="4596245"/>
                  <a:pt x="5217830" y="4543506"/>
                </a:cubicBezTo>
                <a:cubicBezTo>
                  <a:pt x="5238773" y="4487227"/>
                  <a:pt x="5260679" y="4435450"/>
                  <a:pt x="5282585" y="4383674"/>
                </a:cubicBezTo>
                <a:cubicBezTo>
                  <a:pt x="5291594" y="4381749"/>
                  <a:pt x="5292556" y="4386253"/>
                  <a:pt x="5294480" y="4395261"/>
                </a:cubicBezTo>
                <a:cubicBezTo>
                  <a:pt x="5308340" y="4349913"/>
                  <a:pt x="5320583" y="4319040"/>
                  <a:pt x="5327359" y="4284625"/>
                </a:cubicBezTo>
                <a:cubicBezTo>
                  <a:pt x="5338639" y="4249247"/>
                  <a:pt x="5345415" y="4214832"/>
                  <a:pt x="5363780" y="4168522"/>
                </a:cubicBezTo>
                <a:cubicBezTo>
                  <a:pt x="5360238" y="4173988"/>
                  <a:pt x="5360238" y="4173988"/>
                  <a:pt x="5364742" y="4173025"/>
                </a:cubicBezTo>
                <a:cubicBezTo>
                  <a:pt x="5364742" y="4173025"/>
                  <a:pt x="5369247" y="4172063"/>
                  <a:pt x="5372788" y="4166598"/>
                </a:cubicBezTo>
                <a:cubicBezTo>
                  <a:pt x="5377292" y="4165635"/>
                  <a:pt x="5377292" y="4165635"/>
                  <a:pt x="5377292" y="4165635"/>
                </a:cubicBezTo>
                <a:cubicBezTo>
                  <a:pt x="5379872" y="4155664"/>
                  <a:pt x="5386955" y="4144732"/>
                  <a:pt x="5381488" y="4141190"/>
                </a:cubicBezTo>
                <a:cubicBezTo>
                  <a:pt x="5385993" y="4140228"/>
                  <a:pt x="5389535" y="4134762"/>
                  <a:pt x="5388573" y="4130258"/>
                </a:cubicBezTo>
                <a:cubicBezTo>
                  <a:pt x="5392115" y="4124791"/>
                  <a:pt x="5387610" y="4125753"/>
                  <a:pt x="5387610" y="4125753"/>
                </a:cubicBezTo>
                <a:cubicBezTo>
                  <a:pt x="5383106" y="4126716"/>
                  <a:pt x="5383106" y="4126716"/>
                  <a:pt x="5383106" y="4126716"/>
                </a:cubicBezTo>
                <a:cubicBezTo>
                  <a:pt x="5396311" y="4100347"/>
                  <a:pt x="5393424" y="4086835"/>
                  <a:pt x="5406629" y="4060465"/>
                </a:cubicBezTo>
                <a:cubicBezTo>
                  <a:pt x="5393117" y="4063352"/>
                  <a:pt x="5404705" y="4051457"/>
                  <a:pt x="5403743" y="4046953"/>
                </a:cubicBezTo>
                <a:cubicBezTo>
                  <a:pt x="5397621" y="4062389"/>
                  <a:pt x="5395696" y="4053382"/>
                  <a:pt x="5388613" y="4064314"/>
                </a:cubicBezTo>
                <a:cubicBezTo>
                  <a:pt x="5386033" y="4074284"/>
                  <a:pt x="5396658" y="4057885"/>
                  <a:pt x="5395042" y="4072359"/>
                </a:cubicBezTo>
                <a:cubicBezTo>
                  <a:pt x="5383454" y="4084255"/>
                  <a:pt x="5381837" y="4098729"/>
                  <a:pt x="5373790" y="4105158"/>
                </a:cubicBezTo>
                <a:cubicBezTo>
                  <a:pt x="5377332" y="4099692"/>
                  <a:pt x="5380874" y="4094225"/>
                  <a:pt x="5379912" y="4089721"/>
                </a:cubicBezTo>
                <a:cubicBezTo>
                  <a:pt x="5366707" y="4116090"/>
                  <a:pt x="5349960" y="4147926"/>
                  <a:pt x="5334176" y="4184266"/>
                </a:cubicBezTo>
                <a:cubicBezTo>
                  <a:pt x="5318391" y="4220606"/>
                  <a:pt x="5302606" y="4256946"/>
                  <a:pt x="5290365" y="4287819"/>
                </a:cubicBezTo>
                <a:cubicBezTo>
                  <a:pt x="5289402" y="4283314"/>
                  <a:pt x="5284898" y="4284277"/>
                  <a:pt x="5281356" y="4289743"/>
                </a:cubicBezTo>
                <a:cubicBezTo>
                  <a:pt x="5264610" y="4321579"/>
                  <a:pt x="5251405" y="4347949"/>
                  <a:pt x="5229191" y="4376242"/>
                </a:cubicBezTo>
                <a:cubicBezTo>
                  <a:pt x="5235620" y="4384288"/>
                  <a:pt x="5215024" y="4398108"/>
                  <a:pt x="5207940" y="4409040"/>
                </a:cubicBezTo>
                <a:cubicBezTo>
                  <a:pt x="5204398" y="4414507"/>
                  <a:pt x="5209865" y="4418049"/>
                  <a:pt x="5201818" y="4424477"/>
                </a:cubicBezTo>
                <a:cubicBezTo>
                  <a:pt x="5202781" y="4428981"/>
                  <a:pt x="5190231" y="4436372"/>
                  <a:pt x="5183148" y="4447304"/>
                </a:cubicBezTo>
                <a:cubicBezTo>
                  <a:pt x="5172522" y="4463703"/>
                  <a:pt x="5162859" y="4484606"/>
                  <a:pt x="5152233" y="4501005"/>
                </a:cubicBezTo>
                <a:cubicBezTo>
                  <a:pt x="5138066" y="4522871"/>
                  <a:pt x="5139028" y="4527374"/>
                  <a:pt x="5120357" y="4550202"/>
                </a:cubicBezTo>
                <a:cubicBezTo>
                  <a:pt x="5089443" y="4603903"/>
                  <a:pt x="5035046" y="4657911"/>
                  <a:pt x="5021841" y="4684281"/>
                </a:cubicBezTo>
                <a:cubicBezTo>
                  <a:pt x="5008329" y="4687168"/>
                  <a:pt x="4999628" y="4712574"/>
                  <a:pt x="4992545" y="4723508"/>
                </a:cubicBezTo>
                <a:cubicBezTo>
                  <a:pt x="4995124" y="4713537"/>
                  <a:pt x="4991583" y="4719003"/>
                  <a:pt x="4987079" y="4719966"/>
                </a:cubicBezTo>
                <a:cubicBezTo>
                  <a:pt x="4962286" y="4758230"/>
                  <a:pt x="4916590" y="4786831"/>
                  <a:pt x="4875706" y="4837953"/>
                </a:cubicBezTo>
                <a:cubicBezTo>
                  <a:pt x="4861539" y="4859818"/>
                  <a:pt x="4873126" y="4847923"/>
                  <a:pt x="4848989" y="4867208"/>
                </a:cubicBezTo>
                <a:cubicBezTo>
                  <a:pt x="4832897" y="4880066"/>
                  <a:pt x="4822272" y="4896465"/>
                  <a:pt x="4806180" y="4909322"/>
                </a:cubicBezTo>
                <a:cubicBezTo>
                  <a:pt x="4750821" y="4958826"/>
                  <a:pt x="4694499" y="5003827"/>
                  <a:pt x="4646224" y="5042398"/>
                </a:cubicBezTo>
                <a:cubicBezTo>
                  <a:pt x="4626590" y="5060722"/>
                  <a:pt x="4609536" y="5069075"/>
                  <a:pt x="4598911" y="5085474"/>
                </a:cubicBezTo>
                <a:cubicBezTo>
                  <a:pt x="4594406" y="5086436"/>
                  <a:pt x="4594406" y="5086436"/>
                  <a:pt x="4589903" y="5087399"/>
                </a:cubicBezTo>
                <a:cubicBezTo>
                  <a:pt x="4585399" y="5088361"/>
                  <a:pt x="4571887" y="5091248"/>
                  <a:pt x="4552253" y="5109571"/>
                </a:cubicBezTo>
                <a:cubicBezTo>
                  <a:pt x="4544207" y="5115999"/>
                  <a:pt x="4532619" y="5127895"/>
                  <a:pt x="4524573" y="5134323"/>
                </a:cubicBezTo>
                <a:cubicBezTo>
                  <a:pt x="4486923" y="5156496"/>
                  <a:pt x="4440266" y="5180593"/>
                  <a:pt x="4429640" y="5196992"/>
                </a:cubicBezTo>
                <a:cubicBezTo>
                  <a:pt x="4435761" y="5181555"/>
                  <a:pt x="4387486" y="5220127"/>
                  <a:pt x="4375898" y="5232021"/>
                </a:cubicBezTo>
                <a:cubicBezTo>
                  <a:pt x="4356919" y="5231366"/>
                  <a:pt x="4330202" y="5260623"/>
                  <a:pt x="4295132" y="5272825"/>
                </a:cubicBezTo>
                <a:cubicBezTo>
                  <a:pt x="4290628" y="5273788"/>
                  <a:pt x="4297056" y="5281833"/>
                  <a:pt x="4283544" y="5284720"/>
                </a:cubicBezTo>
                <a:cubicBezTo>
                  <a:pt x="4273574" y="5282140"/>
                  <a:pt x="4243970" y="5297885"/>
                  <a:pt x="4249436" y="5301426"/>
                </a:cubicBezTo>
                <a:cubicBezTo>
                  <a:pt x="4233999" y="5295305"/>
                  <a:pt x="4210824" y="5319095"/>
                  <a:pt x="4200853" y="5316515"/>
                </a:cubicBezTo>
                <a:cubicBezTo>
                  <a:pt x="4202778" y="5325523"/>
                  <a:pt x="4199237" y="5330989"/>
                  <a:pt x="4195695" y="5336456"/>
                </a:cubicBezTo>
                <a:cubicBezTo>
                  <a:pt x="4187648" y="5342885"/>
                  <a:pt x="4183145" y="5343847"/>
                  <a:pt x="4175098" y="5350275"/>
                </a:cubicBezTo>
                <a:cubicBezTo>
                  <a:pt x="4145495" y="5366020"/>
                  <a:pt x="4105921" y="5379184"/>
                  <a:pt x="4070850" y="5391386"/>
                </a:cubicBezTo>
                <a:cubicBezTo>
                  <a:pt x="4061841" y="5393311"/>
                  <a:pt x="4051871" y="5390731"/>
                  <a:pt x="4051871" y="5390731"/>
                </a:cubicBezTo>
                <a:cubicBezTo>
                  <a:pt x="4048329" y="5396198"/>
                  <a:pt x="4043825" y="5397160"/>
                  <a:pt x="4040284" y="5402627"/>
                </a:cubicBezTo>
                <a:cubicBezTo>
                  <a:pt x="4035780" y="5403589"/>
                  <a:pt x="4035780" y="5403589"/>
                  <a:pt x="4035780" y="5403589"/>
                </a:cubicBezTo>
                <a:cubicBezTo>
                  <a:pt x="4002326" y="5401316"/>
                  <a:pt x="3960173" y="5424451"/>
                  <a:pt x="3926065" y="5441158"/>
                </a:cubicBezTo>
                <a:cubicBezTo>
                  <a:pt x="3925102" y="5436653"/>
                  <a:pt x="3925102" y="5436653"/>
                  <a:pt x="3925102" y="5436653"/>
                </a:cubicBezTo>
                <a:cubicBezTo>
                  <a:pt x="3910628" y="5435036"/>
                  <a:pt x="3909973" y="5454015"/>
                  <a:pt x="3902581" y="5441465"/>
                </a:cubicBezTo>
                <a:cubicBezTo>
                  <a:pt x="3880062" y="5446276"/>
                  <a:pt x="3895498" y="5452397"/>
                  <a:pt x="3877482" y="5456246"/>
                </a:cubicBezTo>
                <a:cubicBezTo>
                  <a:pt x="3876520" y="5451743"/>
                  <a:pt x="3867512" y="5453667"/>
                  <a:pt x="3862045" y="5450125"/>
                </a:cubicBezTo>
                <a:cubicBezTo>
                  <a:pt x="3845953" y="5462982"/>
                  <a:pt x="3827937" y="5466831"/>
                  <a:pt x="3804454" y="5467139"/>
                </a:cubicBezTo>
                <a:cubicBezTo>
                  <a:pt x="3798333" y="5482576"/>
                  <a:pt x="3769384" y="5479341"/>
                  <a:pt x="3761338" y="5485770"/>
                </a:cubicBezTo>
                <a:cubicBezTo>
                  <a:pt x="3760376" y="5481265"/>
                  <a:pt x="3755871" y="5482228"/>
                  <a:pt x="3755871" y="5482228"/>
                </a:cubicBezTo>
                <a:cubicBezTo>
                  <a:pt x="3730772" y="5497010"/>
                  <a:pt x="3707289" y="5497317"/>
                  <a:pt x="3684769" y="5502128"/>
                </a:cubicBezTo>
                <a:cubicBezTo>
                  <a:pt x="3680264" y="5503091"/>
                  <a:pt x="3675760" y="5504053"/>
                  <a:pt x="3675760" y="5504053"/>
                </a:cubicBezTo>
                <a:cubicBezTo>
                  <a:pt x="3674798" y="5499549"/>
                  <a:pt x="3674798" y="5499549"/>
                  <a:pt x="3674798" y="5499549"/>
                </a:cubicBezTo>
                <a:cubicBezTo>
                  <a:pt x="3673836" y="5495045"/>
                  <a:pt x="3669332" y="5496007"/>
                  <a:pt x="3669332" y="5496007"/>
                </a:cubicBezTo>
                <a:cubicBezTo>
                  <a:pt x="3664828" y="5496970"/>
                  <a:pt x="3665790" y="5501473"/>
                  <a:pt x="3665790" y="5501473"/>
                </a:cubicBezTo>
                <a:cubicBezTo>
                  <a:pt x="3651316" y="5499856"/>
                  <a:pt x="3640691" y="5516255"/>
                  <a:pt x="3618170" y="5521067"/>
                </a:cubicBezTo>
                <a:cubicBezTo>
                  <a:pt x="3635224" y="5512713"/>
                  <a:pt x="3606275" y="5509479"/>
                  <a:pt x="3602733" y="5514945"/>
                </a:cubicBezTo>
                <a:cubicBezTo>
                  <a:pt x="3611741" y="5513020"/>
                  <a:pt x="3612703" y="5517525"/>
                  <a:pt x="3603695" y="5519449"/>
                </a:cubicBezTo>
                <a:cubicBezTo>
                  <a:pt x="3607237" y="5513983"/>
                  <a:pt x="3589221" y="5517832"/>
                  <a:pt x="3584717" y="5518794"/>
                </a:cubicBezTo>
                <a:cubicBezTo>
                  <a:pt x="3586641" y="5527803"/>
                  <a:pt x="3575709" y="5520718"/>
                  <a:pt x="3558655" y="5529072"/>
                </a:cubicBezTo>
                <a:cubicBezTo>
                  <a:pt x="3570242" y="5517177"/>
                  <a:pt x="3544180" y="5527455"/>
                  <a:pt x="3531630" y="5534846"/>
                </a:cubicBezTo>
                <a:cubicBezTo>
                  <a:pt x="3527126" y="5535808"/>
                  <a:pt x="3527126" y="5535808"/>
                  <a:pt x="3521660" y="5532266"/>
                </a:cubicBezTo>
                <a:cubicBezTo>
                  <a:pt x="3517155" y="5533228"/>
                  <a:pt x="3512651" y="5534191"/>
                  <a:pt x="3507186" y="5530649"/>
                </a:cubicBezTo>
                <a:cubicBezTo>
                  <a:pt x="3507186" y="5530649"/>
                  <a:pt x="3502681" y="5531612"/>
                  <a:pt x="3502681" y="5531612"/>
                </a:cubicBezTo>
                <a:cubicBezTo>
                  <a:pt x="3474695" y="5532881"/>
                  <a:pt x="3448632" y="5543159"/>
                  <a:pt x="3424187" y="5538962"/>
                </a:cubicBezTo>
                <a:cubicBezTo>
                  <a:pt x="3399087" y="5553744"/>
                  <a:pt x="3349235" y="5540846"/>
                  <a:pt x="3328639" y="5554666"/>
                </a:cubicBezTo>
                <a:cubicBezTo>
                  <a:pt x="3324136" y="5555628"/>
                  <a:pt x="3324136" y="5555628"/>
                  <a:pt x="3319631" y="5556591"/>
                </a:cubicBezTo>
                <a:cubicBezTo>
                  <a:pt x="3318669" y="5552086"/>
                  <a:pt x="3318669" y="5552086"/>
                  <a:pt x="3314165" y="5553049"/>
                </a:cubicBezTo>
                <a:cubicBezTo>
                  <a:pt x="3314165" y="5553049"/>
                  <a:pt x="3309661" y="5554011"/>
                  <a:pt x="3309661" y="5554011"/>
                </a:cubicBezTo>
                <a:cubicBezTo>
                  <a:pt x="3304195" y="5550469"/>
                  <a:pt x="3286178" y="5554318"/>
                  <a:pt x="3282636" y="5559784"/>
                </a:cubicBezTo>
                <a:cubicBezTo>
                  <a:pt x="3282636" y="5559784"/>
                  <a:pt x="3278132" y="5560747"/>
                  <a:pt x="3278132" y="5560747"/>
                </a:cubicBezTo>
                <a:cubicBezTo>
                  <a:pt x="3272666" y="5557205"/>
                  <a:pt x="3272666" y="5557205"/>
                  <a:pt x="3272666" y="5557205"/>
                </a:cubicBezTo>
                <a:cubicBezTo>
                  <a:pt x="3268162" y="5558167"/>
                  <a:pt x="3268162" y="5558167"/>
                  <a:pt x="3268162" y="5558167"/>
                </a:cubicBezTo>
                <a:cubicBezTo>
                  <a:pt x="3254650" y="5561054"/>
                  <a:pt x="3240175" y="5559437"/>
                  <a:pt x="3231167" y="5561362"/>
                </a:cubicBezTo>
                <a:cubicBezTo>
                  <a:pt x="3231167" y="5561362"/>
                  <a:pt x="3225701" y="5557820"/>
                  <a:pt x="3221197" y="5558782"/>
                </a:cubicBezTo>
                <a:cubicBezTo>
                  <a:pt x="3222159" y="5563286"/>
                  <a:pt x="3197714" y="5559089"/>
                  <a:pt x="3192247" y="5555548"/>
                </a:cubicBezTo>
                <a:cubicBezTo>
                  <a:pt x="3193209" y="5560051"/>
                  <a:pt x="3193209" y="5560051"/>
                  <a:pt x="3193209" y="5560051"/>
                </a:cubicBezTo>
                <a:cubicBezTo>
                  <a:pt x="3188706" y="5561013"/>
                  <a:pt x="3188706" y="5561013"/>
                  <a:pt x="3183239" y="5557472"/>
                </a:cubicBezTo>
                <a:cubicBezTo>
                  <a:pt x="3189996" y="5556029"/>
                  <a:pt x="3190881" y="5554662"/>
                  <a:pt x="3189836" y="5552530"/>
                </a:cubicBezTo>
                <a:lnTo>
                  <a:pt x="3185794" y="5544792"/>
                </a:lnTo>
                <a:lnTo>
                  <a:pt x="3199331" y="5544615"/>
                </a:lnTo>
                <a:cubicBezTo>
                  <a:pt x="3231822" y="5542383"/>
                  <a:pt x="3296803" y="5537919"/>
                  <a:pt x="3342806" y="5532801"/>
                </a:cubicBezTo>
                <a:cubicBezTo>
                  <a:pt x="3467304" y="5520331"/>
                  <a:pt x="3586334" y="5504320"/>
                  <a:pt x="3695394" y="5485729"/>
                </a:cubicBezTo>
                <a:cubicBezTo>
                  <a:pt x="3711486" y="5472873"/>
                  <a:pt x="3758451" y="5472258"/>
                  <a:pt x="3771963" y="5469371"/>
                </a:cubicBezTo>
                <a:cubicBezTo>
                  <a:pt x="3771963" y="5469371"/>
                  <a:pt x="3780010" y="5462942"/>
                  <a:pt x="3784514" y="5461979"/>
                </a:cubicBezTo>
                <a:cubicBezTo>
                  <a:pt x="3784514" y="5461979"/>
                  <a:pt x="3784514" y="5461979"/>
                  <a:pt x="3789017" y="5461017"/>
                </a:cubicBezTo>
                <a:cubicBezTo>
                  <a:pt x="3789017" y="5461017"/>
                  <a:pt x="3789017" y="5461017"/>
                  <a:pt x="3798026" y="5459093"/>
                </a:cubicBezTo>
                <a:cubicBezTo>
                  <a:pt x="3824088" y="5448816"/>
                  <a:pt x="3856579" y="5446583"/>
                  <a:pt x="3891649" y="5434382"/>
                </a:cubicBezTo>
                <a:cubicBezTo>
                  <a:pt x="3923178" y="5427646"/>
                  <a:pt x="3983348" y="5400662"/>
                  <a:pt x="4026464" y="5382030"/>
                </a:cubicBezTo>
                <a:cubicBezTo>
                  <a:pt x="4065077" y="5364362"/>
                  <a:pt x="4109155" y="5350235"/>
                  <a:pt x="4129751" y="5336416"/>
                </a:cubicBezTo>
                <a:cubicBezTo>
                  <a:pt x="4146805" y="5328062"/>
                  <a:pt x="4135872" y="5320979"/>
                  <a:pt x="4167400" y="5314243"/>
                </a:cubicBezTo>
                <a:cubicBezTo>
                  <a:pt x="4168363" y="5318747"/>
                  <a:pt x="4172867" y="5317785"/>
                  <a:pt x="4181875" y="5315860"/>
                </a:cubicBezTo>
                <a:cubicBezTo>
                  <a:pt x="4185417" y="5310394"/>
                  <a:pt x="4184455" y="5305890"/>
                  <a:pt x="4197004" y="5298499"/>
                </a:cubicBezTo>
                <a:cubicBezTo>
                  <a:pt x="4206013" y="5296574"/>
                  <a:pt x="4219525" y="5293687"/>
                  <a:pt x="4232075" y="5286297"/>
                </a:cubicBezTo>
                <a:cubicBezTo>
                  <a:pt x="4274229" y="5263162"/>
                  <a:pt x="4325391" y="5238102"/>
                  <a:pt x="4350491" y="5223321"/>
                </a:cubicBezTo>
                <a:cubicBezTo>
                  <a:pt x="4363040" y="5215930"/>
                  <a:pt x="4362078" y="5211426"/>
                  <a:pt x="4370125" y="5204997"/>
                </a:cubicBezTo>
                <a:cubicBezTo>
                  <a:pt x="4405195" y="5192795"/>
                  <a:pt x="4449929" y="5159690"/>
                  <a:pt x="4490158" y="5127546"/>
                </a:cubicBezTo>
                <a:cubicBezTo>
                  <a:pt x="4531350" y="5099908"/>
                  <a:pt x="4567075" y="5068727"/>
                  <a:pt x="4596679" y="5052983"/>
                </a:cubicBezTo>
                <a:cubicBezTo>
                  <a:pt x="4591213" y="5049441"/>
                  <a:pt x="4595717" y="5048479"/>
                  <a:pt x="4603762" y="5042050"/>
                </a:cubicBezTo>
                <a:cubicBezTo>
                  <a:pt x="4600220" y="5047517"/>
                  <a:pt x="4601183" y="5052021"/>
                  <a:pt x="4604725" y="5046554"/>
                </a:cubicBezTo>
                <a:cubicBezTo>
                  <a:pt x="4608267" y="5041088"/>
                  <a:pt x="4662008" y="5006059"/>
                  <a:pt x="4652038" y="5003479"/>
                </a:cubicBezTo>
                <a:cubicBezTo>
                  <a:pt x="4671671" y="4985155"/>
                  <a:pt x="4681642" y="4987735"/>
                  <a:pt x="4681642" y="4987735"/>
                </a:cubicBezTo>
                <a:cubicBezTo>
                  <a:pt x="4696772" y="4970374"/>
                  <a:pt x="4680680" y="4983231"/>
                  <a:pt x="4675213" y="4979689"/>
                </a:cubicBezTo>
                <a:cubicBezTo>
                  <a:pt x="4694847" y="4961365"/>
                  <a:pt x="4694847" y="4961365"/>
                  <a:pt x="4694847" y="4961365"/>
                </a:cubicBezTo>
                <a:cubicBezTo>
                  <a:pt x="4688725" y="4976802"/>
                  <a:pt x="4704817" y="4963945"/>
                  <a:pt x="4709321" y="4962983"/>
                </a:cubicBezTo>
                <a:cubicBezTo>
                  <a:pt x="4722527" y="4936614"/>
                  <a:pt x="4769184" y="4912516"/>
                  <a:pt x="4798482" y="4873290"/>
                </a:cubicBezTo>
                <a:cubicBezTo>
                  <a:pt x="4802985" y="4872328"/>
                  <a:pt x="4802023" y="4867824"/>
                  <a:pt x="4806527" y="4866861"/>
                </a:cubicBezTo>
                <a:cubicBezTo>
                  <a:pt x="4811031" y="4865899"/>
                  <a:pt x="4810069" y="4861394"/>
                  <a:pt x="4810069" y="4861394"/>
                </a:cubicBezTo>
                <a:cubicBezTo>
                  <a:pt x="4813611" y="4855929"/>
                  <a:pt x="4809107" y="4856891"/>
                  <a:pt x="4805565" y="4862357"/>
                </a:cubicBezTo>
                <a:cubicBezTo>
                  <a:pt x="4805565" y="4862357"/>
                  <a:pt x="4805565" y="4862357"/>
                  <a:pt x="4801060" y="4863319"/>
                </a:cubicBezTo>
                <a:cubicBezTo>
                  <a:pt x="4839366" y="4822168"/>
                  <a:pt x="4864466" y="4807386"/>
                  <a:pt x="4898266" y="4767198"/>
                </a:cubicBezTo>
                <a:cubicBezTo>
                  <a:pt x="4903733" y="4770740"/>
                  <a:pt x="4907275" y="4765273"/>
                  <a:pt x="4912741" y="4768815"/>
                </a:cubicBezTo>
                <a:cubicBezTo>
                  <a:pt x="4958129" y="4716732"/>
                  <a:pt x="5008022" y="4663685"/>
                  <a:pt x="5052449" y="4607097"/>
                </a:cubicBezTo>
                <a:cubicBezTo>
                  <a:pt x="5101379" y="4549548"/>
                  <a:pt x="5144843" y="4488456"/>
                  <a:pt x="5184765" y="4432830"/>
                </a:cubicBezTo>
                <a:cubicBezTo>
                  <a:pt x="5171252" y="4435717"/>
                  <a:pt x="5159973" y="4471094"/>
                  <a:pt x="5143881" y="4483951"/>
                </a:cubicBezTo>
                <a:cubicBezTo>
                  <a:pt x="5144843" y="4488456"/>
                  <a:pt x="5135834" y="4490380"/>
                  <a:pt x="5131330" y="4491343"/>
                </a:cubicBezTo>
                <a:cubicBezTo>
                  <a:pt x="5105575" y="4525103"/>
                  <a:pt x="5072737" y="4569796"/>
                  <a:pt x="5037974" y="4605480"/>
                </a:cubicBezTo>
                <a:cubicBezTo>
                  <a:pt x="5000631" y="4651135"/>
                  <a:pt x="4959747" y="4702257"/>
                  <a:pt x="4920480" y="4738904"/>
                </a:cubicBezTo>
                <a:cubicBezTo>
                  <a:pt x="4915975" y="4739866"/>
                  <a:pt x="4903425" y="4747257"/>
                  <a:pt x="4903425" y="4747257"/>
                </a:cubicBezTo>
                <a:cubicBezTo>
                  <a:pt x="4880250" y="4771047"/>
                  <a:pt x="4858037" y="4799341"/>
                  <a:pt x="4838404" y="4817664"/>
                </a:cubicBezTo>
                <a:cubicBezTo>
                  <a:pt x="4833899" y="4818627"/>
                  <a:pt x="4837441" y="4813160"/>
                  <a:pt x="4829395" y="4819589"/>
                </a:cubicBezTo>
                <a:cubicBezTo>
                  <a:pt x="4833899" y="4818627"/>
                  <a:pt x="4830357" y="4824092"/>
                  <a:pt x="4831320" y="4828597"/>
                </a:cubicBezTo>
                <a:cubicBezTo>
                  <a:pt x="4800098" y="4858816"/>
                  <a:pt x="4766953" y="4880026"/>
                  <a:pt x="4739274" y="4904777"/>
                </a:cubicBezTo>
                <a:cubicBezTo>
                  <a:pt x="4742815" y="4899312"/>
                  <a:pt x="4747319" y="4898349"/>
                  <a:pt x="4750861" y="4892883"/>
                </a:cubicBezTo>
                <a:cubicBezTo>
                  <a:pt x="4769532" y="4870055"/>
                  <a:pt x="4789166" y="4851732"/>
                  <a:pt x="4781119" y="4858161"/>
                </a:cubicBezTo>
                <a:cubicBezTo>
                  <a:pt x="4800753" y="4839837"/>
                  <a:pt x="4822966" y="4811543"/>
                  <a:pt x="4838096" y="4794182"/>
                </a:cubicBezTo>
                <a:cubicBezTo>
                  <a:pt x="4841638" y="4788716"/>
                  <a:pt x="4841638" y="4788716"/>
                  <a:pt x="4846142" y="4787753"/>
                </a:cubicBezTo>
                <a:cubicBezTo>
                  <a:pt x="4843562" y="4797724"/>
                  <a:pt x="4853225" y="4776820"/>
                  <a:pt x="4855150" y="4785829"/>
                </a:cubicBezTo>
                <a:cubicBezTo>
                  <a:pt x="4862234" y="4774896"/>
                  <a:pt x="4869317" y="4763963"/>
                  <a:pt x="4872859" y="4758497"/>
                </a:cubicBezTo>
                <a:cubicBezTo>
                  <a:pt x="4884447" y="4746602"/>
                  <a:pt x="4892492" y="4740173"/>
                  <a:pt x="4899577" y="4729241"/>
                </a:cubicBezTo>
                <a:cubicBezTo>
                  <a:pt x="4919211" y="4710918"/>
                  <a:pt x="4943348" y="4691631"/>
                  <a:pt x="4951393" y="4685203"/>
                </a:cubicBezTo>
                <a:cubicBezTo>
                  <a:pt x="4946890" y="4686165"/>
                  <a:pt x="4950431" y="4680699"/>
                  <a:pt x="4950431" y="4680699"/>
                </a:cubicBezTo>
                <a:cubicBezTo>
                  <a:pt x="4953973" y="4675232"/>
                  <a:pt x="4957515" y="4669766"/>
                  <a:pt x="4965561" y="4663338"/>
                </a:cubicBezTo>
                <a:cubicBezTo>
                  <a:pt x="4965561" y="4663338"/>
                  <a:pt x="4970065" y="4662375"/>
                  <a:pt x="4969103" y="4657871"/>
                </a:cubicBezTo>
                <a:cubicBezTo>
                  <a:pt x="4980690" y="4645976"/>
                  <a:pt x="4992278" y="4634082"/>
                  <a:pt x="4999362" y="4623149"/>
                </a:cubicBezTo>
                <a:cubicBezTo>
                  <a:pt x="5010949" y="4611254"/>
                  <a:pt x="5023499" y="4603863"/>
                  <a:pt x="5014491" y="4605787"/>
                </a:cubicBezTo>
                <a:cubicBezTo>
                  <a:pt x="5025117" y="4589389"/>
                  <a:pt x="5040246" y="4572027"/>
                  <a:pt x="5059879" y="4553704"/>
                </a:cubicBezTo>
                <a:cubicBezTo>
                  <a:pt x="5063421" y="4548237"/>
                  <a:pt x="5070506" y="4537305"/>
                  <a:pt x="5078551" y="4530876"/>
                </a:cubicBezTo>
                <a:cubicBezTo>
                  <a:pt x="5078551" y="4530876"/>
                  <a:pt x="5083055" y="4529914"/>
                  <a:pt x="5083055" y="4529914"/>
                </a:cubicBezTo>
                <a:cubicBezTo>
                  <a:pt x="5082093" y="4525409"/>
                  <a:pt x="5086597" y="4524447"/>
                  <a:pt x="5086597" y="4524447"/>
                </a:cubicBezTo>
                <a:cubicBezTo>
                  <a:pt x="5085635" y="4519944"/>
                  <a:pt x="5085635" y="4519944"/>
                  <a:pt x="5085635" y="4519944"/>
                </a:cubicBezTo>
                <a:cubicBezTo>
                  <a:pt x="5085635" y="4519944"/>
                  <a:pt x="5085635" y="4519944"/>
                  <a:pt x="5090139" y="4518982"/>
                </a:cubicBezTo>
                <a:cubicBezTo>
                  <a:pt x="5115893" y="4485222"/>
                  <a:pt x="5141648" y="4451461"/>
                  <a:pt x="5159358" y="4424129"/>
                </a:cubicBezTo>
                <a:cubicBezTo>
                  <a:pt x="5163862" y="4423167"/>
                  <a:pt x="5168365" y="4422205"/>
                  <a:pt x="5167403" y="4417701"/>
                </a:cubicBezTo>
                <a:cubicBezTo>
                  <a:pt x="5171907" y="4416738"/>
                  <a:pt x="5171907" y="4416738"/>
                  <a:pt x="5171907" y="4416738"/>
                </a:cubicBezTo>
                <a:cubicBezTo>
                  <a:pt x="5171907" y="4416738"/>
                  <a:pt x="5176412" y="4415776"/>
                  <a:pt x="5175450" y="4411272"/>
                </a:cubicBezTo>
                <a:cubicBezTo>
                  <a:pt x="5174487" y="4406768"/>
                  <a:pt x="5174487" y="4406768"/>
                  <a:pt x="5174487" y="4406768"/>
                </a:cubicBezTo>
                <a:cubicBezTo>
                  <a:pt x="5185113" y="4390369"/>
                  <a:pt x="5210868" y="4356609"/>
                  <a:pt x="5198318" y="4363999"/>
                </a:cubicBezTo>
                <a:cubicBezTo>
                  <a:pt x="5198318" y="4363999"/>
                  <a:pt x="5198318" y="4363999"/>
                  <a:pt x="5201860" y="4358534"/>
                </a:cubicBezTo>
                <a:cubicBezTo>
                  <a:pt x="5206363" y="4357571"/>
                  <a:pt x="5204439" y="4348563"/>
                  <a:pt x="5204439" y="4348563"/>
                </a:cubicBezTo>
                <a:lnTo>
                  <a:pt x="5195619" y="4350447"/>
                </a:lnTo>
                <a:lnTo>
                  <a:pt x="5203077" y="4339435"/>
                </a:lnTo>
                <a:lnTo>
                  <a:pt x="5204128" y="4325131"/>
                </a:lnTo>
                <a:lnTo>
                  <a:pt x="5204204" y="4325020"/>
                </a:lnTo>
                <a:lnTo>
                  <a:pt x="5218092" y="4313267"/>
                </a:lnTo>
                <a:cubicBezTo>
                  <a:pt x="5221513" y="4307238"/>
                  <a:pt x="5224574" y="4299519"/>
                  <a:pt x="5229887" y="4291321"/>
                </a:cubicBezTo>
                <a:cubicBezTo>
                  <a:pt x="5229887" y="4291321"/>
                  <a:pt x="5234391" y="4290358"/>
                  <a:pt x="5234391" y="4290358"/>
                </a:cubicBezTo>
                <a:cubicBezTo>
                  <a:pt x="5233429" y="4285854"/>
                  <a:pt x="5237933" y="4284892"/>
                  <a:pt x="5233429" y="4285854"/>
                </a:cubicBezTo>
                <a:cubicBezTo>
                  <a:pt x="5233429" y="4285854"/>
                  <a:pt x="5233429" y="4285854"/>
                  <a:pt x="5232466" y="4281350"/>
                </a:cubicBezTo>
                <a:cubicBezTo>
                  <a:pt x="5236008" y="4275884"/>
                  <a:pt x="5240512" y="4274922"/>
                  <a:pt x="5245016" y="4273959"/>
                </a:cubicBezTo>
                <a:cubicBezTo>
                  <a:pt x="5241474" y="4279425"/>
                  <a:pt x="5241474" y="4279425"/>
                  <a:pt x="5241474" y="4279425"/>
                </a:cubicBezTo>
                <a:cubicBezTo>
                  <a:pt x="5237933" y="4284892"/>
                  <a:pt x="5238895" y="4289396"/>
                  <a:pt x="5238895" y="4289396"/>
                </a:cubicBezTo>
                <a:cubicBezTo>
                  <a:pt x="5243399" y="4288434"/>
                  <a:pt x="5247903" y="4287471"/>
                  <a:pt x="5246941" y="4282967"/>
                </a:cubicBezTo>
                <a:cubicBezTo>
                  <a:pt x="5251445" y="4282005"/>
                  <a:pt x="5251445" y="4282005"/>
                  <a:pt x="5251445" y="4282005"/>
                </a:cubicBezTo>
                <a:cubicBezTo>
                  <a:pt x="5252407" y="4286509"/>
                  <a:pt x="5232773" y="4304833"/>
                  <a:pt x="5238240" y="4308374"/>
                </a:cubicBezTo>
                <a:cubicBezTo>
                  <a:pt x="5269153" y="4254673"/>
                  <a:pt x="5312618" y="4193582"/>
                  <a:pt x="5347073" y="4134414"/>
                </a:cubicBezTo>
                <a:cubicBezTo>
                  <a:pt x="5350615" y="4128948"/>
                  <a:pt x="5353195" y="4118977"/>
                  <a:pt x="5356737" y="4113510"/>
                </a:cubicBezTo>
                <a:cubicBezTo>
                  <a:pt x="5355775" y="4109007"/>
                  <a:pt x="5356737" y="4113510"/>
                  <a:pt x="5360278" y="4108045"/>
                </a:cubicBezTo>
                <a:cubicBezTo>
                  <a:pt x="5387651" y="4059810"/>
                  <a:pt x="5416641" y="3997101"/>
                  <a:pt x="5440163" y="3930850"/>
                </a:cubicBezTo>
                <a:cubicBezTo>
                  <a:pt x="5443705" y="3925383"/>
                  <a:pt x="5448209" y="3924421"/>
                  <a:pt x="5447247" y="3919918"/>
                </a:cubicBezTo>
                <a:cubicBezTo>
                  <a:pt x="5448209" y="3924421"/>
                  <a:pt x="5449172" y="3928925"/>
                  <a:pt x="5441125" y="3935354"/>
                </a:cubicBezTo>
                <a:cubicBezTo>
                  <a:pt x="5445630" y="3934392"/>
                  <a:pt x="5446592" y="3938895"/>
                  <a:pt x="5443050" y="3944362"/>
                </a:cubicBezTo>
                <a:cubicBezTo>
                  <a:pt x="5437584" y="3940820"/>
                  <a:pt x="5436929" y="3959799"/>
                  <a:pt x="5437891" y="3964303"/>
                </a:cubicBezTo>
                <a:cubicBezTo>
                  <a:pt x="5437891" y="3964303"/>
                  <a:pt x="5433387" y="3965265"/>
                  <a:pt x="5434349" y="3969770"/>
                </a:cubicBezTo>
                <a:cubicBezTo>
                  <a:pt x="5434349" y="3969770"/>
                  <a:pt x="5435311" y="3974273"/>
                  <a:pt x="5435311" y="3974273"/>
                </a:cubicBezTo>
                <a:cubicBezTo>
                  <a:pt x="5433694" y="3988747"/>
                  <a:pt x="5422414" y="4024125"/>
                  <a:pt x="5425955" y="4018659"/>
                </a:cubicBezTo>
                <a:cubicBezTo>
                  <a:pt x="5424993" y="4014155"/>
                  <a:pt x="5429498" y="4013193"/>
                  <a:pt x="5428535" y="4008688"/>
                </a:cubicBezTo>
                <a:cubicBezTo>
                  <a:pt x="5429498" y="4013193"/>
                  <a:pt x="5430460" y="4017697"/>
                  <a:pt x="5430460" y="4017697"/>
                </a:cubicBezTo>
                <a:cubicBezTo>
                  <a:pt x="5430460" y="4017697"/>
                  <a:pt x="5434964" y="4016735"/>
                  <a:pt x="5438505" y="4011268"/>
                </a:cubicBezTo>
                <a:cubicBezTo>
                  <a:pt x="5438505" y="4011268"/>
                  <a:pt x="5438505" y="4011268"/>
                  <a:pt x="5439468" y="4015773"/>
                </a:cubicBezTo>
                <a:cubicBezTo>
                  <a:pt x="5439468" y="4015773"/>
                  <a:pt x="5434964" y="4016735"/>
                  <a:pt x="5435926" y="4021238"/>
                </a:cubicBezTo>
                <a:cubicBezTo>
                  <a:pt x="5435926" y="4021238"/>
                  <a:pt x="5435926" y="4021238"/>
                  <a:pt x="5436889" y="4025742"/>
                </a:cubicBezTo>
                <a:cubicBezTo>
                  <a:pt x="5430767" y="4041179"/>
                  <a:pt x="5428188" y="4051149"/>
                  <a:pt x="5429150" y="4055653"/>
                </a:cubicBezTo>
                <a:cubicBezTo>
                  <a:pt x="5430112" y="4060158"/>
                  <a:pt x="5430112" y="4060158"/>
                  <a:pt x="5430112" y="4060158"/>
                </a:cubicBezTo>
                <a:cubicBezTo>
                  <a:pt x="5430112" y="4060158"/>
                  <a:pt x="5430112" y="4060158"/>
                  <a:pt x="5433654" y="4054691"/>
                </a:cubicBezTo>
                <a:cubicBezTo>
                  <a:pt x="5430112" y="4060158"/>
                  <a:pt x="5434616" y="4059196"/>
                  <a:pt x="5438158" y="4053729"/>
                </a:cubicBezTo>
                <a:cubicBezTo>
                  <a:pt x="5422373" y="4090069"/>
                  <a:pt x="5418177" y="4114514"/>
                  <a:pt x="5410438" y="4144425"/>
                </a:cubicBezTo>
                <a:cubicBezTo>
                  <a:pt x="5401737" y="4169832"/>
                  <a:pt x="5393036" y="4195239"/>
                  <a:pt x="5377252" y="4231578"/>
                </a:cubicBezTo>
                <a:cubicBezTo>
                  <a:pt x="5380794" y="4226112"/>
                  <a:pt x="5381756" y="4230616"/>
                  <a:pt x="5378214" y="4236082"/>
                </a:cubicBezTo>
                <a:cubicBezTo>
                  <a:pt x="5378214" y="4236082"/>
                  <a:pt x="5378214" y="4236082"/>
                  <a:pt x="5373710" y="4237045"/>
                </a:cubicBezTo>
                <a:cubicBezTo>
                  <a:pt x="5373710" y="4237045"/>
                  <a:pt x="5374672" y="4241549"/>
                  <a:pt x="5374672" y="4241549"/>
                </a:cubicBezTo>
                <a:cubicBezTo>
                  <a:pt x="5371130" y="4247016"/>
                  <a:pt x="5371130" y="4247016"/>
                  <a:pt x="5371130" y="4247016"/>
                </a:cubicBezTo>
                <a:cubicBezTo>
                  <a:pt x="5365009" y="4262452"/>
                  <a:pt x="5365009" y="4262452"/>
                  <a:pt x="5365009" y="4262452"/>
                </a:cubicBezTo>
                <a:cubicBezTo>
                  <a:pt x="5369513" y="4261490"/>
                  <a:pt x="5365971" y="4266956"/>
                  <a:pt x="5366934" y="4271460"/>
                </a:cubicBezTo>
                <a:cubicBezTo>
                  <a:pt x="5374017" y="4260528"/>
                  <a:pt x="5369513" y="4261490"/>
                  <a:pt x="5372092" y="4251519"/>
                </a:cubicBezTo>
                <a:cubicBezTo>
                  <a:pt x="5372092" y="4251519"/>
                  <a:pt x="5376597" y="4250557"/>
                  <a:pt x="5376597" y="4250557"/>
                </a:cubicBezTo>
                <a:cubicBezTo>
                  <a:pt x="5376597" y="4250557"/>
                  <a:pt x="5376597" y="4250557"/>
                  <a:pt x="5377559" y="4255061"/>
                </a:cubicBezTo>
                <a:cubicBezTo>
                  <a:pt x="5382063" y="4254099"/>
                  <a:pt x="5381101" y="4249594"/>
                  <a:pt x="5381101" y="4249594"/>
                </a:cubicBezTo>
                <a:cubicBezTo>
                  <a:pt x="5381101" y="4249594"/>
                  <a:pt x="5380139" y="4245091"/>
                  <a:pt x="5380139" y="4245091"/>
                </a:cubicBezTo>
                <a:cubicBezTo>
                  <a:pt x="5383681" y="4239624"/>
                  <a:pt x="5383681" y="4239624"/>
                  <a:pt x="5383681" y="4239624"/>
                </a:cubicBezTo>
                <a:cubicBezTo>
                  <a:pt x="5387222" y="4234158"/>
                  <a:pt x="5384335" y="4220646"/>
                  <a:pt x="5389802" y="4224188"/>
                </a:cubicBezTo>
                <a:cubicBezTo>
                  <a:pt x="5397847" y="4217759"/>
                  <a:pt x="5384335" y="4220646"/>
                  <a:pt x="5387877" y="4215179"/>
                </a:cubicBezTo>
                <a:cubicBezTo>
                  <a:pt x="5391419" y="4209714"/>
                  <a:pt x="5392381" y="4214217"/>
                  <a:pt x="5396885" y="4213255"/>
                </a:cubicBezTo>
                <a:cubicBezTo>
                  <a:pt x="5399465" y="4203285"/>
                  <a:pt x="5403662" y="4178840"/>
                  <a:pt x="5403662" y="4178840"/>
                </a:cubicBezTo>
                <a:cubicBezTo>
                  <a:pt x="5408821" y="4158899"/>
                  <a:pt x="5425568" y="4127064"/>
                  <a:pt x="5428147" y="4117093"/>
                </a:cubicBezTo>
                <a:cubicBezTo>
                  <a:pt x="5431689" y="4111627"/>
                  <a:pt x="5428147" y="4117093"/>
                  <a:pt x="5423643" y="4118055"/>
                </a:cubicBezTo>
                <a:cubicBezTo>
                  <a:pt x="5428147" y="4117093"/>
                  <a:pt x="5430726" y="4107123"/>
                  <a:pt x="5430726" y="4107123"/>
                </a:cubicBezTo>
                <a:cubicBezTo>
                  <a:pt x="5430726" y="4107123"/>
                  <a:pt x="5428802" y="4098114"/>
                  <a:pt x="5428802" y="4098114"/>
                </a:cubicBezTo>
                <a:cubicBezTo>
                  <a:pt x="5432344" y="4092649"/>
                  <a:pt x="5434269" y="4101656"/>
                  <a:pt x="5433306" y="4097152"/>
                </a:cubicBezTo>
                <a:cubicBezTo>
                  <a:pt x="5441352" y="4090724"/>
                  <a:pt x="5430419" y="4083640"/>
                  <a:pt x="5440389" y="4086220"/>
                </a:cubicBezTo>
                <a:cubicBezTo>
                  <a:pt x="5441045" y="4067241"/>
                  <a:pt x="5446859" y="4028322"/>
                  <a:pt x="5458446" y="4016427"/>
                </a:cubicBezTo>
                <a:cubicBezTo>
                  <a:pt x="5459408" y="4020931"/>
                  <a:pt x="5454905" y="4021893"/>
                  <a:pt x="5449438" y="4018351"/>
                </a:cubicBezTo>
                <a:cubicBezTo>
                  <a:pt x="5465222" y="3982012"/>
                  <a:pt x="5481663" y="3926694"/>
                  <a:pt x="5482318" y="3907715"/>
                </a:cubicBezTo>
                <a:cubicBezTo>
                  <a:pt x="5484897" y="3897745"/>
                  <a:pt x="5510344" y="3840502"/>
                  <a:pt x="5505533" y="3817982"/>
                </a:cubicBezTo>
                <a:cubicBezTo>
                  <a:pt x="5508113" y="3808011"/>
                  <a:pt x="5505533" y="3817982"/>
                  <a:pt x="5510038" y="3817020"/>
                </a:cubicBezTo>
                <a:cubicBezTo>
                  <a:pt x="5507151" y="3803507"/>
                  <a:pt x="5519393" y="3772634"/>
                  <a:pt x="5525514" y="3757197"/>
                </a:cubicBezTo>
                <a:cubicBezTo>
                  <a:pt x="5525514" y="3757197"/>
                  <a:pt x="5522935" y="3767168"/>
                  <a:pt x="5528401" y="3770709"/>
                </a:cubicBezTo>
                <a:cubicBezTo>
                  <a:pt x="5530674" y="3737256"/>
                  <a:pt x="5528094" y="3747227"/>
                  <a:pt x="5520048" y="3753656"/>
                </a:cubicBezTo>
                <a:cubicBezTo>
                  <a:pt x="5530366" y="3713774"/>
                  <a:pt x="5529404" y="3709270"/>
                  <a:pt x="5543571" y="3687405"/>
                </a:cubicBezTo>
                <a:cubicBezTo>
                  <a:pt x="5543571" y="3687405"/>
                  <a:pt x="5547113" y="3681939"/>
                  <a:pt x="5547113" y="3681939"/>
                </a:cubicBezTo>
                <a:cubicBezTo>
                  <a:pt x="5547113" y="3681939"/>
                  <a:pt x="5547113" y="3681939"/>
                  <a:pt x="5546151" y="3677434"/>
                </a:cubicBezTo>
                <a:cubicBezTo>
                  <a:pt x="5546151" y="3677434"/>
                  <a:pt x="5541647" y="3678397"/>
                  <a:pt x="5541647" y="3678397"/>
                </a:cubicBezTo>
                <a:cubicBezTo>
                  <a:pt x="5541647" y="3678397"/>
                  <a:pt x="5540684" y="3673892"/>
                  <a:pt x="5544226" y="3668427"/>
                </a:cubicBezTo>
                <a:cubicBezTo>
                  <a:pt x="5544226" y="3668427"/>
                  <a:pt x="5544226" y="3668427"/>
                  <a:pt x="5545189" y="3672930"/>
                </a:cubicBezTo>
                <a:cubicBezTo>
                  <a:pt x="5545189" y="3672930"/>
                  <a:pt x="5545189" y="3672930"/>
                  <a:pt x="5549693" y="3671968"/>
                </a:cubicBezTo>
                <a:cubicBezTo>
                  <a:pt x="5548731" y="3667464"/>
                  <a:pt x="5548731" y="3667464"/>
                  <a:pt x="5547768" y="3662960"/>
                </a:cubicBezTo>
                <a:cubicBezTo>
                  <a:pt x="5551310" y="3657493"/>
                  <a:pt x="5551310" y="3657493"/>
                  <a:pt x="5551310" y="3657493"/>
                </a:cubicBezTo>
                <a:cubicBezTo>
                  <a:pt x="5554852" y="3652028"/>
                  <a:pt x="5559049" y="3627582"/>
                  <a:pt x="5548423" y="3643981"/>
                </a:cubicBezTo>
                <a:cubicBezTo>
                  <a:pt x="5551965" y="3638516"/>
                  <a:pt x="5551965" y="3638516"/>
                  <a:pt x="5551003" y="3634011"/>
                </a:cubicBezTo>
                <a:cubicBezTo>
                  <a:pt x="5551003" y="3634011"/>
                  <a:pt x="5546498" y="3634974"/>
                  <a:pt x="5547461" y="3639478"/>
                </a:cubicBezTo>
                <a:cubicBezTo>
                  <a:pt x="5547461" y="3639478"/>
                  <a:pt x="5542957" y="3640440"/>
                  <a:pt x="5543919" y="3644943"/>
                </a:cubicBezTo>
                <a:cubicBezTo>
                  <a:pt x="5542957" y="3640440"/>
                  <a:pt x="5541995" y="3635936"/>
                  <a:pt x="5541995" y="3635936"/>
                </a:cubicBezTo>
                <a:cubicBezTo>
                  <a:pt x="5545536" y="3630469"/>
                  <a:pt x="5548116" y="3620499"/>
                  <a:pt x="5549733" y="3606025"/>
                </a:cubicBezTo>
                <a:cubicBezTo>
                  <a:pt x="5554892" y="3586084"/>
                  <a:pt x="5560052" y="3566143"/>
                  <a:pt x="5561668" y="3551669"/>
                </a:cubicBezTo>
                <a:cubicBezTo>
                  <a:pt x="5560706" y="3547164"/>
                  <a:pt x="5565210" y="3546202"/>
                  <a:pt x="5565210" y="3546202"/>
                </a:cubicBezTo>
                <a:cubicBezTo>
                  <a:pt x="5565210" y="3546202"/>
                  <a:pt x="5564248" y="3541699"/>
                  <a:pt x="5564248" y="3541699"/>
                </a:cubicBezTo>
                <a:cubicBezTo>
                  <a:pt x="5562323" y="3532690"/>
                  <a:pt x="5564903" y="3522720"/>
                  <a:pt x="5568445" y="3517253"/>
                </a:cubicBezTo>
                <a:cubicBezTo>
                  <a:pt x="5567483" y="3512750"/>
                  <a:pt x="5570062" y="3502779"/>
                  <a:pt x="5569100" y="3498276"/>
                </a:cubicBezTo>
                <a:cubicBezTo>
                  <a:pt x="5571679" y="3488305"/>
                  <a:pt x="5577801" y="3472868"/>
                  <a:pt x="5580380" y="3462898"/>
                </a:cubicBezTo>
                <a:cubicBezTo>
                  <a:pt x="5584885" y="3461936"/>
                  <a:pt x="5584885" y="3461936"/>
                  <a:pt x="5584885" y="3461936"/>
                </a:cubicBezTo>
                <a:cubicBezTo>
                  <a:pt x="5583922" y="3457431"/>
                  <a:pt x="5583922" y="3457431"/>
                  <a:pt x="5582960" y="3452927"/>
                </a:cubicBezTo>
                <a:cubicBezTo>
                  <a:pt x="5586502" y="3447461"/>
                  <a:pt x="5581998" y="3448424"/>
                  <a:pt x="5581998" y="3448424"/>
                </a:cubicBezTo>
                <a:cubicBezTo>
                  <a:pt x="5578456" y="3453889"/>
                  <a:pt x="5578456" y="3453889"/>
                  <a:pt x="5578456" y="3453889"/>
                </a:cubicBezTo>
                <a:cubicBezTo>
                  <a:pt x="5581035" y="3443919"/>
                  <a:pt x="5591661" y="3427520"/>
                  <a:pt x="5585232" y="3419474"/>
                </a:cubicBezTo>
                <a:cubicBezTo>
                  <a:pt x="5589736" y="3418512"/>
                  <a:pt x="5589736" y="3418512"/>
                  <a:pt x="5588774" y="3414008"/>
                </a:cubicBezTo>
                <a:cubicBezTo>
                  <a:pt x="5592316" y="3408542"/>
                  <a:pt x="5587812" y="3409504"/>
                  <a:pt x="5587812" y="3409504"/>
                </a:cubicBezTo>
                <a:cubicBezTo>
                  <a:pt x="5593934" y="3394067"/>
                  <a:pt x="5582038" y="3382480"/>
                  <a:pt x="5590084" y="3376051"/>
                </a:cubicBezTo>
                <a:cubicBezTo>
                  <a:pt x="5591047" y="3380555"/>
                  <a:pt x="5591047" y="3380555"/>
                  <a:pt x="5591047" y="3380555"/>
                </a:cubicBezTo>
                <a:cubicBezTo>
                  <a:pt x="5588467" y="3390525"/>
                  <a:pt x="5589429" y="3395030"/>
                  <a:pt x="5593934" y="3394067"/>
                </a:cubicBezTo>
                <a:cubicBezTo>
                  <a:pt x="5593934" y="3394067"/>
                  <a:pt x="5597475" y="3388601"/>
                  <a:pt x="5596512" y="3384097"/>
                </a:cubicBezTo>
                <a:cubicBezTo>
                  <a:pt x="5600054" y="3378631"/>
                  <a:pt x="5600054" y="3378631"/>
                  <a:pt x="5600054" y="3378631"/>
                </a:cubicBezTo>
                <a:cubicBezTo>
                  <a:pt x="5609062" y="3376706"/>
                  <a:pt x="5607446" y="3391181"/>
                  <a:pt x="5599399" y="3397610"/>
                </a:cubicBezTo>
                <a:cubicBezTo>
                  <a:pt x="5607446" y="3391181"/>
                  <a:pt x="5607752" y="3414663"/>
                  <a:pt x="5609370" y="3400188"/>
                </a:cubicBezTo>
                <a:cubicBezTo>
                  <a:pt x="5598437" y="3393105"/>
                  <a:pt x="5624500" y="3382827"/>
                  <a:pt x="5616146" y="3365773"/>
                </a:cubicBezTo>
                <a:cubicBezTo>
                  <a:pt x="5619688" y="3360307"/>
                  <a:pt x="5619688" y="3360307"/>
                  <a:pt x="5619688" y="3360307"/>
                </a:cubicBezTo>
                <a:cubicBezTo>
                  <a:pt x="5619688" y="3360307"/>
                  <a:pt x="5618726" y="3355803"/>
                  <a:pt x="5618726" y="3355803"/>
                </a:cubicBezTo>
                <a:cubicBezTo>
                  <a:pt x="5622267" y="3350336"/>
                  <a:pt x="5617764" y="3351299"/>
                  <a:pt x="5617764" y="3351299"/>
                </a:cubicBezTo>
                <a:cubicBezTo>
                  <a:pt x="5618726" y="3355803"/>
                  <a:pt x="5614222" y="3356765"/>
                  <a:pt x="5614222" y="3356765"/>
                </a:cubicBezTo>
                <a:cubicBezTo>
                  <a:pt x="5613259" y="3352261"/>
                  <a:pt x="5615839" y="3342291"/>
                  <a:pt x="5611335" y="3343253"/>
                </a:cubicBezTo>
                <a:cubicBezTo>
                  <a:pt x="5607793" y="3348720"/>
                  <a:pt x="5610373" y="3338749"/>
                  <a:pt x="5605868" y="3339711"/>
                </a:cubicBezTo>
                <a:cubicBezTo>
                  <a:pt x="5603289" y="3349682"/>
                  <a:pt x="5604251" y="3354186"/>
                  <a:pt x="5601672" y="3364156"/>
                </a:cubicBezTo>
                <a:cubicBezTo>
                  <a:pt x="5600710" y="3359652"/>
                  <a:pt x="5600710" y="3359652"/>
                  <a:pt x="5600710" y="3359652"/>
                </a:cubicBezTo>
                <a:cubicBezTo>
                  <a:pt x="5599747" y="3355148"/>
                  <a:pt x="5598785" y="3350644"/>
                  <a:pt x="5594281" y="3351607"/>
                </a:cubicBezTo>
                <a:lnTo>
                  <a:pt x="5592057" y="3360201"/>
                </a:lnTo>
                <a:lnTo>
                  <a:pt x="5590783" y="3351765"/>
                </a:lnTo>
                <a:cubicBezTo>
                  <a:pt x="5591712" y="3345091"/>
                  <a:pt x="5593646" y="3337613"/>
                  <a:pt x="5593974" y="3328124"/>
                </a:cubicBezTo>
                <a:cubicBezTo>
                  <a:pt x="5581731" y="3358997"/>
                  <a:pt x="5588507" y="3324583"/>
                  <a:pt x="5577575" y="3317498"/>
                </a:cubicBezTo>
                <a:cubicBezTo>
                  <a:pt x="5581116" y="3312032"/>
                  <a:pt x="5583041" y="3321040"/>
                  <a:pt x="5583041" y="3321040"/>
                </a:cubicBezTo>
                <a:cubicBezTo>
                  <a:pt x="5587545" y="3320078"/>
                  <a:pt x="5587545" y="3320078"/>
                  <a:pt x="5587545" y="3320078"/>
                </a:cubicBezTo>
                <a:cubicBezTo>
                  <a:pt x="5588507" y="3324583"/>
                  <a:pt x="5588507" y="3324583"/>
                  <a:pt x="5592049" y="3319116"/>
                </a:cubicBezTo>
                <a:cubicBezTo>
                  <a:pt x="5592049" y="3319116"/>
                  <a:pt x="5591087" y="3314611"/>
                  <a:pt x="5590125" y="3310107"/>
                </a:cubicBezTo>
                <a:cubicBezTo>
                  <a:pt x="5589163" y="3305604"/>
                  <a:pt x="5589163" y="3305604"/>
                  <a:pt x="5589163" y="3305604"/>
                </a:cubicBezTo>
                <a:cubicBezTo>
                  <a:pt x="5592704" y="3300137"/>
                  <a:pt x="5598170" y="3303679"/>
                  <a:pt x="5596246" y="3294671"/>
                </a:cubicBezTo>
                <a:cubicBezTo>
                  <a:pt x="5597208" y="3299175"/>
                  <a:pt x="5597208" y="3299175"/>
                  <a:pt x="5598170" y="3303679"/>
                </a:cubicBezTo>
                <a:cubicBezTo>
                  <a:pt x="5599132" y="3308183"/>
                  <a:pt x="5603637" y="3307220"/>
                  <a:pt x="5602675" y="3302717"/>
                </a:cubicBezTo>
                <a:cubicBezTo>
                  <a:pt x="5607179" y="3301755"/>
                  <a:pt x="5606217" y="3297250"/>
                  <a:pt x="5605254" y="3292746"/>
                </a:cubicBezTo>
                <a:cubicBezTo>
                  <a:pt x="5604292" y="3288243"/>
                  <a:pt x="5604292" y="3288243"/>
                  <a:pt x="5603330" y="3283738"/>
                </a:cubicBezTo>
                <a:cubicBezTo>
                  <a:pt x="5601405" y="3274731"/>
                  <a:pt x="5594976" y="3266684"/>
                  <a:pt x="5592397" y="3276655"/>
                </a:cubicBezTo>
                <a:cubicBezTo>
                  <a:pt x="5591434" y="3272151"/>
                  <a:pt x="5591434" y="3272151"/>
                  <a:pt x="5586930" y="3273113"/>
                </a:cubicBezTo>
                <a:cubicBezTo>
                  <a:pt x="5586930" y="3273113"/>
                  <a:pt x="5586930" y="3273113"/>
                  <a:pt x="5583389" y="3278580"/>
                </a:cubicBezTo>
                <a:cubicBezTo>
                  <a:pt x="5582427" y="3274075"/>
                  <a:pt x="5585006" y="3264105"/>
                  <a:pt x="5583081" y="3255097"/>
                </a:cubicBezTo>
                <a:cubicBezTo>
                  <a:pt x="5585006" y="3264105"/>
                  <a:pt x="5582427" y="3274075"/>
                  <a:pt x="5585968" y="3268609"/>
                </a:cubicBezTo>
                <a:cubicBezTo>
                  <a:pt x="5594014" y="3262181"/>
                  <a:pt x="5583081" y="3255097"/>
                  <a:pt x="5591127" y="3248668"/>
                </a:cubicBezTo>
                <a:cubicBezTo>
                  <a:pt x="5595632" y="3247705"/>
                  <a:pt x="5595632" y="3247705"/>
                  <a:pt x="5595632" y="3247705"/>
                </a:cubicBezTo>
                <a:cubicBezTo>
                  <a:pt x="5595632" y="3247705"/>
                  <a:pt x="5595632" y="3247705"/>
                  <a:pt x="5594669" y="3243202"/>
                </a:cubicBezTo>
                <a:cubicBezTo>
                  <a:pt x="5594669" y="3243202"/>
                  <a:pt x="5594669" y="3243202"/>
                  <a:pt x="5593707" y="3238698"/>
                </a:cubicBezTo>
                <a:cubicBezTo>
                  <a:pt x="5589203" y="3239660"/>
                  <a:pt x="5589203" y="3239660"/>
                  <a:pt x="5589203" y="3239660"/>
                </a:cubicBezTo>
                <a:cubicBezTo>
                  <a:pt x="5592745" y="3234193"/>
                  <a:pt x="5592745" y="3234193"/>
                  <a:pt x="5596286" y="3228728"/>
                </a:cubicBezTo>
                <a:cubicBezTo>
                  <a:pt x="5589858" y="3220681"/>
                  <a:pt x="5592437" y="3210711"/>
                  <a:pt x="5590512" y="3201704"/>
                </a:cubicBezTo>
                <a:cubicBezTo>
                  <a:pt x="5591475" y="3206207"/>
                  <a:pt x="5592437" y="3210711"/>
                  <a:pt x="5592437" y="3210711"/>
                </a:cubicBezTo>
                <a:cubicBezTo>
                  <a:pt x="5593092" y="3191733"/>
                  <a:pt x="5589550" y="3197199"/>
                  <a:pt x="5595672" y="3181763"/>
                </a:cubicBezTo>
                <a:cubicBezTo>
                  <a:pt x="5596634" y="3186266"/>
                  <a:pt x="5601139" y="3185304"/>
                  <a:pt x="5601139" y="3185304"/>
                </a:cubicBezTo>
                <a:cubicBezTo>
                  <a:pt x="5601139" y="3185304"/>
                  <a:pt x="5600176" y="3180800"/>
                  <a:pt x="5600176" y="3180800"/>
                </a:cubicBezTo>
                <a:cubicBezTo>
                  <a:pt x="5604680" y="3179838"/>
                  <a:pt x="5604680" y="3179838"/>
                  <a:pt x="5604680" y="3179838"/>
                </a:cubicBezTo>
                <a:cubicBezTo>
                  <a:pt x="5601446" y="3208787"/>
                  <a:pt x="5605642" y="3184342"/>
                  <a:pt x="5610146" y="3183379"/>
                </a:cubicBezTo>
                <a:cubicBezTo>
                  <a:pt x="5608529" y="3197855"/>
                  <a:pt x="5606912" y="3212329"/>
                  <a:pt x="5609799" y="3225841"/>
                </a:cubicBezTo>
                <a:cubicBezTo>
                  <a:pt x="5605295" y="3226803"/>
                  <a:pt x="5605295" y="3226803"/>
                  <a:pt x="5605295" y="3226803"/>
                </a:cubicBezTo>
                <a:cubicBezTo>
                  <a:pt x="5602715" y="3236773"/>
                  <a:pt x="5603677" y="3241278"/>
                  <a:pt x="5604639" y="3245781"/>
                </a:cubicBezTo>
                <a:cubicBezTo>
                  <a:pt x="5607219" y="3235811"/>
                  <a:pt x="5606257" y="3231307"/>
                  <a:pt x="5610761" y="3230344"/>
                </a:cubicBezTo>
                <a:cubicBezTo>
                  <a:pt x="5609144" y="3244819"/>
                  <a:pt x="5613648" y="3243856"/>
                  <a:pt x="5611068" y="3253827"/>
                </a:cubicBezTo>
                <a:cubicBezTo>
                  <a:pt x="5611068" y="3253827"/>
                  <a:pt x="5612031" y="3258332"/>
                  <a:pt x="5607526" y="3259294"/>
                </a:cubicBezTo>
                <a:cubicBezTo>
                  <a:pt x="5608488" y="3263797"/>
                  <a:pt x="5608488" y="3263797"/>
                  <a:pt x="5608488" y="3263797"/>
                </a:cubicBezTo>
                <a:cubicBezTo>
                  <a:pt x="5609451" y="3268302"/>
                  <a:pt x="5610413" y="3272806"/>
                  <a:pt x="5613955" y="3267339"/>
                </a:cubicBezTo>
                <a:cubicBezTo>
                  <a:pt x="5617497" y="3261873"/>
                  <a:pt x="5617497" y="3261873"/>
                  <a:pt x="5617497" y="3261873"/>
                </a:cubicBezTo>
                <a:cubicBezTo>
                  <a:pt x="5622000" y="3260911"/>
                  <a:pt x="5621038" y="3256407"/>
                  <a:pt x="5620076" y="3251903"/>
                </a:cubicBezTo>
                <a:cubicBezTo>
                  <a:pt x="5619114" y="3247399"/>
                  <a:pt x="5619114" y="3247399"/>
                  <a:pt x="5619114" y="3247399"/>
                </a:cubicBezTo>
                <a:cubicBezTo>
                  <a:pt x="5614610" y="3248361"/>
                  <a:pt x="5614610" y="3248361"/>
                  <a:pt x="5614610" y="3248361"/>
                </a:cubicBezTo>
                <a:cubicBezTo>
                  <a:pt x="5611724" y="3234849"/>
                  <a:pt x="5618500" y="3200433"/>
                  <a:pt x="5614651" y="3182417"/>
                </a:cubicBezTo>
                <a:cubicBezTo>
                  <a:pt x="5618192" y="3176951"/>
                  <a:pt x="5618192" y="3176951"/>
                  <a:pt x="5618192" y="3176951"/>
                </a:cubicBezTo>
                <a:cubicBezTo>
                  <a:pt x="5618192" y="3176951"/>
                  <a:pt x="5618192" y="3176951"/>
                  <a:pt x="5617229" y="3172447"/>
                </a:cubicBezTo>
                <a:cubicBezTo>
                  <a:pt x="5617229" y="3172447"/>
                  <a:pt x="5616267" y="3167943"/>
                  <a:pt x="5616267" y="3167943"/>
                </a:cubicBezTo>
                <a:cubicBezTo>
                  <a:pt x="5614343" y="3158935"/>
                  <a:pt x="5615960" y="3144461"/>
                  <a:pt x="5619502" y="3138994"/>
                </a:cubicBezTo>
                <a:cubicBezTo>
                  <a:pt x="5614998" y="3139956"/>
                  <a:pt x="5614998" y="3139956"/>
                  <a:pt x="5614998" y="3139956"/>
                </a:cubicBezTo>
                <a:cubicBezTo>
                  <a:pt x="5618540" y="3134491"/>
                  <a:pt x="5618540" y="3134491"/>
                  <a:pt x="5618540" y="3134491"/>
                </a:cubicBezTo>
                <a:cubicBezTo>
                  <a:pt x="5618540" y="3134491"/>
                  <a:pt x="5622082" y="3129024"/>
                  <a:pt x="5621120" y="3124519"/>
                </a:cubicBezTo>
                <a:cubicBezTo>
                  <a:pt x="5621120" y="3124519"/>
                  <a:pt x="5620158" y="3120015"/>
                  <a:pt x="5615653" y="3120977"/>
                </a:cubicBezTo>
                <a:cubicBezTo>
                  <a:pt x="5610535" y="3074976"/>
                  <a:pt x="5619236" y="3049568"/>
                  <a:pt x="5607995" y="3019002"/>
                </a:cubicBezTo>
                <a:cubicBezTo>
                  <a:pt x="5612500" y="3018040"/>
                  <a:pt x="5611538" y="3013536"/>
                  <a:pt x="5610575" y="3009032"/>
                </a:cubicBezTo>
                <a:cubicBezTo>
                  <a:pt x="5610575" y="3009032"/>
                  <a:pt x="5609613" y="3004527"/>
                  <a:pt x="5609613" y="3004527"/>
                </a:cubicBezTo>
                <a:cubicBezTo>
                  <a:pt x="5605109" y="3005490"/>
                  <a:pt x="5605109" y="3005490"/>
                  <a:pt x="5605109" y="3005490"/>
                </a:cubicBezTo>
                <a:cubicBezTo>
                  <a:pt x="5613154" y="2999061"/>
                  <a:pt x="5610267" y="2985549"/>
                  <a:pt x="5608343" y="2976541"/>
                </a:cubicBezTo>
                <a:cubicBezTo>
                  <a:pt x="5608343" y="2976541"/>
                  <a:pt x="5607380" y="2972037"/>
                  <a:pt x="5607380" y="2972037"/>
                </a:cubicBezTo>
                <a:cubicBezTo>
                  <a:pt x="5610923" y="2966571"/>
                  <a:pt x="5610923" y="2966571"/>
                  <a:pt x="5605456" y="2963029"/>
                </a:cubicBezTo>
                <a:cubicBezTo>
                  <a:pt x="5604494" y="2958525"/>
                  <a:pt x="5604494" y="2958525"/>
                  <a:pt x="5604494" y="2958525"/>
                </a:cubicBezTo>
                <a:cubicBezTo>
                  <a:pt x="5604494" y="2958525"/>
                  <a:pt x="5608998" y="2957562"/>
                  <a:pt x="5608036" y="2953059"/>
                </a:cubicBezTo>
                <a:cubicBezTo>
                  <a:pt x="5608036" y="2953059"/>
                  <a:pt x="5608036" y="2953059"/>
                  <a:pt x="5607073" y="2948555"/>
                </a:cubicBezTo>
                <a:cubicBezTo>
                  <a:pt x="5600644" y="2940508"/>
                  <a:pt x="5610309" y="2919606"/>
                  <a:pt x="5601300" y="2921531"/>
                </a:cubicBezTo>
                <a:cubicBezTo>
                  <a:pt x="5601300" y="2921531"/>
                  <a:pt x="5601300" y="2921531"/>
                  <a:pt x="5600338" y="2917026"/>
                </a:cubicBezTo>
                <a:cubicBezTo>
                  <a:pt x="5599375" y="2912522"/>
                  <a:pt x="5598413" y="2908019"/>
                  <a:pt x="5598413" y="2908019"/>
                </a:cubicBezTo>
                <a:cubicBezTo>
                  <a:pt x="5598413" y="2908019"/>
                  <a:pt x="5597451" y="2903514"/>
                  <a:pt x="5597451" y="2903514"/>
                </a:cubicBezTo>
                <a:cubicBezTo>
                  <a:pt x="5605497" y="2897085"/>
                  <a:pt x="5592639" y="2880993"/>
                  <a:pt x="5590715" y="2871986"/>
                </a:cubicBezTo>
                <a:cubicBezTo>
                  <a:pt x="5587828" y="2858474"/>
                  <a:pt x="5598761" y="2865557"/>
                  <a:pt x="5595874" y="2852045"/>
                </a:cubicBezTo>
                <a:cubicBezTo>
                  <a:pt x="5595874" y="2852045"/>
                  <a:pt x="5594912" y="2847541"/>
                  <a:pt x="5599416" y="2846579"/>
                </a:cubicBezTo>
                <a:cubicBezTo>
                  <a:pt x="5599416" y="2846579"/>
                  <a:pt x="5598453" y="2842075"/>
                  <a:pt x="5598453" y="2842075"/>
                </a:cubicBezTo>
                <a:cubicBezTo>
                  <a:pt x="5597491" y="2837570"/>
                  <a:pt x="5597491" y="2837570"/>
                  <a:pt x="5593950" y="2843037"/>
                </a:cubicBezTo>
                <a:cubicBezTo>
                  <a:pt x="5593950" y="2843037"/>
                  <a:pt x="5593950" y="2843037"/>
                  <a:pt x="5594912" y="2847541"/>
                </a:cubicBezTo>
                <a:cubicBezTo>
                  <a:pt x="5588483" y="2839495"/>
                  <a:pt x="5591063" y="2829525"/>
                  <a:pt x="5586559" y="2830487"/>
                </a:cubicBezTo>
                <a:cubicBezTo>
                  <a:pt x="5588176" y="2816013"/>
                  <a:pt x="5591063" y="2829525"/>
                  <a:pt x="5595567" y="2828563"/>
                </a:cubicBezTo>
                <a:lnTo>
                  <a:pt x="5600701" y="2831889"/>
                </a:lnTo>
                <a:lnTo>
                  <a:pt x="5604441" y="2857353"/>
                </a:lnTo>
                <a:cubicBezTo>
                  <a:pt x="5609265" y="2883035"/>
                  <a:pt x="5615227" y="2898539"/>
                  <a:pt x="5620278" y="2922185"/>
                </a:cubicBezTo>
                <a:cubicBezTo>
                  <a:pt x="5620278" y="2922185"/>
                  <a:pt x="5615774" y="2923147"/>
                  <a:pt x="5616736" y="2927652"/>
                </a:cubicBezTo>
                <a:cubicBezTo>
                  <a:pt x="5616736" y="2927652"/>
                  <a:pt x="5617699" y="2932156"/>
                  <a:pt x="5617699" y="2932156"/>
                </a:cubicBezTo>
                <a:cubicBezTo>
                  <a:pt x="5620586" y="2945668"/>
                  <a:pt x="5621548" y="2950172"/>
                  <a:pt x="5627014" y="2953713"/>
                </a:cubicBezTo>
                <a:cubicBezTo>
                  <a:pt x="5623165" y="2935697"/>
                  <a:pt x="5623165" y="2935697"/>
                  <a:pt x="5623165" y="2935697"/>
                </a:cubicBezTo>
                <a:cubicBezTo>
                  <a:pt x="5623165" y="2935697"/>
                  <a:pt x="5624128" y="2940201"/>
                  <a:pt x="5628632" y="2939239"/>
                </a:cubicBezTo>
                <a:cubicBezTo>
                  <a:pt x="5628632" y="2939239"/>
                  <a:pt x="5627670" y="2934735"/>
                  <a:pt x="5627670" y="2934735"/>
                </a:cubicBezTo>
                <a:cubicBezTo>
                  <a:pt x="5626707" y="2930231"/>
                  <a:pt x="5626707" y="2930231"/>
                  <a:pt x="5626707" y="2930231"/>
                </a:cubicBezTo>
                <a:cubicBezTo>
                  <a:pt x="5625745" y="2925727"/>
                  <a:pt x="5625745" y="2925727"/>
                  <a:pt x="5625745" y="2925727"/>
                </a:cubicBezTo>
                <a:cubicBezTo>
                  <a:pt x="5632828" y="2914795"/>
                  <a:pt x="5640875" y="2908366"/>
                  <a:pt x="5638642" y="2875875"/>
                </a:cubicBezTo>
                <a:cubicBezTo>
                  <a:pt x="5651847" y="2849506"/>
                  <a:pt x="5655738" y="2801579"/>
                  <a:pt x="5658009" y="2768126"/>
                </a:cubicBezTo>
                <a:cubicBezTo>
                  <a:pt x="5657046" y="2763622"/>
                  <a:pt x="5661551" y="2762659"/>
                  <a:pt x="5661551" y="2762659"/>
                </a:cubicBezTo>
                <a:cubicBezTo>
                  <a:pt x="5661551" y="2762659"/>
                  <a:pt x="5666055" y="2761697"/>
                  <a:pt x="5665093" y="2757194"/>
                </a:cubicBezTo>
                <a:cubicBezTo>
                  <a:pt x="5665093" y="2757194"/>
                  <a:pt x="5666055" y="2761697"/>
                  <a:pt x="5670559" y="2760735"/>
                </a:cubicBezTo>
                <a:cubicBezTo>
                  <a:pt x="5668635" y="2751727"/>
                  <a:pt x="5667672" y="2747222"/>
                  <a:pt x="5667672" y="2747222"/>
                </a:cubicBezTo>
                <a:cubicBezTo>
                  <a:pt x="5670908" y="2718274"/>
                  <a:pt x="5667713" y="2681279"/>
                  <a:pt x="5667406" y="2657797"/>
                </a:cubicBezTo>
                <a:cubicBezTo>
                  <a:pt x="5670947" y="2652330"/>
                  <a:pt x="5672872" y="2661339"/>
                  <a:pt x="5673834" y="2665842"/>
                </a:cubicBezTo>
                <a:cubicBezTo>
                  <a:pt x="5675451" y="2651368"/>
                  <a:pt x="5672913" y="2595395"/>
                  <a:pt x="5689312" y="2606020"/>
                </a:cubicBezTo>
                <a:cubicBezTo>
                  <a:pt x="5691236" y="2615028"/>
                  <a:pt x="5691236" y="2615028"/>
                  <a:pt x="5691236" y="2615028"/>
                </a:cubicBezTo>
                <a:cubicBezTo>
                  <a:pt x="5692198" y="2619532"/>
                  <a:pt x="5692198" y="2619532"/>
                  <a:pt x="5692198" y="2619532"/>
                </a:cubicBezTo>
                <a:cubicBezTo>
                  <a:pt x="5692198" y="2619532"/>
                  <a:pt x="5696702" y="2618570"/>
                  <a:pt x="5695739" y="2614066"/>
                </a:cubicBezTo>
                <a:cubicBezTo>
                  <a:pt x="5693815" y="2605058"/>
                  <a:pt x="5693815" y="2605058"/>
                  <a:pt x="5693815" y="2605058"/>
                </a:cubicBezTo>
                <a:cubicBezTo>
                  <a:pt x="5702168" y="2622112"/>
                  <a:pt x="5703438" y="2650099"/>
                  <a:pt x="5709211" y="2677123"/>
                </a:cubicBezTo>
                <a:cubicBezTo>
                  <a:pt x="5736544" y="2694832"/>
                  <a:pt x="5738201" y="2614414"/>
                  <a:pt x="5729234" y="2550395"/>
                </a:cubicBezTo>
                <a:cubicBezTo>
                  <a:pt x="5732776" y="2544928"/>
                  <a:pt x="5738243" y="2548470"/>
                  <a:pt x="5744362" y="2533034"/>
                </a:cubicBezTo>
                <a:close/>
                <a:moveTo>
                  <a:pt x="5538793" y="2562824"/>
                </a:moveTo>
                <a:cubicBezTo>
                  <a:pt x="5546491" y="2598857"/>
                  <a:pt x="5549378" y="2612369"/>
                  <a:pt x="5560618" y="2642934"/>
                </a:cubicBezTo>
                <a:cubicBezTo>
                  <a:pt x="5568664" y="2636506"/>
                  <a:pt x="5577017" y="2653560"/>
                  <a:pt x="5581828" y="2676080"/>
                </a:cubicBezTo>
                <a:cubicBezTo>
                  <a:pt x="5586639" y="2698600"/>
                  <a:pt x="5591451" y="2721120"/>
                  <a:pt x="5595955" y="2720158"/>
                </a:cubicBezTo>
                <a:cubicBezTo>
                  <a:pt x="5605271" y="2741716"/>
                  <a:pt x="5602998" y="2775169"/>
                  <a:pt x="5603306" y="2798652"/>
                </a:cubicBezTo>
                <a:cubicBezTo>
                  <a:pt x="5602344" y="2794147"/>
                  <a:pt x="5602344" y="2794147"/>
                  <a:pt x="5597839" y="2795110"/>
                </a:cubicBezTo>
                <a:cubicBezTo>
                  <a:pt x="5597839" y="2795110"/>
                  <a:pt x="5598802" y="2799614"/>
                  <a:pt x="5598802" y="2799614"/>
                </a:cubicBezTo>
                <a:cubicBezTo>
                  <a:pt x="5598146" y="2818592"/>
                  <a:pt x="5598146" y="2818592"/>
                  <a:pt x="5598146" y="2818592"/>
                </a:cubicBezTo>
                <a:cubicBezTo>
                  <a:pt x="5599109" y="2823096"/>
                  <a:pt x="5599109" y="2823096"/>
                  <a:pt x="5599109" y="2823096"/>
                </a:cubicBezTo>
                <a:lnTo>
                  <a:pt x="5594817" y="2824013"/>
                </a:lnTo>
                <a:lnTo>
                  <a:pt x="5593589" y="2816549"/>
                </a:lnTo>
                <a:cubicBezTo>
                  <a:pt x="5590231" y="2809098"/>
                  <a:pt x="5583835" y="2812230"/>
                  <a:pt x="5584327" y="2797996"/>
                </a:cubicBezTo>
                <a:cubicBezTo>
                  <a:pt x="5588831" y="2797034"/>
                  <a:pt x="5588831" y="2797034"/>
                  <a:pt x="5587868" y="2792530"/>
                </a:cubicBezTo>
                <a:cubicBezTo>
                  <a:pt x="5586906" y="2788027"/>
                  <a:pt x="5586906" y="2788027"/>
                  <a:pt x="5586906" y="2788027"/>
                </a:cubicBezTo>
                <a:cubicBezTo>
                  <a:pt x="5591411" y="2787064"/>
                  <a:pt x="5591411" y="2787064"/>
                  <a:pt x="5590448" y="2782560"/>
                </a:cubicBezTo>
                <a:cubicBezTo>
                  <a:pt x="5590448" y="2782560"/>
                  <a:pt x="5590448" y="2782560"/>
                  <a:pt x="5589486" y="2778056"/>
                </a:cubicBezTo>
                <a:cubicBezTo>
                  <a:pt x="5584982" y="2779018"/>
                  <a:pt x="5585944" y="2783522"/>
                  <a:pt x="5584982" y="2779018"/>
                </a:cubicBezTo>
                <a:cubicBezTo>
                  <a:pt x="5582095" y="2765506"/>
                  <a:pt x="5583712" y="2751031"/>
                  <a:pt x="5572780" y="2743948"/>
                </a:cubicBezTo>
                <a:cubicBezTo>
                  <a:pt x="5578246" y="2747489"/>
                  <a:pt x="5578246" y="2747489"/>
                  <a:pt x="5577284" y="2742986"/>
                </a:cubicBezTo>
                <a:cubicBezTo>
                  <a:pt x="5580826" y="2737519"/>
                  <a:pt x="5575359" y="2733977"/>
                  <a:pt x="5575359" y="2733977"/>
                </a:cubicBezTo>
                <a:cubicBezTo>
                  <a:pt x="5575359" y="2733977"/>
                  <a:pt x="5575359" y="2733977"/>
                  <a:pt x="5574397" y="2729474"/>
                </a:cubicBezTo>
                <a:cubicBezTo>
                  <a:pt x="5580519" y="2714037"/>
                  <a:pt x="5564120" y="2703411"/>
                  <a:pt x="5569278" y="2683471"/>
                </a:cubicBezTo>
                <a:cubicBezTo>
                  <a:pt x="5564774" y="2684433"/>
                  <a:pt x="5564774" y="2684433"/>
                  <a:pt x="5564774" y="2684433"/>
                </a:cubicBezTo>
                <a:cubicBezTo>
                  <a:pt x="5569278" y="2683471"/>
                  <a:pt x="5568316" y="2678967"/>
                  <a:pt x="5568316" y="2678967"/>
                </a:cubicBezTo>
                <a:cubicBezTo>
                  <a:pt x="5567354" y="2674462"/>
                  <a:pt x="5567354" y="2674462"/>
                  <a:pt x="5562849" y="2675425"/>
                </a:cubicBezTo>
                <a:cubicBezTo>
                  <a:pt x="5559963" y="2661913"/>
                  <a:pt x="5557076" y="2648401"/>
                  <a:pt x="5557076" y="2648401"/>
                </a:cubicBezTo>
                <a:cubicBezTo>
                  <a:pt x="5554189" y="2634888"/>
                  <a:pt x="5554497" y="2658371"/>
                  <a:pt x="5549686" y="2635851"/>
                </a:cubicBezTo>
                <a:cubicBezTo>
                  <a:pt x="5555151" y="2639393"/>
                  <a:pt x="5558693" y="2633926"/>
                  <a:pt x="5553227" y="2630384"/>
                </a:cubicBezTo>
                <a:cubicBezTo>
                  <a:pt x="5547761" y="2626843"/>
                  <a:pt x="5548068" y="2650325"/>
                  <a:pt x="5543257" y="2627805"/>
                </a:cubicBezTo>
                <a:cubicBezTo>
                  <a:pt x="5543257" y="2627805"/>
                  <a:pt x="5543257" y="2627805"/>
                  <a:pt x="5547761" y="2626843"/>
                </a:cubicBezTo>
                <a:cubicBezTo>
                  <a:pt x="5547761" y="2626843"/>
                  <a:pt x="5547761" y="2626843"/>
                  <a:pt x="5546799" y="2622339"/>
                </a:cubicBezTo>
                <a:cubicBezTo>
                  <a:pt x="5546799" y="2622339"/>
                  <a:pt x="5545837" y="2617834"/>
                  <a:pt x="5545837" y="2617834"/>
                </a:cubicBezTo>
                <a:cubicBezTo>
                  <a:pt x="5544874" y="2613331"/>
                  <a:pt x="5544874" y="2613331"/>
                  <a:pt x="5544874" y="2613331"/>
                </a:cubicBezTo>
                <a:cubicBezTo>
                  <a:pt x="5543912" y="2608826"/>
                  <a:pt x="5543912" y="2608826"/>
                  <a:pt x="5543912" y="2608826"/>
                </a:cubicBezTo>
                <a:cubicBezTo>
                  <a:pt x="5548415" y="2607864"/>
                  <a:pt x="5547453" y="2603360"/>
                  <a:pt x="5546491" y="2598857"/>
                </a:cubicBezTo>
                <a:cubicBezTo>
                  <a:pt x="5541988" y="2599819"/>
                  <a:pt x="5541025" y="2595314"/>
                  <a:pt x="5540063" y="2590810"/>
                </a:cubicBezTo>
                <a:cubicBezTo>
                  <a:pt x="5543604" y="2585344"/>
                  <a:pt x="5540717" y="2571832"/>
                  <a:pt x="5538793" y="2562824"/>
                </a:cubicBezTo>
                <a:close/>
                <a:moveTo>
                  <a:pt x="665421" y="3538061"/>
                </a:moveTo>
                <a:lnTo>
                  <a:pt x="668307" y="3551573"/>
                </a:lnTo>
                <a:cubicBezTo>
                  <a:pt x="668307" y="3551573"/>
                  <a:pt x="662842" y="3548032"/>
                  <a:pt x="661880" y="3543528"/>
                </a:cubicBezTo>
                <a:cubicBezTo>
                  <a:pt x="666383" y="3542566"/>
                  <a:pt x="665421" y="3538061"/>
                  <a:pt x="665421" y="3538061"/>
                </a:cubicBezTo>
                <a:close/>
                <a:moveTo>
                  <a:pt x="727864" y="3477624"/>
                </a:moveTo>
                <a:cubicBezTo>
                  <a:pt x="727864" y="3477624"/>
                  <a:pt x="728826" y="3482129"/>
                  <a:pt x="733330" y="3481166"/>
                </a:cubicBezTo>
                <a:cubicBezTo>
                  <a:pt x="728826" y="3482129"/>
                  <a:pt x="733637" y="3504648"/>
                  <a:pt x="729788" y="3486633"/>
                </a:cubicBezTo>
                <a:cubicBezTo>
                  <a:pt x="728826" y="3482129"/>
                  <a:pt x="728826" y="3482129"/>
                  <a:pt x="727864" y="3477624"/>
                </a:cubicBezTo>
                <a:close/>
                <a:moveTo>
                  <a:pt x="5425431" y="2252659"/>
                </a:moveTo>
                <a:cubicBezTo>
                  <a:pt x="5430898" y="2256200"/>
                  <a:pt x="5431860" y="2260705"/>
                  <a:pt x="5432822" y="2265209"/>
                </a:cubicBezTo>
                <a:cubicBezTo>
                  <a:pt x="5432822" y="2265209"/>
                  <a:pt x="5432822" y="2265209"/>
                  <a:pt x="5433785" y="2269713"/>
                </a:cubicBezTo>
                <a:cubicBezTo>
                  <a:pt x="5434747" y="2274217"/>
                  <a:pt x="5434747" y="2274217"/>
                  <a:pt x="5434747" y="2274217"/>
                </a:cubicBezTo>
                <a:lnTo>
                  <a:pt x="5435709" y="2278721"/>
                </a:lnTo>
                <a:cubicBezTo>
                  <a:pt x="5435709" y="2278721"/>
                  <a:pt x="5434747" y="2274217"/>
                  <a:pt x="5429280" y="2270676"/>
                </a:cubicBezTo>
                <a:cubicBezTo>
                  <a:pt x="5427356" y="2261667"/>
                  <a:pt x="5426393" y="2257163"/>
                  <a:pt x="5425431" y="2252659"/>
                </a:cubicBezTo>
                <a:close/>
                <a:moveTo>
                  <a:pt x="697152" y="3201608"/>
                </a:moveTo>
                <a:cubicBezTo>
                  <a:pt x="697152" y="3201608"/>
                  <a:pt x="701656" y="3200646"/>
                  <a:pt x="701656" y="3200646"/>
                </a:cubicBezTo>
                <a:cubicBezTo>
                  <a:pt x="702618" y="3205149"/>
                  <a:pt x="702618" y="3205149"/>
                  <a:pt x="702618" y="3205149"/>
                </a:cubicBezTo>
                <a:cubicBezTo>
                  <a:pt x="698114" y="3206112"/>
                  <a:pt x="697152" y="3201608"/>
                  <a:pt x="697152" y="3201608"/>
                </a:cubicBezTo>
                <a:close/>
                <a:moveTo>
                  <a:pt x="23704" y="3000785"/>
                </a:moveTo>
                <a:cubicBezTo>
                  <a:pt x="25950" y="3003797"/>
                  <a:pt x="25950" y="3003797"/>
                  <a:pt x="25950" y="3003797"/>
                </a:cubicBezTo>
                <a:cubicBezTo>
                  <a:pt x="25950" y="3003797"/>
                  <a:pt x="28196" y="3006809"/>
                  <a:pt x="28196" y="3006809"/>
                </a:cubicBezTo>
                <a:cubicBezTo>
                  <a:pt x="25181" y="3009057"/>
                  <a:pt x="25181" y="3009057"/>
                  <a:pt x="22935" y="3006044"/>
                </a:cubicBezTo>
                <a:cubicBezTo>
                  <a:pt x="22935" y="3006044"/>
                  <a:pt x="20690" y="3003032"/>
                  <a:pt x="23704" y="3000785"/>
                </a:cubicBezTo>
                <a:close/>
                <a:moveTo>
                  <a:pt x="5144618" y="1709820"/>
                </a:moveTo>
                <a:cubicBezTo>
                  <a:pt x="5157475" y="1725913"/>
                  <a:pt x="5165829" y="1742966"/>
                  <a:pt x="5178685" y="1759057"/>
                </a:cubicBezTo>
                <a:cubicBezTo>
                  <a:pt x="5174182" y="1760019"/>
                  <a:pt x="5174182" y="1760019"/>
                  <a:pt x="5174182" y="1760019"/>
                </a:cubicBezTo>
                <a:cubicBezTo>
                  <a:pt x="5173220" y="1755516"/>
                  <a:pt x="5166791" y="1747470"/>
                  <a:pt x="5165829" y="1742966"/>
                </a:cubicBezTo>
                <a:cubicBezTo>
                  <a:pt x="5160362" y="1739424"/>
                  <a:pt x="5153934" y="1731379"/>
                  <a:pt x="5152972" y="1726875"/>
                </a:cubicBezTo>
                <a:cubicBezTo>
                  <a:pt x="5152972" y="1726875"/>
                  <a:pt x="5147505" y="1723332"/>
                  <a:pt x="5147505" y="1723332"/>
                </a:cubicBezTo>
                <a:cubicBezTo>
                  <a:pt x="5142039" y="1719791"/>
                  <a:pt x="5142039" y="1719791"/>
                  <a:pt x="5141076" y="1715287"/>
                </a:cubicBezTo>
                <a:cubicBezTo>
                  <a:pt x="5140114" y="1710783"/>
                  <a:pt x="5140114" y="1710783"/>
                  <a:pt x="5144618" y="1709820"/>
                </a:cubicBezTo>
                <a:close/>
                <a:moveTo>
                  <a:pt x="726773" y="2634833"/>
                </a:moveTo>
                <a:cubicBezTo>
                  <a:pt x="727736" y="2639338"/>
                  <a:pt x="727736" y="2639338"/>
                  <a:pt x="727736" y="2639338"/>
                </a:cubicBezTo>
                <a:cubicBezTo>
                  <a:pt x="727736" y="2639338"/>
                  <a:pt x="723231" y="2640300"/>
                  <a:pt x="723231" y="2640300"/>
                </a:cubicBezTo>
                <a:cubicBezTo>
                  <a:pt x="726773" y="2634833"/>
                  <a:pt x="726773" y="2634833"/>
                  <a:pt x="726773" y="2634833"/>
                </a:cubicBezTo>
                <a:close/>
                <a:moveTo>
                  <a:pt x="760478" y="2435480"/>
                </a:moveTo>
                <a:lnTo>
                  <a:pt x="760347" y="2439276"/>
                </a:lnTo>
                <a:cubicBezTo>
                  <a:pt x="760347" y="2439276"/>
                  <a:pt x="760347" y="2439276"/>
                  <a:pt x="756805" y="2444741"/>
                </a:cubicBezTo>
                <a:close/>
                <a:moveTo>
                  <a:pt x="779150" y="2373847"/>
                </a:moveTo>
                <a:lnTo>
                  <a:pt x="779366" y="2373987"/>
                </a:lnTo>
                <a:lnTo>
                  <a:pt x="778898" y="2374800"/>
                </a:lnTo>
                <a:close/>
                <a:moveTo>
                  <a:pt x="82769" y="2413119"/>
                </a:moveTo>
                <a:cubicBezTo>
                  <a:pt x="66034" y="2472459"/>
                  <a:pt x="66557" y="2542367"/>
                  <a:pt x="52067" y="2604720"/>
                </a:cubicBezTo>
                <a:cubicBezTo>
                  <a:pt x="46746" y="2622747"/>
                  <a:pt x="55790" y="2616005"/>
                  <a:pt x="56497" y="2629537"/>
                </a:cubicBezTo>
                <a:cubicBezTo>
                  <a:pt x="52652" y="2655836"/>
                  <a:pt x="48099" y="2668603"/>
                  <a:pt x="43546" y="2681370"/>
                </a:cubicBezTo>
                <a:cubicBezTo>
                  <a:pt x="40470" y="2702410"/>
                  <a:pt x="47976" y="2706187"/>
                  <a:pt x="47915" y="2724979"/>
                </a:cubicBezTo>
                <a:cubicBezTo>
                  <a:pt x="42593" y="2743006"/>
                  <a:pt x="37271" y="2761032"/>
                  <a:pt x="31949" y="2779060"/>
                </a:cubicBezTo>
                <a:cubicBezTo>
                  <a:pt x="31949" y="2779060"/>
                  <a:pt x="31949" y="2779060"/>
                  <a:pt x="21428" y="2777530"/>
                </a:cubicBezTo>
                <a:cubicBezTo>
                  <a:pt x="19890" y="2788050"/>
                  <a:pt x="17583" y="2803829"/>
                  <a:pt x="18290" y="2817361"/>
                </a:cubicBezTo>
                <a:cubicBezTo>
                  <a:pt x="18290" y="2817361"/>
                  <a:pt x="18290" y="2817361"/>
                  <a:pt x="21305" y="2815114"/>
                </a:cubicBezTo>
                <a:cubicBezTo>
                  <a:pt x="19059" y="2812101"/>
                  <a:pt x="19828" y="2806841"/>
                  <a:pt x="22074" y="2809854"/>
                </a:cubicBezTo>
                <a:cubicBezTo>
                  <a:pt x="22074" y="2809854"/>
                  <a:pt x="24320" y="2812866"/>
                  <a:pt x="24320" y="2812866"/>
                </a:cubicBezTo>
                <a:cubicBezTo>
                  <a:pt x="27334" y="2810619"/>
                  <a:pt x="26627" y="2797087"/>
                  <a:pt x="31118" y="2803112"/>
                </a:cubicBezTo>
                <a:cubicBezTo>
                  <a:pt x="34072" y="2819656"/>
                  <a:pt x="28811" y="2818891"/>
                  <a:pt x="29518" y="2832423"/>
                </a:cubicBezTo>
                <a:cubicBezTo>
                  <a:pt x="29518" y="2832423"/>
                  <a:pt x="29518" y="2832423"/>
                  <a:pt x="31764" y="2835435"/>
                </a:cubicBezTo>
                <a:cubicBezTo>
                  <a:pt x="31764" y="2835435"/>
                  <a:pt x="31764" y="2835435"/>
                  <a:pt x="28750" y="2837683"/>
                </a:cubicBezTo>
                <a:cubicBezTo>
                  <a:pt x="30995" y="2840695"/>
                  <a:pt x="30226" y="2845955"/>
                  <a:pt x="30226" y="2845955"/>
                </a:cubicBezTo>
                <a:cubicBezTo>
                  <a:pt x="27211" y="2848202"/>
                  <a:pt x="27211" y="2848202"/>
                  <a:pt x="27211" y="2848202"/>
                </a:cubicBezTo>
                <a:cubicBezTo>
                  <a:pt x="30934" y="2859487"/>
                  <a:pt x="33118" y="2881291"/>
                  <a:pt x="33057" y="2900083"/>
                </a:cubicBezTo>
                <a:cubicBezTo>
                  <a:pt x="29980" y="2921122"/>
                  <a:pt x="27673" y="2936902"/>
                  <a:pt x="21643" y="2941397"/>
                </a:cubicBezTo>
                <a:cubicBezTo>
                  <a:pt x="23889" y="2944409"/>
                  <a:pt x="20874" y="2946657"/>
                  <a:pt x="20874" y="2946657"/>
                </a:cubicBezTo>
                <a:cubicBezTo>
                  <a:pt x="23120" y="2949669"/>
                  <a:pt x="22351" y="2954929"/>
                  <a:pt x="19336" y="2957176"/>
                </a:cubicBezTo>
                <a:cubicBezTo>
                  <a:pt x="19336" y="2957176"/>
                  <a:pt x="19336" y="2957176"/>
                  <a:pt x="17091" y="2954164"/>
                </a:cubicBezTo>
                <a:cubicBezTo>
                  <a:pt x="17860" y="2948904"/>
                  <a:pt x="17860" y="2948904"/>
                  <a:pt x="17860" y="2948904"/>
                </a:cubicBezTo>
                <a:cubicBezTo>
                  <a:pt x="17860" y="2948904"/>
                  <a:pt x="17860" y="2948904"/>
                  <a:pt x="15614" y="2945892"/>
                </a:cubicBezTo>
                <a:cubicBezTo>
                  <a:pt x="15552" y="2964684"/>
                  <a:pt x="18567" y="2962436"/>
                  <a:pt x="19275" y="2975968"/>
                </a:cubicBezTo>
                <a:cubicBezTo>
                  <a:pt x="19275" y="2975968"/>
                  <a:pt x="20044" y="2970708"/>
                  <a:pt x="20044" y="2970708"/>
                </a:cubicBezTo>
                <a:cubicBezTo>
                  <a:pt x="20044" y="2970708"/>
                  <a:pt x="20044" y="2970708"/>
                  <a:pt x="22290" y="2973720"/>
                </a:cubicBezTo>
                <a:cubicBezTo>
                  <a:pt x="22290" y="2973720"/>
                  <a:pt x="22290" y="2973720"/>
                  <a:pt x="24535" y="2976733"/>
                </a:cubicBezTo>
                <a:cubicBezTo>
                  <a:pt x="24535" y="2976733"/>
                  <a:pt x="23059" y="2968461"/>
                  <a:pt x="28319" y="2969225"/>
                </a:cubicBezTo>
                <a:cubicBezTo>
                  <a:pt x="29027" y="2982757"/>
                  <a:pt x="29734" y="2996289"/>
                  <a:pt x="24474" y="2995525"/>
                </a:cubicBezTo>
                <a:cubicBezTo>
                  <a:pt x="24474" y="2995525"/>
                  <a:pt x="26720" y="2998537"/>
                  <a:pt x="23704" y="3000785"/>
                </a:cubicBezTo>
                <a:cubicBezTo>
                  <a:pt x="13830" y="3031579"/>
                  <a:pt x="13707" y="3069162"/>
                  <a:pt x="21090" y="3110523"/>
                </a:cubicBezTo>
                <a:cubicBezTo>
                  <a:pt x="21090" y="3110523"/>
                  <a:pt x="23336" y="3113535"/>
                  <a:pt x="20321" y="3115783"/>
                </a:cubicBezTo>
                <a:cubicBezTo>
                  <a:pt x="22567" y="3118795"/>
                  <a:pt x="21797" y="3124055"/>
                  <a:pt x="21797" y="3124055"/>
                </a:cubicBezTo>
                <a:cubicBezTo>
                  <a:pt x="21797" y="3124055"/>
                  <a:pt x="21797" y="3124055"/>
                  <a:pt x="19552" y="3121043"/>
                </a:cubicBezTo>
                <a:cubicBezTo>
                  <a:pt x="23274" y="3132328"/>
                  <a:pt x="28473" y="3151884"/>
                  <a:pt x="32964" y="3157909"/>
                </a:cubicBezTo>
                <a:cubicBezTo>
                  <a:pt x="30719" y="3154896"/>
                  <a:pt x="30719" y="3154896"/>
                  <a:pt x="31488" y="3149636"/>
                </a:cubicBezTo>
                <a:cubicBezTo>
                  <a:pt x="31488" y="3149636"/>
                  <a:pt x="34503" y="3147389"/>
                  <a:pt x="34503" y="3147389"/>
                </a:cubicBezTo>
                <a:cubicBezTo>
                  <a:pt x="36748" y="3150401"/>
                  <a:pt x="36748" y="3150401"/>
                  <a:pt x="35979" y="3155661"/>
                </a:cubicBezTo>
                <a:lnTo>
                  <a:pt x="36796" y="3156756"/>
                </a:lnTo>
                <a:lnTo>
                  <a:pt x="36814" y="3159140"/>
                </a:lnTo>
                <a:cubicBezTo>
                  <a:pt x="36525" y="3161112"/>
                  <a:pt x="36333" y="3162427"/>
                  <a:pt x="37456" y="3163933"/>
                </a:cubicBezTo>
                <a:cubicBezTo>
                  <a:pt x="35210" y="3160921"/>
                  <a:pt x="38225" y="3158673"/>
                  <a:pt x="38225" y="3158673"/>
                </a:cubicBezTo>
                <a:lnTo>
                  <a:pt x="36796" y="3156756"/>
                </a:lnTo>
                <a:lnTo>
                  <a:pt x="36748" y="3150401"/>
                </a:lnTo>
                <a:cubicBezTo>
                  <a:pt x="53883" y="3198551"/>
                  <a:pt x="52161" y="3265447"/>
                  <a:pt x="66281" y="3315844"/>
                </a:cubicBezTo>
                <a:cubicBezTo>
                  <a:pt x="63266" y="3318092"/>
                  <a:pt x="66219" y="3334636"/>
                  <a:pt x="65450" y="3339896"/>
                </a:cubicBezTo>
                <a:cubicBezTo>
                  <a:pt x="68465" y="3337649"/>
                  <a:pt x="68465" y="3337649"/>
                  <a:pt x="72956" y="3343673"/>
                </a:cubicBezTo>
                <a:cubicBezTo>
                  <a:pt x="72956" y="3343673"/>
                  <a:pt x="69942" y="3345921"/>
                  <a:pt x="72187" y="3348933"/>
                </a:cubicBezTo>
                <a:cubicBezTo>
                  <a:pt x="74433" y="3351945"/>
                  <a:pt x="71418" y="3354193"/>
                  <a:pt x="73664" y="3357205"/>
                </a:cubicBezTo>
                <a:cubicBezTo>
                  <a:pt x="84062" y="3396318"/>
                  <a:pt x="79509" y="3409086"/>
                  <a:pt x="81694" y="3430890"/>
                </a:cubicBezTo>
                <a:cubicBezTo>
                  <a:pt x="81694" y="3430890"/>
                  <a:pt x="79448" y="3427877"/>
                  <a:pt x="82462" y="3425630"/>
                </a:cubicBezTo>
                <a:cubicBezTo>
                  <a:pt x="82462" y="3425630"/>
                  <a:pt x="85477" y="3423382"/>
                  <a:pt x="87723" y="3426395"/>
                </a:cubicBezTo>
                <a:cubicBezTo>
                  <a:pt x="87723" y="3426395"/>
                  <a:pt x="86954" y="3431654"/>
                  <a:pt x="86954" y="3431654"/>
                </a:cubicBezTo>
                <a:cubicBezTo>
                  <a:pt x="89199" y="3434667"/>
                  <a:pt x="89199" y="3434667"/>
                  <a:pt x="89199" y="3434667"/>
                </a:cubicBezTo>
                <a:cubicBezTo>
                  <a:pt x="100428" y="3449728"/>
                  <a:pt x="109288" y="3499361"/>
                  <a:pt x="97998" y="3503092"/>
                </a:cubicBezTo>
                <a:cubicBezTo>
                  <a:pt x="107688" y="3528673"/>
                  <a:pt x="123346" y="3568551"/>
                  <a:pt x="124762" y="3595615"/>
                </a:cubicBezTo>
                <a:cubicBezTo>
                  <a:pt x="116548" y="3578306"/>
                  <a:pt x="101597" y="3551960"/>
                  <a:pt x="92676" y="3521119"/>
                </a:cubicBezTo>
                <a:cubicBezTo>
                  <a:pt x="83754" y="3490278"/>
                  <a:pt x="79324" y="3465461"/>
                  <a:pt x="86123" y="3455706"/>
                </a:cubicBezTo>
                <a:cubicBezTo>
                  <a:pt x="83109" y="3457954"/>
                  <a:pt x="83109" y="3457954"/>
                  <a:pt x="80863" y="3454941"/>
                </a:cubicBezTo>
                <a:cubicBezTo>
                  <a:pt x="81632" y="3449682"/>
                  <a:pt x="77140" y="3443657"/>
                  <a:pt x="80155" y="3441409"/>
                </a:cubicBezTo>
                <a:cubicBezTo>
                  <a:pt x="80155" y="3441409"/>
                  <a:pt x="77909" y="3438397"/>
                  <a:pt x="80924" y="3436150"/>
                </a:cubicBezTo>
                <a:cubicBezTo>
                  <a:pt x="80924" y="3436150"/>
                  <a:pt x="80924" y="3436150"/>
                  <a:pt x="77909" y="3438397"/>
                </a:cubicBezTo>
                <a:cubicBezTo>
                  <a:pt x="67389" y="3436867"/>
                  <a:pt x="65973" y="3409804"/>
                  <a:pt x="62313" y="3379727"/>
                </a:cubicBezTo>
                <a:cubicBezTo>
                  <a:pt x="62313" y="3379727"/>
                  <a:pt x="62313" y="3379727"/>
                  <a:pt x="60067" y="3376715"/>
                </a:cubicBezTo>
                <a:cubicBezTo>
                  <a:pt x="57052" y="3378962"/>
                  <a:pt x="57052" y="3378962"/>
                  <a:pt x="57821" y="3373703"/>
                </a:cubicBezTo>
                <a:cubicBezTo>
                  <a:pt x="57821" y="3373703"/>
                  <a:pt x="55576" y="3370690"/>
                  <a:pt x="55576" y="3370690"/>
                </a:cubicBezTo>
                <a:cubicBezTo>
                  <a:pt x="58590" y="3368443"/>
                  <a:pt x="58590" y="3368443"/>
                  <a:pt x="58590" y="3368443"/>
                </a:cubicBezTo>
                <a:cubicBezTo>
                  <a:pt x="58590" y="3368443"/>
                  <a:pt x="58590" y="3368443"/>
                  <a:pt x="53330" y="3367678"/>
                </a:cubicBezTo>
                <a:cubicBezTo>
                  <a:pt x="51853" y="3359406"/>
                  <a:pt x="46593" y="3358641"/>
                  <a:pt x="41394" y="3339084"/>
                </a:cubicBezTo>
                <a:cubicBezTo>
                  <a:pt x="35364" y="3343579"/>
                  <a:pt x="42809" y="3366148"/>
                  <a:pt x="33057" y="3359359"/>
                </a:cubicBezTo>
                <a:cubicBezTo>
                  <a:pt x="32319" y="3355223"/>
                  <a:pt x="31196" y="3353717"/>
                  <a:pt x="30073" y="3352210"/>
                </a:cubicBezTo>
                <a:lnTo>
                  <a:pt x="28581" y="3348636"/>
                </a:lnTo>
                <a:lnTo>
                  <a:pt x="29335" y="3348074"/>
                </a:lnTo>
                <a:cubicBezTo>
                  <a:pt x="27089" y="3345062"/>
                  <a:pt x="27089" y="3345062"/>
                  <a:pt x="27089" y="3345062"/>
                </a:cubicBezTo>
                <a:lnTo>
                  <a:pt x="28581" y="3348636"/>
                </a:lnTo>
                <a:lnTo>
                  <a:pt x="26320" y="3350322"/>
                </a:lnTo>
                <a:cubicBezTo>
                  <a:pt x="26320" y="3350322"/>
                  <a:pt x="24074" y="3347310"/>
                  <a:pt x="24074" y="3347310"/>
                </a:cubicBezTo>
                <a:cubicBezTo>
                  <a:pt x="21828" y="3344297"/>
                  <a:pt x="21828" y="3344297"/>
                  <a:pt x="21828" y="3344297"/>
                </a:cubicBezTo>
                <a:cubicBezTo>
                  <a:pt x="22598" y="3339037"/>
                  <a:pt x="21121" y="3330765"/>
                  <a:pt x="19644" y="3322493"/>
                </a:cubicBezTo>
                <a:cubicBezTo>
                  <a:pt x="19644" y="3322493"/>
                  <a:pt x="20413" y="3317233"/>
                  <a:pt x="20413" y="3317233"/>
                </a:cubicBezTo>
                <a:cubicBezTo>
                  <a:pt x="20413" y="3317233"/>
                  <a:pt x="18168" y="3314221"/>
                  <a:pt x="18937" y="3308961"/>
                </a:cubicBezTo>
                <a:cubicBezTo>
                  <a:pt x="18937" y="3308961"/>
                  <a:pt x="16691" y="3305949"/>
                  <a:pt x="19706" y="3303701"/>
                </a:cubicBezTo>
                <a:cubicBezTo>
                  <a:pt x="21952" y="3306713"/>
                  <a:pt x="21952" y="3306713"/>
                  <a:pt x="21182" y="3311973"/>
                </a:cubicBezTo>
                <a:cubicBezTo>
                  <a:pt x="21182" y="3311973"/>
                  <a:pt x="23428" y="3314986"/>
                  <a:pt x="22659" y="3320245"/>
                </a:cubicBezTo>
                <a:cubicBezTo>
                  <a:pt x="24197" y="3309726"/>
                  <a:pt x="22721" y="3301454"/>
                  <a:pt x="26504" y="3293946"/>
                </a:cubicBezTo>
                <a:cubicBezTo>
                  <a:pt x="31765" y="3294711"/>
                  <a:pt x="35487" y="3305996"/>
                  <a:pt x="42286" y="3296241"/>
                </a:cubicBezTo>
                <a:cubicBezTo>
                  <a:pt x="29704" y="3235323"/>
                  <a:pt x="17829" y="3187938"/>
                  <a:pt x="16537" y="3123291"/>
                </a:cubicBezTo>
                <a:cubicBezTo>
                  <a:pt x="14291" y="3120278"/>
                  <a:pt x="14291" y="3120278"/>
                  <a:pt x="15060" y="3115018"/>
                </a:cubicBezTo>
                <a:cubicBezTo>
                  <a:pt x="12815" y="3112006"/>
                  <a:pt x="15829" y="3109758"/>
                  <a:pt x="15829" y="3109758"/>
                </a:cubicBezTo>
                <a:cubicBezTo>
                  <a:pt x="10630" y="3090202"/>
                  <a:pt x="9215" y="3063138"/>
                  <a:pt x="10046" y="3039086"/>
                </a:cubicBezTo>
                <a:cubicBezTo>
                  <a:pt x="4847" y="3019529"/>
                  <a:pt x="-1059" y="2986441"/>
                  <a:pt x="1309" y="2951870"/>
                </a:cubicBezTo>
                <a:cubicBezTo>
                  <a:pt x="-1583" y="2916533"/>
                  <a:pt x="786" y="2881962"/>
                  <a:pt x="3862" y="2860923"/>
                </a:cubicBezTo>
                <a:cubicBezTo>
                  <a:pt x="4755" y="2818079"/>
                  <a:pt x="6416" y="2769976"/>
                  <a:pt x="7308" y="2727132"/>
                </a:cubicBezTo>
                <a:cubicBezTo>
                  <a:pt x="10445" y="2687301"/>
                  <a:pt x="15829" y="2650482"/>
                  <a:pt x="30195" y="2625713"/>
                </a:cubicBezTo>
                <a:cubicBezTo>
                  <a:pt x="29426" y="2630973"/>
                  <a:pt x="28657" y="2636232"/>
                  <a:pt x="27888" y="2641492"/>
                </a:cubicBezTo>
                <a:cubicBezTo>
                  <a:pt x="27888" y="2641492"/>
                  <a:pt x="27888" y="2641492"/>
                  <a:pt x="31672" y="2633985"/>
                </a:cubicBezTo>
                <a:cubicBezTo>
                  <a:pt x="29426" y="2630973"/>
                  <a:pt x="32441" y="2628725"/>
                  <a:pt x="32441" y="2628725"/>
                </a:cubicBezTo>
                <a:cubicBezTo>
                  <a:pt x="34687" y="2631737"/>
                  <a:pt x="34687" y="2631737"/>
                  <a:pt x="33917" y="2636997"/>
                </a:cubicBezTo>
                <a:cubicBezTo>
                  <a:pt x="33917" y="2636997"/>
                  <a:pt x="33917" y="2636997"/>
                  <a:pt x="36163" y="2640009"/>
                </a:cubicBezTo>
                <a:cubicBezTo>
                  <a:pt x="41547" y="2603191"/>
                  <a:pt x="47699" y="2561112"/>
                  <a:pt x="47822" y="2523528"/>
                </a:cubicBezTo>
                <a:cubicBezTo>
                  <a:pt x="62188" y="2498759"/>
                  <a:pt x="69110" y="2451420"/>
                  <a:pt x="82769" y="2413119"/>
                </a:cubicBezTo>
                <a:close/>
                <a:moveTo>
                  <a:pt x="842852" y="2186167"/>
                </a:moveTo>
                <a:cubicBezTo>
                  <a:pt x="843814" y="2190672"/>
                  <a:pt x="843814" y="2190672"/>
                  <a:pt x="844776" y="2195175"/>
                </a:cubicBezTo>
                <a:cubicBezTo>
                  <a:pt x="833189" y="2207070"/>
                  <a:pt x="824795" y="2255960"/>
                  <a:pt x="807086" y="2283291"/>
                </a:cubicBezTo>
                <a:cubicBezTo>
                  <a:pt x="809819" y="2285062"/>
                  <a:pt x="807481" y="2296159"/>
                  <a:pt x="802365" y="2310792"/>
                </a:cubicBezTo>
                <a:lnTo>
                  <a:pt x="785915" y="2348273"/>
                </a:lnTo>
                <a:lnTo>
                  <a:pt x="807499" y="2266692"/>
                </a:lnTo>
                <a:lnTo>
                  <a:pt x="823460" y="2218568"/>
                </a:lnTo>
                <a:lnTo>
                  <a:pt x="830609" y="2217040"/>
                </a:lnTo>
                <a:cubicBezTo>
                  <a:pt x="833189" y="2207070"/>
                  <a:pt x="835769" y="2197099"/>
                  <a:pt x="839310" y="2191634"/>
                </a:cubicBezTo>
                <a:cubicBezTo>
                  <a:pt x="839310" y="2191634"/>
                  <a:pt x="842852" y="2186167"/>
                  <a:pt x="842852" y="2186167"/>
                </a:cubicBezTo>
                <a:close/>
                <a:moveTo>
                  <a:pt x="840927" y="2177159"/>
                </a:moveTo>
                <a:cubicBezTo>
                  <a:pt x="841889" y="2181663"/>
                  <a:pt x="837385" y="2182625"/>
                  <a:pt x="838347" y="2187130"/>
                </a:cubicBezTo>
                <a:cubicBezTo>
                  <a:pt x="833844" y="2188092"/>
                  <a:pt x="834806" y="2192596"/>
                  <a:pt x="834806" y="2192596"/>
                </a:cubicBezTo>
                <a:lnTo>
                  <a:pt x="827275" y="2207064"/>
                </a:lnTo>
                <a:lnTo>
                  <a:pt x="834303" y="2185873"/>
                </a:lnTo>
                <a:lnTo>
                  <a:pt x="837385" y="2182625"/>
                </a:lnTo>
                <a:lnTo>
                  <a:pt x="836151" y="2180302"/>
                </a:lnTo>
                <a:lnTo>
                  <a:pt x="836748" y="2178498"/>
                </a:lnTo>
                <a:close/>
                <a:moveTo>
                  <a:pt x="839464" y="2170309"/>
                </a:moveTo>
                <a:lnTo>
                  <a:pt x="839965" y="2172655"/>
                </a:lnTo>
                <a:lnTo>
                  <a:pt x="838208" y="2174097"/>
                </a:lnTo>
                <a:close/>
                <a:moveTo>
                  <a:pt x="845313" y="2152674"/>
                </a:moveTo>
                <a:lnTo>
                  <a:pt x="849628" y="2151752"/>
                </a:lnTo>
                <a:cubicBezTo>
                  <a:pt x="849628" y="2151752"/>
                  <a:pt x="846087" y="2157218"/>
                  <a:pt x="847050" y="2161723"/>
                </a:cubicBezTo>
                <a:cubicBezTo>
                  <a:pt x="847050" y="2161723"/>
                  <a:pt x="847050" y="2161723"/>
                  <a:pt x="846087" y="2157218"/>
                </a:cubicBezTo>
                <a:lnTo>
                  <a:pt x="843632" y="2157743"/>
                </a:lnTo>
                <a:close/>
                <a:moveTo>
                  <a:pt x="875203" y="2077877"/>
                </a:moveTo>
                <a:lnTo>
                  <a:pt x="874366" y="2081194"/>
                </a:lnTo>
                <a:cubicBezTo>
                  <a:pt x="872203" y="2090708"/>
                  <a:pt x="875163" y="2083894"/>
                  <a:pt x="881198" y="2079073"/>
                </a:cubicBezTo>
                <a:cubicBezTo>
                  <a:pt x="865413" y="2115412"/>
                  <a:pt x="866375" y="2119916"/>
                  <a:pt x="852208" y="2141782"/>
                </a:cubicBezTo>
                <a:lnTo>
                  <a:pt x="848676" y="2142537"/>
                </a:lnTo>
                <a:lnTo>
                  <a:pt x="849759" y="2139271"/>
                </a:lnTo>
                <a:close/>
                <a:moveTo>
                  <a:pt x="4931467" y="1175063"/>
                </a:moveTo>
                <a:lnTo>
                  <a:pt x="4937140" y="1179573"/>
                </a:lnTo>
                <a:cubicBezTo>
                  <a:pt x="4937140" y="1179573"/>
                  <a:pt x="4931674" y="1176031"/>
                  <a:pt x="4931674" y="1176031"/>
                </a:cubicBezTo>
                <a:close/>
                <a:moveTo>
                  <a:pt x="561352" y="2088239"/>
                </a:moveTo>
                <a:cubicBezTo>
                  <a:pt x="564202" y="2086988"/>
                  <a:pt x="568184" y="2086749"/>
                  <a:pt x="573826" y="2087987"/>
                </a:cubicBezTo>
                <a:lnTo>
                  <a:pt x="582872" y="2092891"/>
                </a:lnTo>
                <a:lnTo>
                  <a:pt x="578185" y="2103852"/>
                </a:lnTo>
                <a:cubicBezTo>
                  <a:pt x="463551" y="2408874"/>
                  <a:pt x="402676" y="2736722"/>
                  <a:pt x="404548" y="3073332"/>
                </a:cubicBezTo>
                <a:lnTo>
                  <a:pt x="414356" y="3260413"/>
                </a:lnTo>
                <a:lnTo>
                  <a:pt x="410289" y="3235547"/>
                </a:lnTo>
                <a:cubicBezTo>
                  <a:pt x="391018" y="3081276"/>
                  <a:pt x="385239" y="2926080"/>
                  <a:pt x="403101" y="2771698"/>
                </a:cubicBezTo>
                <a:cubicBezTo>
                  <a:pt x="408745" y="2715741"/>
                  <a:pt x="400500" y="2658840"/>
                  <a:pt x="408415" y="2604354"/>
                </a:cubicBezTo>
                <a:cubicBezTo>
                  <a:pt x="409757" y="2592334"/>
                  <a:pt x="403764" y="2564285"/>
                  <a:pt x="435141" y="2583001"/>
                </a:cubicBezTo>
                <a:cubicBezTo>
                  <a:pt x="448360" y="2589954"/>
                  <a:pt x="447033" y="2574594"/>
                  <a:pt x="449176" y="2566314"/>
                </a:cubicBezTo>
                <a:cubicBezTo>
                  <a:pt x="467037" y="2411933"/>
                  <a:pt x="511608" y="2263578"/>
                  <a:pt x="552039" y="2114152"/>
                </a:cubicBezTo>
                <a:cubicBezTo>
                  <a:pt x="554449" y="2104837"/>
                  <a:pt x="552804" y="2091989"/>
                  <a:pt x="561352" y="2088239"/>
                </a:cubicBezTo>
                <a:close/>
                <a:moveTo>
                  <a:pt x="5705773" y="955466"/>
                </a:moveTo>
                <a:cubicBezTo>
                  <a:pt x="5709740" y="959433"/>
                  <a:pt x="5713706" y="967367"/>
                  <a:pt x="5709740" y="967367"/>
                </a:cubicBezTo>
                <a:cubicBezTo>
                  <a:pt x="5705774" y="959433"/>
                  <a:pt x="5701808" y="955466"/>
                  <a:pt x="5705773" y="955466"/>
                </a:cubicBezTo>
                <a:close/>
                <a:moveTo>
                  <a:pt x="968004" y="1863229"/>
                </a:moveTo>
                <a:lnTo>
                  <a:pt x="968776" y="1863422"/>
                </a:lnTo>
                <a:lnTo>
                  <a:pt x="957715" y="1886114"/>
                </a:lnTo>
                <a:cubicBezTo>
                  <a:pt x="948937" y="1905650"/>
                  <a:pt x="941930" y="1922454"/>
                  <a:pt x="938869" y="1930172"/>
                </a:cubicBezTo>
                <a:cubicBezTo>
                  <a:pt x="937252" y="1944646"/>
                  <a:pt x="905376" y="1993844"/>
                  <a:pt x="906645" y="2021830"/>
                </a:cubicBezTo>
                <a:cubicBezTo>
                  <a:pt x="898600" y="2028259"/>
                  <a:pt x="901179" y="2018288"/>
                  <a:pt x="901179" y="2018288"/>
                </a:cubicBezTo>
                <a:cubicBezTo>
                  <a:pt x="900371" y="2025526"/>
                  <a:pt x="895779" y="2037103"/>
                  <a:pt x="890505" y="2048238"/>
                </a:cubicBezTo>
                <a:lnTo>
                  <a:pt x="877626" y="2072031"/>
                </a:lnTo>
                <a:lnTo>
                  <a:pt x="952342" y="1891751"/>
                </a:lnTo>
                <a:cubicBezTo>
                  <a:pt x="954884" y="1885341"/>
                  <a:pt x="957426" y="1878932"/>
                  <a:pt x="959967" y="1872523"/>
                </a:cubicBezTo>
                <a:cubicBezTo>
                  <a:pt x="961973" y="1868183"/>
                  <a:pt x="964647" y="1864679"/>
                  <a:pt x="968004" y="1863229"/>
                </a:cubicBezTo>
                <a:close/>
                <a:moveTo>
                  <a:pt x="4343712" y="1135297"/>
                </a:moveTo>
                <a:cubicBezTo>
                  <a:pt x="4338942" y="1143968"/>
                  <a:pt x="4368028" y="1158847"/>
                  <a:pt x="4388447" y="1168954"/>
                </a:cubicBezTo>
                <a:cubicBezTo>
                  <a:pt x="4409120" y="1195019"/>
                  <a:pt x="4443799" y="1214105"/>
                  <a:pt x="4474271" y="1238784"/>
                </a:cubicBezTo>
                <a:cubicBezTo>
                  <a:pt x="4471193" y="1238219"/>
                  <a:pt x="4471193" y="1238219"/>
                  <a:pt x="4471193" y="1238219"/>
                </a:cubicBezTo>
                <a:cubicBezTo>
                  <a:pt x="4468680" y="1234576"/>
                  <a:pt x="4465601" y="1234012"/>
                  <a:pt x="4461959" y="1236526"/>
                </a:cubicBezTo>
                <a:cubicBezTo>
                  <a:pt x="4461959" y="1236526"/>
                  <a:pt x="4464473" y="1240170"/>
                  <a:pt x="4467551" y="1240734"/>
                </a:cubicBezTo>
                <a:cubicBezTo>
                  <a:pt x="4435949" y="1222212"/>
                  <a:pt x="4393165" y="1195276"/>
                  <a:pt x="4368285" y="1174804"/>
                </a:cubicBezTo>
                <a:cubicBezTo>
                  <a:pt x="4344789" y="1164132"/>
                  <a:pt x="4321858" y="1150383"/>
                  <a:pt x="4302825" y="1150076"/>
                </a:cubicBezTo>
                <a:cubicBezTo>
                  <a:pt x="4377211" y="1195533"/>
                  <a:pt x="4431179" y="1230884"/>
                  <a:pt x="4474219" y="1273777"/>
                </a:cubicBezTo>
                <a:cubicBezTo>
                  <a:pt x="4492123" y="1280242"/>
                  <a:pt x="4520081" y="1301278"/>
                  <a:pt x="4527622" y="1312207"/>
                </a:cubicBezTo>
                <a:cubicBezTo>
                  <a:pt x="4515310" y="1309949"/>
                  <a:pt x="4525929" y="1321442"/>
                  <a:pt x="4519208" y="1323392"/>
                </a:cubicBezTo>
                <a:cubicBezTo>
                  <a:pt x="4527314" y="1331242"/>
                  <a:pt x="4530957" y="1328729"/>
                  <a:pt x="4535984" y="1336014"/>
                </a:cubicBezTo>
                <a:cubicBezTo>
                  <a:pt x="4550810" y="1341915"/>
                  <a:pt x="4526493" y="1318363"/>
                  <a:pt x="4543833" y="1327907"/>
                </a:cubicBezTo>
                <a:cubicBezTo>
                  <a:pt x="4576819" y="1356228"/>
                  <a:pt x="4594979" y="1378650"/>
                  <a:pt x="4631607" y="1404458"/>
                </a:cubicBezTo>
                <a:cubicBezTo>
                  <a:pt x="4638584" y="1418466"/>
                  <a:pt x="4654795" y="1434166"/>
                  <a:pt x="4674083" y="1450430"/>
                </a:cubicBezTo>
                <a:cubicBezTo>
                  <a:pt x="4690294" y="1466130"/>
                  <a:pt x="4709018" y="1485474"/>
                  <a:pt x="4719073" y="1500045"/>
                </a:cubicBezTo>
                <a:cubicBezTo>
                  <a:pt x="4708454" y="1488552"/>
                  <a:pt x="4704812" y="1491066"/>
                  <a:pt x="4701734" y="1490503"/>
                </a:cubicBezTo>
                <a:cubicBezTo>
                  <a:pt x="4704248" y="1494146"/>
                  <a:pt x="4701169" y="1493581"/>
                  <a:pt x="4700605" y="1496660"/>
                </a:cubicBezTo>
                <a:cubicBezTo>
                  <a:pt x="4716815" y="1512360"/>
                  <a:pt x="4718765" y="1519082"/>
                  <a:pt x="4734976" y="1534781"/>
                </a:cubicBezTo>
                <a:cubicBezTo>
                  <a:pt x="4738054" y="1535345"/>
                  <a:pt x="4738054" y="1535345"/>
                  <a:pt x="4743645" y="1539553"/>
                </a:cubicBezTo>
                <a:cubicBezTo>
                  <a:pt x="4747852" y="1533960"/>
                  <a:pt x="4740312" y="1523031"/>
                  <a:pt x="4748981" y="1527803"/>
                </a:cubicBezTo>
                <a:cubicBezTo>
                  <a:pt x="4764628" y="1546581"/>
                  <a:pt x="4774682" y="1561153"/>
                  <a:pt x="4787814" y="1576290"/>
                </a:cubicBezTo>
                <a:cubicBezTo>
                  <a:pt x="4800947" y="1591426"/>
                  <a:pt x="4814080" y="1606562"/>
                  <a:pt x="4835318" y="1629548"/>
                </a:cubicBezTo>
                <a:cubicBezTo>
                  <a:pt x="4835882" y="1626469"/>
                  <a:pt x="4838961" y="1627033"/>
                  <a:pt x="4841474" y="1630676"/>
                </a:cubicBezTo>
                <a:cubicBezTo>
                  <a:pt x="4857120" y="1649455"/>
                  <a:pt x="4854607" y="1645812"/>
                  <a:pt x="4867175" y="1664027"/>
                </a:cubicBezTo>
                <a:cubicBezTo>
                  <a:pt x="4872202" y="1671313"/>
                  <a:pt x="4880308" y="1679162"/>
                  <a:pt x="4885335" y="1686449"/>
                </a:cubicBezTo>
                <a:cubicBezTo>
                  <a:pt x="4911292" y="1735757"/>
                  <a:pt x="4949869" y="1768286"/>
                  <a:pt x="4983932" y="1825444"/>
                </a:cubicBezTo>
                <a:cubicBezTo>
                  <a:pt x="4987010" y="1826008"/>
                  <a:pt x="4991473" y="1836373"/>
                  <a:pt x="4997064" y="1840580"/>
                </a:cubicBezTo>
                <a:cubicBezTo>
                  <a:pt x="4996500" y="1843658"/>
                  <a:pt x="5007119" y="1855152"/>
                  <a:pt x="5000399" y="1857102"/>
                </a:cubicBezTo>
                <a:cubicBezTo>
                  <a:pt x="4994807" y="1852894"/>
                  <a:pt x="4982239" y="1834680"/>
                  <a:pt x="4978032" y="1840273"/>
                </a:cubicBezTo>
                <a:cubicBezTo>
                  <a:pt x="4985009" y="1854280"/>
                  <a:pt x="4993114" y="1862131"/>
                  <a:pt x="4997577" y="1872495"/>
                </a:cubicBezTo>
                <a:cubicBezTo>
                  <a:pt x="4994499" y="1871930"/>
                  <a:pt x="4997012" y="1875573"/>
                  <a:pt x="4998962" y="1882295"/>
                </a:cubicBezTo>
                <a:cubicBezTo>
                  <a:pt x="5002040" y="1882859"/>
                  <a:pt x="5000090" y="1876137"/>
                  <a:pt x="4997577" y="1872495"/>
                </a:cubicBezTo>
                <a:cubicBezTo>
                  <a:pt x="5005118" y="1883424"/>
                  <a:pt x="5013223" y="1891273"/>
                  <a:pt x="5021329" y="1899124"/>
                </a:cubicBezTo>
                <a:cubicBezTo>
                  <a:pt x="5029434" y="1906974"/>
                  <a:pt x="5017430" y="1885681"/>
                  <a:pt x="5021072" y="1883167"/>
                </a:cubicBezTo>
                <a:cubicBezTo>
                  <a:pt x="5021072" y="1883167"/>
                  <a:pt x="5026100" y="1890452"/>
                  <a:pt x="5029742" y="1887937"/>
                </a:cubicBezTo>
                <a:cubicBezTo>
                  <a:pt x="5033384" y="1885424"/>
                  <a:pt x="5024458" y="1864694"/>
                  <a:pt x="5038977" y="1889630"/>
                </a:cubicBezTo>
                <a:cubicBezTo>
                  <a:pt x="5036463" y="1885988"/>
                  <a:pt x="5036463" y="1885988"/>
                  <a:pt x="5036463" y="1885988"/>
                </a:cubicBezTo>
                <a:cubicBezTo>
                  <a:pt x="5036463" y="1885988"/>
                  <a:pt x="5035898" y="1889066"/>
                  <a:pt x="5035898" y="1889066"/>
                </a:cubicBezTo>
                <a:cubicBezTo>
                  <a:pt x="5035334" y="1892145"/>
                  <a:pt x="5035334" y="1892145"/>
                  <a:pt x="5035334" y="1892145"/>
                </a:cubicBezTo>
                <a:cubicBezTo>
                  <a:pt x="5037847" y="1895788"/>
                  <a:pt x="5037847" y="1895788"/>
                  <a:pt x="5040926" y="1896352"/>
                </a:cubicBezTo>
                <a:cubicBezTo>
                  <a:pt x="5034769" y="1895224"/>
                  <a:pt x="5049287" y="1920160"/>
                  <a:pt x="5052930" y="1917645"/>
                </a:cubicBezTo>
                <a:cubicBezTo>
                  <a:pt x="5052366" y="1920724"/>
                  <a:pt x="5055443" y="1921289"/>
                  <a:pt x="5057957" y="1924931"/>
                </a:cubicBezTo>
                <a:cubicBezTo>
                  <a:pt x="5057957" y="1924931"/>
                  <a:pt x="5058521" y="1921853"/>
                  <a:pt x="5056008" y="1918210"/>
                </a:cubicBezTo>
                <a:cubicBezTo>
                  <a:pt x="5056008" y="1918210"/>
                  <a:pt x="5056008" y="1918210"/>
                  <a:pt x="5056572" y="1915131"/>
                </a:cubicBezTo>
                <a:cubicBezTo>
                  <a:pt x="5066062" y="1932782"/>
                  <a:pt x="5099868" y="1973982"/>
                  <a:pt x="5100125" y="1989940"/>
                </a:cubicBezTo>
                <a:cubicBezTo>
                  <a:pt x="5088941" y="1981525"/>
                  <a:pt x="5078322" y="1970033"/>
                  <a:pt x="5074115" y="1975625"/>
                </a:cubicBezTo>
                <a:cubicBezTo>
                  <a:pt x="5076064" y="1982347"/>
                  <a:pt x="5083605" y="1993276"/>
                  <a:pt x="5074372" y="1991583"/>
                </a:cubicBezTo>
                <a:cubicBezTo>
                  <a:pt x="5081348" y="2005590"/>
                  <a:pt x="5088325" y="2019597"/>
                  <a:pt x="5095301" y="2033605"/>
                </a:cubicBezTo>
                <a:cubicBezTo>
                  <a:pt x="5098379" y="2034169"/>
                  <a:pt x="5093916" y="2023804"/>
                  <a:pt x="5098943" y="2031091"/>
                </a:cubicBezTo>
                <a:cubicBezTo>
                  <a:pt x="5102842" y="2044534"/>
                  <a:pt x="5110383" y="2055462"/>
                  <a:pt x="5116231" y="2075627"/>
                </a:cubicBezTo>
                <a:cubicBezTo>
                  <a:pt x="5132441" y="2091327"/>
                  <a:pt x="5138289" y="2111491"/>
                  <a:pt x="5153627" y="2149306"/>
                </a:cubicBezTo>
                <a:cubicBezTo>
                  <a:pt x="5147471" y="2148178"/>
                  <a:pt x="5149420" y="2154900"/>
                  <a:pt x="5149420" y="2154900"/>
                </a:cubicBezTo>
                <a:cubicBezTo>
                  <a:pt x="5159731" y="2185428"/>
                  <a:pt x="5172555" y="2219600"/>
                  <a:pt x="5179788" y="2249565"/>
                </a:cubicBezTo>
                <a:cubicBezTo>
                  <a:pt x="5189534" y="2283173"/>
                  <a:pt x="5199844" y="2313703"/>
                  <a:pt x="5208206" y="2337510"/>
                </a:cubicBezTo>
                <a:cubicBezTo>
                  <a:pt x="5204307" y="2324067"/>
                  <a:pt x="5211849" y="2334995"/>
                  <a:pt x="5214363" y="2338638"/>
                </a:cubicBezTo>
                <a:cubicBezTo>
                  <a:pt x="5215747" y="2348439"/>
                  <a:pt x="5222159" y="2365525"/>
                  <a:pt x="5216568" y="2361317"/>
                </a:cubicBezTo>
                <a:cubicBezTo>
                  <a:pt x="5224929" y="2385125"/>
                  <a:pt x="5229392" y="2395489"/>
                  <a:pt x="5236624" y="2425454"/>
                </a:cubicBezTo>
                <a:cubicBezTo>
                  <a:pt x="5234932" y="2434690"/>
                  <a:pt x="5233802" y="2440848"/>
                  <a:pt x="5235187" y="2450647"/>
                </a:cubicBezTo>
                <a:cubicBezTo>
                  <a:pt x="5240215" y="2457934"/>
                  <a:pt x="5243549" y="2474455"/>
                  <a:pt x="5243805" y="2490413"/>
                </a:cubicBezTo>
                <a:cubicBezTo>
                  <a:pt x="5247139" y="2506934"/>
                  <a:pt x="5251038" y="2520377"/>
                  <a:pt x="5256629" y="2524584"/>
                </a:cubicBezTo>
                <a:cubicBezTo>
                  <a:pt x="5258887" y="2512270"/>
                  <a:pt x="5257245" y="2486513"/>
                  <a:pt x="5251963" y="2463269"/>
                </a:cubicBezTo>
                <a:cubicBezTo>
                  <a:pt x="5246679" y="2440026"/>
                  <a:pt x="5238882" y="2413140"/>
                  <a:pt x="5233034" y="2392975"/>
                </a:cubicBezTo>
                <a:cubicBezTo>
                  <a:pt x="5230521" y="2389332"/>
                  <a:pt x="5229136" y="2379532"/>
                  <a:pt x="5229701" y="2376453"/>
                </a:cubicBezTo>
                <a:cubicBezTo>
                  <a:pt x="5212413" y="2331917"/>
                  <a:pt x="5217493" y="2304210"/>
                  <a:pt x="5206362" y="2260801"/>
                </a:cubicBezTo>
                <a:cubicBezTo>
                  <a:pt x="5176198" y="2217087"/>
                  <a:pt x="5169838" y="2165007"/>
                  <a:pt x="5137469" y="2098614"/>
                </a:cubicBezTo>
                <a:cubicBezTo>
                  <a:pt x="5143625" y="2099741"/>
                  <a:pt x="5139726" y="2086298"/>
                  <a:pt x="5143369" y="2083784"/>
                </a:cubicBezTo>
                <a:cubicBezTo>
                  <a:pt x="5138906" y="2073419"/>
                  <a:pt x="5131929" y="2059412"/>
                  <a:pt x="5128031" y="2045969"/>
                </a:cubicBezTo>
                <a:cubicBezTo>
                  <a:pt x="5130544" y="2049612"/>
                  <a:pt x="5130544" y="2049612"/>
                  <a:pt x="5130544" y="2049612"/>
                </a:cubicBezTo>
                <a:cubicBezTo>
                  <a:pt x="5133058" y="2053255"/>
                  <a:pt x="5133058" y="2053255"/>
                  <a:pt x="5133058" y="2053255"/>
                </a:cubicBezTo>
                <a:cubicBezTo>
                  <a:pt x="5133622" y="2050176"/>
                  <a:pt x="5134186" y="2047097"/>
                  <a:pt x="5131109" y="2046534"/>
                </a:cubicBezTo>
                <a:cubicBezTo>
                  <a:pt x="5128595" y="2042891"/>
                  <a:pt x="5128595" y="2042891"/>
                  <a:pt x="5128595" y="2042891"/>
                </a:cubicBezTo>
                <a:cubicBezTo>
                  <a:pt x="5129159" y="2039812"/>
                  <a:pt x="5129159" y="2039812"/>
                  <a:pt x="5129159" y="2039812"/>
                </a:cubicBezTo>
                <a:cubicBezTo>
                  <a:pt x="5130853" y="2030576"/>
                  <a:pt x="5116335" y="2005640"/>
                  <a:pt x="5099868" y="1973982"/>
                </a:cubicBezTo>
                <a:cubicBezTo>
                  <a:pt x="5080324" y="1941760"/>
                  <a:pt x="5058830" y="1902816"/>
                  <a:pt x="5039284" y="1870595"/>
                </a:cubicBezTo>
                <a:cubicBezTo>
                  <a:pt x="5032308" y="1856587"/>
                  <a:pt x="5030358" y="1849865"/>
                  <a:pt x="5022818" y="1838937"/>
                </a:cubicBezTo>
                <a:cubicBezTo>
                  <a:pt x="5000759" y="1803072"/>
                  <a:pt x="4971981" y="1769157"/>
                  <a:pt x="4949357" y="1736371"/>
                </a:cubicBezTo>
                <a:cubicBezTo>
                  <a:pt x="4944330" y="1729085"/>
                  <a:pt x="4942945" y="1719285"/>
                  <a:pt x="4937353" y="1715077"/>
                </a:cubicBezTo>
                <a:cubicBezTo>
                  <a:pt x="4937353" y="1715077"/>
                  <a:pt x="4940431" y="1715642"/>
                  <a:pt x="4939867" y="1718720"/>
                </a:cubicBezTo>
                <a:cubicBezTo>
                  <a:pt x="4939867" y="1718720"/>
                  <a:pt x="4942945" y="1719285"/>
                  <a:pt x="4942945" y="1719285"/>
                </a:cubicBezTo>
                <a:cubicBezTo>
                  <a:pt x="4940431" y="1715642"/>
                  <a:pt x="4940431" y="1715642"/>
                  <a:pt x="4937918" y="1711999"/>
                </a:cubicBezTo>
                <a:cubicBezTo>
                  <a:pt x="4935404" y="1708356"/>
                  <a:pt x="4935404" y="1708356"/>
                  <a:pt x="4935404" y="1708356"/>
                </a:cubicBezTo>
                <a:cubicBezTo>
                  <a:pt x="4940996" y="1712564"/>
                  <a:pt x="4953565" y="1730778"/>
                  <a:pt x="4962234" y="1735550"/>
                </a:cubicBezTo>
                <a:cubicBezTo>
                  <a:pt x="4965877" y="1733035"/>
                  <a:pt x="4958336" y="1722107"/>
                  <a:pt x="4950794" y="1711178"/>
                </a:cubicBezTo>
                <a:cubicBezTo>
                  <a:pt x="4953873" y="1711742"/>
                  <a:pt x="4953873" y="1711742"/>
                  <a:pt x="4953873" y="1711742"/>
                </a:cubicBezTo>
                <a:cubicBezTo>
                  <a:pt x="4956387" y="1715384"/>
                  <a:pt x="4956387" y="1715384"/>
                  <a:pt x="4956387" y="1715384"/>
                </a:cubicBezTo>
                <a:cubicBezTo>
                  <a:pt x="4960029" y="1712871"/>
                  <a:pt x="4956951" y="1712307"/>
                  <a:pt x="4954437" y="1708663"/>
                </a:cubicBezTo>
                <a:cubicBezTo>
                  <a:pt x="4954437" y="1708663"/>
                  <a:pt x="4951924" y="1705020"/>
                  <a:pt x="4951924" y="1705020"/>
                </a:cubicBezTo>
                <a:cubicBezTo>
                  <a:pt x="4952488" y="1701941"/>
                  <a:pt x="4964492" y="1723235"/>
                  <a:pt x="4963107" y="1713436"/>
                </a:cubicBezTo>
                <a:cubicBezTo>
                  <a:pt x="4950539" y="1695220"/>
                  <a:pt x="4935457" y="1673363"/>
                  <a:pt x="4922888" y="1655149"/>
                </a:cubicBezTo>
                <a:cubicBezTo>
                  <a:pt x="4910320" y="1636934"/>
                  <a:pt x="4899701" y="1625441"/>
                  <a:pt x="4892416" y="1630469"/>
                </a:cubicBezTo>
                <a:cubicBezTo>
                  <a:pt x="4892981" y="1627391"/>
                  <a:pt x="4889903" y="1626826"/>
                  <a:pt x="4889903" y="1626826"/>
                </a:cubicBezTo>
                <a:cubicBezTo>
                  <a:pt x="4890467" y="1623748"/>
                  <a:pt x="4887954" y="1620104"/>
                  <a:pt x="4884876" y="1619540"/>
                </a:cubicBezTo>
                <a:cubicBezTo>
                  <a:pt x="4884876" y="1619540"/>
                  <a:pt x="4884876" y="1619540"/>
                  <a:pt x="4884310" y="1622619"/>
                </a:cubicBezTo>
                <a:cubicBezTo>
                  <a:pt x="4884310" y="1622619"/>
                  <a:pt x="4886824" y="1626263"/>
                  <a:pt x="4886824" y="1626263"/>
                </a:cubicBezTo>
                <a:cubicBezTo>
                  <a:pt x="4883746" y="1625698"/>
                  <a:pt x="4878155" y="1621490"/>
                  <a:pt x="4870050" y="1613640"/>
                </a:cubicBezTo>
                <a:cubicBezTo>
                  <a:pt x="4866407" y="1616155"/>
                  <a:pt x="4859687" y="1618104"/>
                  <a:pt x="4856608" y="1617541"/>
                </a:cubicBezTo>
                <a:cubicBezTo>
                  <a:pt x="4836499" y="1588397"/>
                  <a:pt x="4820288" y="1572697"/>
                  <a:pt x="4794023" y="1542425"/>
                </a:cubicBezTo>
                <a:cubicBezTo>
                  <a:pt x="4788996" y="1535139"/>
                  <a:pt x="4783404" y="1530932"/>
                  <a:pt x="4774734" y="1526160"/>
                </a:cubicBezTo>
                <a:cubicBezTo>
                  <a:pt x="4745955" y="1492246"/>
                  <a:pt x="4716612" y="1461409"/>
                  <a:pt x="4686704" y="1433652"/>
                </a:cubicBezTo>
                <a:cubicBezTo>
                  <a:pt x="4654282" y="1402251"/>
                  <a:pt x="4624375" y="1374494"/>
                  <a:pt x="4598109" y="1344221"/>
                </a:cubicBezTo>
                <a:cubicBezTo>
                  <a:pt x="4601187" y="1344786"/>
                  <a:pt x="4601187" y="1344786"/>
                  <a:pt x="4601187" y="1344786"/>
                </a:cubicBezTo>
                <a:cubicBezTo>
                  <a:pt x="4603701" y="1348429"/>
                  <a:pt x="4606779" y="1348993"/>
                  <a:pt x="4606779" y="1348993"/>
                </a:cubicBezTo>
                <a:cubicBezTo>
                  <a:pt x="4607344" y="1345914"/>
                  <a:pt x="4604829" y="1342271"/>
                  <a:pt x="4601751" y="1341707"/>
                </a:cubicBezTo>
                <a:cubicBezTo>
                  <a:pt x="4599238" y="1338065"/>
                  <a:pt x="4599238" y="1338065"/>
                  <a:pt x="4596160" y="1337500"/>
                </a:cubicBezTo>
                <a:cubicBezTo>
                  <a:pt x="4596724" y="1334421"/>
                  <a:pt x="4599802" y="1334986"/>
                  <a:pt x="4602316" y="1338629"/>
                </a:cubicBezTo>
                <a:cubicBezTo>
                  <a:pt x="4624118" y="1358536"/>
                  <a:pt x="4655976" y="1393015"/>
                  <a:pt x="4687012" y="1414615"/>
                </a:cubicBezTo>
                <a:cubicBezTo>
                  <a:pt x="4690091" y="1415180"/>
                  <a:pt x="4696246" y="1416308"/>
                  <a:pt x="4688706" y="1405380"/>
                </a:cubicBezTo>
                <a:cubicBezTo>
                  <a:pt x="4682549" y="1404251"/>
                  <a:pt x="4674444" y="1396401"/>
                  <a:pt x="4663260" y="1387986"/>
                </a:cubicBezTo>
                <a:cubicBezTo>
                  <a:pt x="4670545" y="1382958"/>
                  <a:pt x="4642023" y="1365000"/>
                  <a:pt x="4628326" y="1352943"/>
                </a:cubicBezTo>
                <a:cubicBezTo>
                  <a:pt x="4590312" y="1317335"/>
                  <a:pt x="4550350" y="1275006"/>
                  <a:pt x="4505052" y="1244426"/>
                </a:cubicBezTo>
                <a:cubicBezTo>
                  <a:pt x="4499460" y="1240220"/>
                  <a:pt x="4496382" y="1239655"/>
                  <a:pt x="4490790" y="1235448"/>
                </a:cubicBezTo>
                <a:cubicBezTo>
                  <a:pt x="4473450" y="1225905"/>
                  <a:pt x="4446621" y="1198712"/>
                  <a:pt x="4434308" y="1196454"/>
                </a:cubicBezTo>
                <a:cubicBezTo>
                  <a:pt x="4437952" y="1193940"/>
                  <a:pt x="4435438" y="1190297"/>
                  <a:pt x="4430410" y="1183012"/>
                </a:cubicBezTo>
                <a:cubicBezTo>
                  <a:pt x="4423690" y="1184961"/>
                  <a:pt x="4400759" y="1171212"/>
                  <a:pt x="4400759" y="1171212"/>
                </a:cubicBezTo>
                <a:cubicBezTo>
                  <a:pt x="4406915" y="1172339"/>
                  <a:pt x="4407479" y="1169261"/>
                  <a:pt x="4407479" y="1169261"/>
                </a:cubicBezTo>
                <a:cubicBezTo>
                  <a:pt x="4382034" y="1151868"/>
                  <a:pt x="4367209" y="1145968"/>
                  <a:pt x="4343712" y="1135297"/>
                </a:cubicBezTo>
                <a:close/>
                <a:moveTo>
                  <a:pt x="1318845" y="1535771"/>
                </a:moveTo>
                <a:lnTo>
                  <a:pt x="1298829" y="1573056"/>
                </a:lnTo>
                <a:cubicBezTo>
                  <a:pt x="1295994" y="1580384"/>
                  <a:pt x="1293948" y="1587970"/>
                  <a:pt x="1293203" y="1595921"/>
                </a:cubicBezTo>
                <a:lnTo>
                  <a:pt x="1293532" y="1599724"/>
                </a:lnTo>
                <a:lnTo>
                  <a:pt x="1289333" y="1608630"/>
                </a:lnTo>
                <a:cubicBezTo>
                  <a:pt x="1286797" y="1613293"/>
                  <a:pt x="1282129" y="1619000"/>
                  <a:pt x="1270060" y="1628642"/>
                </a:cubicBezTo>
                <a:cubicBezTo>
                  <a:pt x="1280031" y="1631222"/>
                  <a:pt x="1236260" y="1668831"/>
                  <a:pt x="1238185" y="1677840"/>
                </a:cubicBezTo>
                <a:cubicBezTo>
                  <a:pt x="1256855" y="1655012"/>
                  <a:pt x="1240109" y="1686848"/>
                  <a:pt x="1233025" y="1697780"/>
                </a:cubicBezTo>
                <a:cubicBezTo>
                  <a:pt x="1228521" y="1698742"/>
                  <a:pt x="1227558" y="1694239"/>
                  <a:pt x="1232063" y="1693276"/>
                </a:cubicBezTo>
                <a:cubicBezTo>
                  <a:pt x="1231100" y="1688772"/>
                  <a:pt x="1231100" y="1688772"/>
                  <a:pt x="1231100" y="1688772"/>
                </a:cubicBezTo>
                <a:cubicBezTo>
                  <a:pt x="1230138" y="1684268"/>
                  <a:pt x="1231100" y="1688772"/>
                  <a:pt x="1226596" y="1689735"/>
                </a:cubicBezTo>
                <a:cubicBezTo>
                  <a:pt x="1223055" y="1695201"/>
                  <a:pt x="1223055" y="1695201"/>
                  <a:pt x="1223055" y="1695201"/>
                </a:cubicBezTo>
                <a:cubicBezTo>
                  <a:pt x="1220475" y="1705171"/>
                  <a:pt x="1225942" y="1708713"/>
                  <a:pt x="1225942" y="1708713"/>
                </a:cubicBezTo>
                <a:cubicBezTo>
                  <a:pt x="1226904" y="1713217"/>
                  <a:pt x="1223362" y="1718683"/>
                  <a:pt x="1219820" y="1724150"/>
                </a:cubicBezTo>
                <a:cubicBezTo>
                  <a:pt x="1215316" y="1725112"/>
                  <a:pt x="1215316" y="1725112"/>
                  <a:pt x="1210812" y="1726074"/>
                </a:cubicBezTo>
                <a:cubicBezTo>
                  <a:pt x="1210812" y="1726074"/>
                  <a:pt x="1209850" y="1721570"/>
                  <a:pt x="1209850" y="1721570"/>
                </a:cubicBezTo>
                <a:cubicBezTo>
                  <a:pt x="1209850" y="1721570"/>
                  <a:pt x="1209850" y="1721570"/>
                  <a:pt x="1205346" y="1722532"/>
                </a:cubicBezTo>
                <a:cubicBezTo>
                  <a:pt x="1205346" y="1722532"/>
                  <a:pt x="1206308" y="1727037"/>
                  <a:pt x="1206308" y="1727037"/>
                </a:cubicBezTo>
                <a:cubicBezTo>
                  <a:pt x="1206308" y="1727037"/>
                  <a:pt x="1207270" y="1731541"/>
                  <a:pt x="1207270" y="1731541"/>
                </a:cubicBezTo>
                <a:cubicBezTo>
                  <a:pt x="1208232" y="1736044"/>
                  <a:pt x="1203728" y="1737007"/>
                  <a:pt x="1204690" y="1741511"/>
                </a:cubicBezTo>
                <a:cubicBezTo>
                  <a:pt x="1200187" y="1742473"/>
                  <a:pt x="1201149" y="1746977"/>
                  <a:pt x="1201149" y="1746977"/>
                </a:cubicBezTo>
                <a:cubicBezTo>
                  <a:pt x="1196645" y="1747940"/>
                  <a:pt x="1196645" y="1747940"/>
                  <a:pt x="1196645" y="1747940"/>
                </a:cubicBezTo>
                <a:cubicBezTo>
                  <a:pt x="1193103" y="1753405"/>
                  <a:pt x="1193103" y="1753405"/>
                  <a:pt x="1193103" y="1753405"/>
                </a:cubicBezTo>
                <a:cubicBezTo>
                  <a:pt x="1197607" y="1752443"/>
                  <a:pt x="1197607" y="1752443"/>
                  <a:pt x="1197607" y="1752443"/>
                </a:cubicBezTo>
                <a:cubicBezTo>
                  <a:pt x="1193103" y="1753405"/>
                  <a:pt x="1194065" y="1757910"/>
                  <a:pt x="1194065" y="1757910"/>
                </a:cubicBezTo>
                <a:cubicBezTo>
                  <a:pt x="1179898" y="1779775"/>
                  <a:pt x="1165730" y="1801641"/>
                  <a:pt x="1155105" y="1818040"/>
                </a:cubicBezTo>
                <a:cubicBezTo>
                  <a:pt x="1150601" y="1819002"/>
                  <a:pt x="1150601" y="1819002"/>
                  <a:pt x="1150601" y="1819002"/>
                </a:cubicBezTo>
                <a:cubicBezTo>
                  <a:pt x="1151563" y="1823506"/>
                  <a:pt x="1151563" y="1823506"/>
                  <a:pt x="1151563" y="1823506"/>
                </a:cubicBezTo>
                <a:cubicBezTo>
                  <a:pt x="1148022" y="1828972"/>
                  <a:pt x="1148022" y="1828972"/>
                  <a:pt x="1148022" y="1828972"/>
                </a:cubicBezTo>
                <a:cubicBezTo>
                  <a:pt x="1148984" y="1833476"/>
                  <a:pt x="1148984" y="1833476"/>
                  <a:pt x="1148984" y="1833476"/>
                </a:cubicBezTo>
                <a:cubicBezTo>
                  <a:pt x="1148022" y="1828972"/>
                  <a:pt x="1148022" y="1828972"/>
                  <a:pt x="1142555" y="1825430"/>
                </a:cubicBezTo>
                <a:cubicBezTo>
                  <a:pt x="1139013" y="1830897"/>
                  <a:pt x="1135472" y="1836363"/>
                  <a:pt x="1128388" y="1847295"/>
                </a:cubicBezTo>
                <a:cubicBezTo>
                  <a:pt x="1128388" y="1847295"/>
                  <a:pt x="1128388" y="1847295"/>
                  <a:pt x="1123884" y="1848258"/>
                </a:cubicBezTo>
                <a:lnTo>
                  <a:pt x="1121709" y="1845626"/>
                </a:lnTo>
                <a:lnTo>
                  <a:pt x="1123442" y="1842951"/>
                </a:lnTo>
                <a:lnTo>
                  <a:pt x="1125256" y="1840901"/>
                </a:lnTo>
                <a:cubicBezTo>
                  <a:pt x="1128716" y="1837807"/>
                  <a:pt x="1132739" y="1834592"/>
                  <a:pt x="1130005" y="1832821"/>
                </a:cubicBezTo>
                <a:lnTo>
                  <a:pt x="1123442" y="1842951"/>
                </a:lnTo>
                <a:lnTo>
                  <a:pt x="1121403" y="1845256"/>
                </a:lnTo>
                <a:lnTo>
                  <a:pt x="1121709" y="1845626"/>
                </a:lnTo>
                <a:lnTo>
                  <a:pt x="1105213" y="1871085"/>
                </a:lnTo>
                <a:cubicBezTo>
                  <a:pt x="1098129" y="1882018"/>
                  <a:pt x="1094588" y="1887484"/>
                  <a:pt x="1087503" y="1898417"/>
                </a:cubicBezTo>
                <a:cubicBezTo>
                  <a:pt x="1083961" y="1903883"/>
                  <a:pt x="1076878" y="1914815"/>
                  <a:pt x="1074299" y="1924786"/>
                </a:cubicBezTo>
                <a:cubicBezTo>
                  <a:pt x="1063673" y="1941185"/>
                  <a:pt x="1055628" y="1947614"/>
                  <a:pt x="1042423" y="1973983"/>
                </a:cubicBezTo>
                <a:cubicBezTo>
                  <a:pt x="1038881" y="1979450"/>
                  <a:pt x="1035339" y="1984917"/>
                  <a:pt x="1036301" y="1989420"/>
                </a:cubicBezTo>
                <a:cubicBezTo>
                  <a:pt x="1031798" y="1990382"/>
                  <a:pt x="1032760" y="1994886"/>
                  <a:pt x="1028255" y="1995849"/>
                </a:cubicBezTo>
                <a:cubicBezTo>
                  <a:pt x="1028255" y="1995849"/>
                  <a:pt x="1024713" y="2001315"/>
                  <a:pt x="1024713" y="2001315"/>
                </a:cubicBezTo>
                <a:cubicBezTo>
                  <a:pt x="1021172" y="2006781"/>
                  <a:pt x="1017630" y="2012248"/>
                  <a:pt x="1015050" y="2022217"/>
                </a:cubicBezTo>
                <a:cubicBezTo>
                  <a:pt x="1014088" y="2017714"/>
                  <a:pt x="1003463" y="2034113"/>
                  <a:pt x="1008928" y="2037654"/>
                </a:cubicBezTo>
                <a:cubicBezTo>
                  <a:pt x="1005387" y="2043121"/>
                  <a:pt x="1001845" y="2048587"/>
                  <a:pt x="998303" y="2054054"/>
                </a:cubicBezTo>
                <a:cubicBezTo>
                  <a:pt x="966427" y="2103251"/>
                  <a:pt x="932934" y="2166922"/>
                  <a:pt x="910066" y="2214194"/>
                </a:cubicBezTo>
                <a:lnTo>
                  <a:pt x="907117" y="2214824"/>
                </a:lnTo>
                <a:lnTo>
                  <a:pt x="908116" y="2211343"/>
                </a:lnTo>
                <a:lnTo>
                  <a:pt x="972795" y="2040882"/>
                </a:lnTo>
                <a:lnTo>
                  <a:pt x="979961" y="2024343"/>
                </a:lnTo>
                <a:cubicBezTo>
                  <a:pt x="981898" y="2021353"/>
                  <a:pt x="983204" y="2021957"/>
                  <a:pt x="983522" y="2028953"/>
                </a:cubicBezTo>
                <a:lnTo>
                  <a:pt x="986429" y="2010313"/>
                </a:lnTo>
                <a:lnTo>
                  <a:pt x="991511" y="1999574"/>
                </a:lnTo>
                <a:lnTo>
                  <a:pt x="994802" y="1993577"/>
                </a:lnTo>
                <a:cubicBezTo>
                  <a:pt x="994802" y="1993577"/>
                  <a:pt x="995764" y="1998080"/>
                  <a:pt x="999306" y="1992615"/>
                </a:cubicBezTo>
                <a:cubicBezTo>
                  <a:pt x="1001077" y="1989881"/>
                  <a:pt x="1000596" y="1987629"/>
                  <a:pt x="1000115" y="1985377"/>
                </a:cubicBezTo>
                <a:lnTo>
                  <a:pt x="1000698" y="1980161"/>
                </a:lnTo>
                <a:lnTo>
                  <a:pt x="1001566" y="1978326"/>
                </a:lnTo>
                <a:lnTo>
                  <a:pt x="1004140" y="1979072"/>
                </a:lnTo>
                <a:cubicBezTo>
                  <a:pt x="1011320" y="1974447"/>
                  <a:pt x="1026831" y="1956120"/>
                  <a:pt x="1018633" y="1950808"/>
                </a:cubicBezTo>
                <a:cubicBezTo>
                  <a:pt x="1027640" y="1948884"/>
                  <a:pt x="1038921" y="1913506"/>
                  <a:pt x="1038266" y="1932485"/>
                </a:cubicBezTo>
                <a:cubicBezTo>
                  <a:pt x="1061135" y="1885212"/>
                  <a:pt x="1082385" y="1852415"/>
                  <a:pt x="1099132" y="1820578"/>
                </a:cubicBezTo>
                <a:cubicBezTo>
                  <a:pt x="1102673" y="1815113"/>
                  <a:pt x="1109758" y="1804179"/>
                  <a:pt x="1113299" y="1798714"/>
                </a:cubicBezTo>
                <a:cubicBezTo>
                  <a:pt x="1141634" y="1754983"/>
                  <a:pt x="1170930" y="1715756"/>
                  <a:pt x="1204731" y="1675567"/>
                </a:cubicBezTo>
                <a:cubicBezTo>
                  <a:pt x="1212777" y="1669139"/>
                  <a:pt x="1227907" y="1651778"/>
                  <a:pt x="1226944" y="1647273"/>
                </a:cubicBezTo>
                <a:cubicBezTo>
                  <a:pt x="1226944" y="1647273"/>
                  <a:pt x="1226944" y="1647273"/>
                  <a:pt x="1225982" y="1642769"/>
                </a:cubicBezTo>
                <a:cubicBezTo>
                  <a:pt x="1225982" y="1642769"/>
                  <a:pt x="1231449" y="1646311"/>
                  <a:pt x="1231449" y="1646311"/>
                </a:cubicBezTo>
                <a:cubicBezTo>
                  <a:pt x="1234990" y="1640845"/>
                  <a:pt x="1239494" y="1639882"/>
                  <a:pt x="1238532" y="1635378"/>
                </a:cubicBezTo>
                <a:cubicBezTo>
                  <a:pt x="1243036" y="1634416"/>
                  <a:pt x="1242074" y="1629913"/>
                  <a:pt x="1242074" y="1629913"/>
                </a:cubicBezTo>
                <a:cubicBezTo>
                  <a:pt x="1242074" y="1629913"/>
                  <a:pt x="1242074" y="1629913"/>
                  <a:pt x="1237570" y="1630875"/>
                </a:cubicBezTo>
                <a:cubicBezTo>
                  <a:pt x="1251737" y="1609009"/>
                  <a:pt x="1271371" y="1590686"/>
                  <a:pt x="1290042" y="1567858"/>
                </a:cubicBezTo>
                <a:cubicBezTo>
                  <a:pt x="1300504" y="1556204"/>
                  <a:pt x="1308349" y="1547463"/>
                  <a:pt x="1314235" y="1540908"/>
                </a:cubicBezTo>
                <a:close/>
                <a:moveTo>
                  <a:pt x="4439702" y="857271"/>
                </a:moveTo>
                <a:cubicBezTo>
                  <a:pt x="4444206" y="856309"/>
                  <a:pt x="4444206" y="856309"/>
                  <a:pt x="4444206" y="856309"/>
                </a:cubicBezTo>
                <a:cubicBezTo>
                  <a:pt x="4454177" y="858888"/>
                  <a:pt x="4454177" y="858888"/>
                  <a:pt x="4445168" y="860813"/>
                </a:cubicBezTo>
                <a:cubicBezTo>
                  <a:pt x="4439702" y="857271"/>
                  <a:pt x="4439702" y="857271"/>
                  <a:pt x="4439702" y="857271"/>
                </a:cubicBezTo>
                <a:close/>
                <a:moveTo>
                  <a:pt x="4439395" y="833789"/>
                </a:moveTo>
                <a:cubicBezTo>
                  <a:pt x="4439395" y="833789"/>
                  <a:pt x="4443899" y="832826"/>
                  <a:pt x="4444862" y="837331"/>
                </a:cubicBezTo>
                <a:cubicBezTo>
                  <a:pt x="4440357" y="838293"/>
                  <a:pt x="4440357" y="838293"/>
                  <a:pt x="4440357" y="838293"/>
                </a:cubicBezTo>
                <a:cubicBezTo>
                  <a:pt x="4440357" y="838293"/>
                  <a:pt x="4439395" y="833789"/>
                  <a:pt x="4439395" y="833789"/>
                </a:cubicBezTo>
                <a:close/>
                <a:moveTo>
                  <a:pt x="3878041" y="775787"/>
                </a:moveTo>
                <a:lnTo>
                  <a:pt x="3885822" y="777801"/>
                </a:lnTo>
                <a:cubicBezTo>
                  <a:pt x="3885822" y="777801"/>
                  <a:pt x="3885822" y="777801"/>
                  <a:pt x="3881318" y="778763"/>
                </a:cubicBezTo>
                <a:close/>
                <a:moveTo>
                  <a:pt x="1104676" y="1330248"/>
                </a:moveTo>
                <a:lnTo>
                  <a:pt x="1094527" y="1352482"/>
                </a:lnTo>
                <a:cubicBezTo>
                  <a:pt x="1085034" y="1368687"/>
                  <a:pt x="1074540" y="1383638"/>
                  <a:pt x="1064045" y="1398591"/>
                </a:cubicBezTo>
                <a:cubicBezTo>
                  <a:pt x="803503" y="1753430"/>
                  <a:pt x="639503" y="2148260"/>
                  <a:pt x="578456" y="2585624"/>
                </a:cubicBezTo>
                <a:cubicBezTo>
                  <a:pt x="577113" y="2597643"/>
                  <a:pt x="570958" y="2614601"/>
                  <a:pt x="575225" y="2625422"/>
                </a:cubicBezTo>
                <a:cubicBezTo>
                  <a:pt x="606405" y="2743906"/>
                  <a:pt x="581353" y="2864627"/>
                  <a:pt x="589292" y="2984165"/>
                </a:cubicBezTo>
                <a:cubicBezTo>
                  <a:pt x="596704" y="3092084"/>
                  <a:pt x="598106" y="3199331"/>
                  <a:pt x="621678" y="3309663"/>
                </a:cubicBezTo>
                <a:cubicBezTo>
                  <a:pt x="647206" y="3282700"/>
                  <a:pt x="641213" y="3254649"/>
                  <a:pt x="637489" y="3228070"/>
                </a:cubicBezTo>
                <a:cubicBezTo>
                  <a:pt x="626465" y="3130699"/>
                  <a:pt x="617310" y="3032930"/>
                  <a:pt x="616036" y="2935433"/>
                </a:cubicBezTo>
                <a:cubicBezTo>
                  <a:pt x="609213" y="2528212"/>
                  <a:pt x="703216" y="2144425"/>
                  <a:pt x="887499" y="1780458"/>
                </a:cubicBezTo>
                <a:cubicBezTo>
                  <a:pt x="913443" y="1727986"/>
                  <a:pt x="957546" y="1687277"/>
                  <a:pt x="997109" y="1643628"/>
                </a:cubicBezTo>
                <a:cubicBezTo>
                  <a:pt x="1011543" y="1628812"/>
                  <a:pt x="1024507" y="1616266"/>
                  <a:pt x="1014774" y="1589014"/>
                </a:cubicBezTo>
                <a:cubicBezTo>
                  <a:pt x="1006510" y="1559493"/>
                  <a:pt x="1031767" y="1540409"/>
                  <a:pt x="1051413" y="1522524"/>
                </a:cubicBezTo>
                <a:cubicBezTo>
                  <a:pt x="1064776" y="1511848"/>
                  <a:pt x="1083077" y="1505982"/>
                  <a:pt x="1104050" y="1503457"/>
                </a:cubicBezTo>
                <a:cubicBezTo>
                  <a:pt x="1085331" y="1534831"/>
                  <a:pt x="1068881" y="1567677"/>
                  <a:pt x="1050162" y="1599052"/>
                </a:cubicBezTo>
                <a:cubicBezTo>
                  <a:pt x="991464" y="1699585"/>
                  <a:pt x="933165" y="1801989"/>
                  <a:pt x="889954" y="1910945"/>
                </a:cubicBezTo>
                <a:cubicBezTo>
                  <a:pt x="876446" y="1939252"/>
                  <a:pt x="858000" y="1962747"/>
                  <a:pt x="871201" y="1997079"/>
                </a:cubicBezTo>
                <a:cubicBezTo>
                  <a:pt x="879337" y="2016850"/>
                  <a:pt x="864630" y="2039546"/>
                  <a:pt x="857404" y="2060644"/>
                </a:cubicBezTo>
                <a:cubicBezTo>
                  <a:pt x="812324" y="2170000"/>
                  <a:pt x="781933" y="2284040"/>
                  <a:pt x="753411" y="2397680"/>
                </a:cubicBezTo>
                <a:cubicBezTo>
                  <a:pt x="751270" y="2405959"/>
                  <a:pt x="748728" y="2412369"/>
                  <a:pt x="756336" y="2420520"/>
                </a:cubicBezTo>
                <a:lnTo>
                  <a:pt x="764421" y="2415547"/>
                </a:lnTo>
                <a:lnTo>
                  <a:pt x="761396" y="2433165"/>
                </a:lnTo>
                <a:lnTo>
                  <a:pt x="760478" y="2435480"/>
                </a:lnTo>
                <a:lnTo>
                  <a:pt x="760592" y="2432158"/>
                </a:lnTo>
                <a:cubicBezTo>
                  <a:pt x="760675" y="2429786"/>
                  <a:pt x="760193" y="2427534"/>
                  <a:pt x="757460" y="2425764"/>
                </a:cubicBezTo>
                <a:cubicBezTo>
                  <a:pt x="757460" y="2425764"/>
                  <a:pt x="753918" y="2431229"/>
                  <a:pt x="750377" y="2436696"/>
                </a:cubicBezTo>
                <a:cubicBezTo>
                  <a:pt x="751339" y="2441200"/>
                  <a:pt x="751339" y="2441200"/>
                  <a:pt x="751339" y="2441200"/>
                </a:cubicBezTo>
                <a:cubicBezTo>
                  <a:pt x="742331" y="2443125"/>
                  <a:pt x="743948" y="2428650"/>
                  <a:pt x="751994" y="2422222"/>
                </a:cubicBezTo>
                <a:cubicBezTo>
                  <a:pt x="743948" y="2428650"/>
                  <a:pt x="748144" y="2404205"/>
                  <a:pt x="742023" y="2419642"/>
                </a:cubicBezTo>
                <a:cubicBezTo>
                  <a:pt x="752956" y="2426726"/>
                  <a:pt x="725932" y="2432500"/>
                  <a:pt x="729781" y="2450515"/>
                </a:cubicBezTo>
                <a:cubicBezTo>
                  <a:pt x="730743" y="2455019"/>
                  <a:pt x="730743" y="2455019"/>
                  <a:pt x="730743" y="2455019"/>
                </a:cubicBezTo>
                <a:cubicBezTo>
                  <a:pt x="730743" y="2455019"/>
                  <a:pt x="730743" y="2455019"/>
                  <a:pt x="726239" y="2455982"/>
                </a:cubicBezTo>
                <a:cubicBezTo>
                  <a:pt x="726239" y="2455982"/>
                  <a:pt x="727201" y="2460486"/>
                  <a:pt x="727201" y="2460486"/>
                </a:cubicBezTo>
                <a:cubicBezTo>
                  <a:pt x="728163" y="2464990"/>
                  <a:pt x="728163" y="2464990"/>
                  <a:pt x="728163" y="2464990"/>
                </a:cubicBezTo>
                <a:cubicBezTo>
                  <a:pt x="727201" y="2460486"/>
                  <a:pt x="731705" y="2459524"/>
                  <a:pt x="731705" y="2459524"/>
                </a:cubicBezTo>
                <a:cubicBezTo>
                  <a:pt x="732667" y="2464027"/>
                  <a:pt x="730088" y="2473998"/>
                  <a:pt x="731050" y="2478502"/>
                </a:cubicBezTo>
                <a:cubicBezTo>
                  <a:pt x="733630" y="2468531"/>
                  <a:pt x="735554" y="2477540"/>
                  <a:pt x="735554" y="2477540"/>
                </a:cubicBezTo>
                <a:cubicBezTo>
                  <a:pt x="739097" y="2472074"/>
                  <a:pt x="741675" y="2462103"/>
                  <a:pt x="745218" y="2456637"/>
                </a:cubicBezTo>
                <a:cubicBezTo>
                  <a:pt x="745218" y="2456637"/>
                  <a:pt x="745218" y="2456637"/>
                  <a:pt x="749722" y="2455675"/>
                </a:cubicBezTo>
                <a:cubicBezTo>
                  <a:pt x="746180" y="2461140"/>
                  <a:pt x="746180" y="2461140"/>
                  <a:pt x="746180" y="2461140"/>
                </a:cubicBezTo>
                <a:cubicBezTo>
                  <a:pt x="747142" y="2465645"/>
                  <a:pt x="748104" y="2470149"/>
                  <a:pt x="752609" y="2469187"/>
                </a:cubicBezTo>
                <a:cubicBezTo>
                  <a:pt x="752609" y="2469187"/>
                  <a:pt x="756151" y="2463720"/>
                  <a:pt x="755188" y="2459216"/>
                </a:cubicBezTo>
                <a:cubicBezTo>
                  <a:pt x="755188" y="2459216"/>
                  <a:pt x="755188" y="2459216"/>
                  <a:pt x="754226" y="2454712"/>
                </a:cubicBezTo>
                <a:cubicBezTo>
                  <a:pt x="757767" y="2449246"/>
                  <a:pt x="757767" y="2449246"/>
                  <a:pt x="757767" y="2449246"/>
                </a:cubicBezTo>
                <a:cubicBezTo>
                  <a:pt x="760654" y="2462758"/>
                  <a:pt x="753571" y="2473691"/>
                  <a:pt x="748411" y="2493631"/>
                </a:cubicBezTo>
                <a:cubicBezTo>
                  <a:pt x="760654" y="2462758"/>
                  <a:pt x="752916" y="2492669"/>
                  <a:pt x="759344" y="2500715"/>
                </a:cubicBezTo>
                <a:cubicBezTo>
                  <a:pt x="759344" y="2500715"/>
                  <a:pt x="760307" y="2505219"/>
                  <a:pt x="760307" y="2505219"/>
                </a:cubicBezTo>
                <a:cubicBezTo>
                  <a:pt x="760307" y="2505219"/>
                  <a:pt x="759344" y="2500715"/>
                  <a:pt x="754840" y="2501678"/>
                </a:cubicBezTo>
                <a:cubicBezTo>
                  <a:pt x="754840" y="2501678"/>
                  <a:pt x="754840" y="2501678"/>
                  <a:pt x="753878" y="2497173"/>
                </a:cubicBezTo>
                <a:cubicBezTo>
                  <a:pt x="753878" y="2497173"/>
                  <a:pt x="753878" y="2497173"/>
                  <a:pt x="749373" y="2498135"/>
                </a:cubicBezTo>
                <a:cubicBezTo>
                  <a:pt x="750336" y="2502640"/>
                  <a:pt x="746794" y="2508105"/>
                  <a:pt x="746794" y="2508105"/>
                </a:cubicBezTo>
                <a:cubicBezTo>
                  <a:pt x="746794" y="2508105"/>
                  <a:pt x="747757" y="2512610"/>
                  <a:pt x="747757" y="2512610"/>
                </a:cubicBezTo>
                <a:cubicBezTo>
                  <a:pt x="744215" y="2518077"/>
                  <a:pt x="744215" y="2518077"/>
                  <a:pt x="740673" y="2523542"/>
                </a:cubicBezTo>
                <a:cubicBezTo>
                  <a:pt x="739711" y="2519039"/>
                  <a:pt x="739711" y="2519039"/>
                  <a:pt x="738748" y="2514534"/>
                </a:cubicBezTo>
                <a:cubicBezTo>
                  <a:pt x="737786" y="2510030"/>
                  <a:pt x="737786" y="2510030"/>
                  <a:pt x="734245" y="2515496"/>
                </a:cubicBezTo>
                <a:cubicBezTo>
                  <a:pt x="734245" y="2515496"/>
                  <a:pt x="730703" y="2520963"/>
                  <a:pt x="731665" y="2525466"/>
                </a:cubicBezTo>
                <a:cubicBezTo>
                  <a:pt x="732627" y="2529971"/>
                  <a:pt x="732627" y="2529971"/>
                  <a:pt x="733590" y="2534475"/>
                </a:cubicBezTo>
                <a:cubicBezTo>
                  <a:pt x="735514" y="2543483"/>
                  <a:pt x="741943" y="2551529"/>
                  <a:pt x="745484" y="2546063"/>
                </a:cubicBezTo>
                <a:cubicBezTo>
                  <a:pt x="746446" y="2550567"/>
                  <a:pt x="747408" y="2555071"/>
                  <a:pt x="743868" y="2560537"/>
                </a:cubicBezTo>
                <a:cubicBezTo>
                  <a:pt x="739670" y="2584981"/>
                  <a:pt x="730970" y="2610389"/>
                  <a:pt x="726773" y="2634833"/>
                </a:cubicBezTo>
                <a:cubicBezTo>
                  <a:pt x="726773" y="2634833"/>
                  <a:pt x="721306" y="2631292"/>
                  <a:pt x="721306" y="2631292"/>
                </a:cubicBezTo>
                <a:cubicBezTo>
                  <a:pt x="721306" y="2631292"/>
                  <a:pt x="722269" y="2635796"/>
                  <a:pt x="722269" y="2635796"/>
                </a:cubicBezTo>
                <a:cubicBezTo>
                  <a:pt x="722269" y="2635796"/>
                  <a:pt x="717764" y="2636758"/>
                  <a:pt x="717764" y="2636758"/>
                </a:cubicBezTo>
                <a:cubicBezTo>
                  <a:pt x="721962" y="2612314"/>
                  <a:pt x="716802" y="2632255"/>
                  <a:pt x="712298" y="2633217"/>
                </a:cubicBezTo>
                <a:cubicBezTo>
                  <a:pt x="713915" y="2618742"/>
                  <a:pt x="720037" y="2603306"/>
                  <a:pt x="717150" y="2589793"/>
                </a:cubicBezTo>
                <a:cubicBezTo>
                  <a:pt x="722616" y="2593335"/>
                  <a:pt x="722616" y="2593335"/>
                  <a:pt x="722616" y="2593335"/>
                </a:cubicBezTo>
                <a:cubicBezTo>
                  <a:pt x="725196" y="2583365"/>
                  <a:pt x="727775" y="2573394"/>
                  <a:pt x="727775" y="2573394"/>
                </a:cubicBezTo>
                <a:cubicBezTo>
                  <a:pt x="725196" y="2583365"/>
                  <a:pt x="720691" y="2584327"/>
                  <a:pt x="720691" y="2584327"/>
                </a:cubicBezTo>
                <a:cubicBezTo>
                  <a:pt x="723271" y="2574356"/>
                  <a:pt x="717805" y="2570815"/>
                  <a:pt x="721347" y="2565348"/>
                </a:cubicBezTo>
                <a:cubicBezTo>
                  <a:pt x="720385" y="2560844"/>
                  <a:pt x="720385" y="2560844"/>
                  <a:pt x="720385" y="2560844"/>
                </a:cubicBezTo>
                <a:cubicBezTo>
                  <a:pt x="720385" y="2560844"/>
                  <a:pt x="724889" y="2559882"/>
                  <a:pt x="723927" y="2555379"/>
                </a:cubicBezTo>
                <a:cubicBezTo>
                  <a:pt x="723927" y="2555379"/>
                  <a:pt x="723927" y="2555379"/>
                  <a:pt x="722964" y="2550874"/>
                </a:cubicBezTo>
                <a:cubicBezTo>
                  <a:pt x="722964" y="2550874"/>
                  <a:pt x="722002" y="2546370"/>
                  <a:pt x="722002" y="2546370"/>
                </a:cubicBezTo>
                <a:cubicBezTo>
                  <a:pt x="713956" y="2552799"/>
                  <a:pt x="713956" y="2552799"/>
                  <a:pt x="713956" y="2552799"/>
                </a:cubicBezTo>
                <a:cubicBezTo>
                  <a:pt x="713956" y="2552799"/>
                  <a:pt x="710415" y="2558265"/>
                  <a:pt x="711377" y="2562769"/>
                </a:cubicBezTo>
                <a:lnTo>
                  <a:pt x="712339" y="2567273"/>
                </a:lnTo>
                <a:cubicBezTo>
                  <a:pt x="716842" y="2566311"/>
                  <a:pt x="716842" y="2566311"/>
                  <a:pt x="716842" y="2566311"/>
                </a:cubicBezTo>
                <a:cubicBezTo>
                  <a:pt x="715226" y="2580785"/>
                  <a:pt x="708449" y="2615201"/>
                  <a:pt x="707794" y="2634179"/>
                </a:cubicBezTo>
                <a:cubicBezTo>
                  <a:pt x="704252" y="2639645"/>
                  <a:pt x="704252" y="2639645"/>
                  <a:pt x="704252" y="2639645"/>
                </a:cubicBezTo>
                <a:cubicBezTo>
                  <a:pt x="700710" y="2645112"/>
                  <a:pt x="700710" y="2645112"/>
                  <a:pt x="701673" y="2649616"/>
                </a:cubicBezTo>
                <a:cubicBezTo>
                  <a:pt x="706177" y="2648653"/>
                  <a:pt x="706177" y="2648653"/>
                  <a:pt x="706177" y="2648653"/>
                </a:cubicBezTo>
                <a:cubicBezTo>
                  <a:pt x="702635" y="2654119"/>
                  <a:pt x="701017" y="2668594"/>
                  <a:pt x="698438" y="2678565"/>
                </a:cubicBezTo>
                <a:cubicBezTo>
                  <a:pt x="693934" y="2679527"/>
                  <a:pt x="694896" y="2684031"/>
                  <a:pt x="695858" y="2688534"/>
                </a:cubicBezTo>
                <a:cubicBezTo>
                  <a:pt x="696821" y="2693039"/>
                  <a:pt x="696821" y="2693039"/>
                  <a:pt x="696821" y="2693039"/>
                </a:cubicBezTo>
                <a:cubicBezTo>
                  <a:pt x="696821" y="2693039"/>
                  <a:pt x="696821" y="2693039"/>
                  <a:pt x="701325" y="2692076"/>
                </a:cubicBezTo>
                <a:cubicBezTo>
                  <a:pt x="692931" y="2740966"/>
                  <a:pt x="684231" y="2766373"/>
                  <a:pt x="690967" y="2797901"/>
                </a:cubicBezTo>
                <a:cubicBezTo>
                  <a:pt x="690967" y="2797901"/>
                  <a:pt x="686462" y="2798864"/>
                  <a:pt x="687424" y="2803368"/>
                </a:cubicBezTo>
                <a:cubicBezTo>
                  <a:pt x="688387" y="2807872"/>
                  <a:pt x="688387" y="2807872"/>
                  <a:pt x="688387" y="2807872"/>
                </a:cubicBezTo>
                <a:cubicBezTo>
                  <a:pt x="689349" y="2812375"/>
                  <a:pt x="689349" y="2812375"/>
                  <a:pt x="689349" y="2812375"/>
                </a:cubicBezTo>
                <a:cubicBezTo>
                  <a:pt x="684845" y="2813338"/>
                  <a:pt x="683227" y="2827813"/>
                  <a:pt x="685152" y="2836821"/>
                </a:cubicBezTo>
                <a:cubicBezTo>
                  <a:pt x="685152" y="2836821"/>
                  <a:pt x="686114" y="2841326"/>
                  <a:pt x="681611" y="2842288"/>
                </a:cubicBezTo>
                <a:cubicBezTo>
                  <a:pt x="682573" y="2846791"/>
                  <a:pt x="682573" y="2846791"/>
                  <a:pt x="683535" y="2851295"/>
                </a:cubicBezTo>
                <a:cubicBezTo>
                  <a:pt x="683535" y="2851295"/>
                  <a:pt x="684497" y="2855799"/>
                  <a:pt x="684497" y="2855799"/>
                </a:cubicBezTo>
                <a:cubicBezTo>
                  <a:pt x="684497" y="2855799"/>
                  <a:pt x="684497" y="2855799"/>
                  <a:pt x="680955" y="2861265"/>
                </a:cubicBezTo>
                <a:cubicBezTo>
                  <a:pt x="680955" y="2861265"/>
                  <a:pt x="681918" y="2865770"/>
                  <a:pt x="681918" y="2865770"/>
                </a:cubicBezTo>
                <a:cubicBezTo>
                  <a:pt x="688346" y="2873815"/>
                  <a:pt x="673217" y="2891176"/>
                  <a:pt x="687691" y="2892794"/>
                </a:cubicBezTo>
                <a:cubicBezTo>
                  <a:pt x="683187" y="2893756"/>
                  <a:pt x="683187" y="2893756"/>
                  <a:pt x="684149" y="2898260"/>
                </a:cubicBezTo>
                <a:cubicBezTo>
                  <a:pt x="684149" y="2898260"/>
                  <a:pt x="685112" y="2902765"/>
                  <a:pt x="685112" y="2902765"/>
                </a:cubicBezTo>
                <a:cubicBezTo>
                  <a:pt x="686074" y="2907268"/>
                  <a:pt x="682533" y="2912734"/>
                  <a:pt x="683495" y="2917239"/>
                </a:cubicBezTo>
                <a:cubicBezTo>
                  <a:pt x="683495" y="2917239"/>
                  <a:pt x="683495" y="2917239"/>
                  <a:pt x="684457" y="2921742"/>
                </a:cubicBezTo>
                <a:cubicBezTo>
                  <a:pt x="682840" y="2936217"/>
                  <a:pt x="680260" y="2946188"/>
                  <a:pt x="678642" y="2960662"/>
                </a:cubicBezTo>
                <a:cubicBezTo>
                  <a:pt x="679604" y="2965165"/>
                  <a:pt x="679604" y="2965165"/>
                  <a:pt x="679604" y="2965165"/>
                </a:cubicBezTo>
                <a:cubicBezTo>
                  <a:pt x="679604" y="2965165"/>
                  <a:pt x="679604" y="2965165"/>
                  <a:pt x="675101" y="2966128"/>
                </a:cubicBezTo>
                <a:cubicBezTo>
                  <a:pt x="676063" y="2970632"/>
                  <a:pt x="676063" y="2970632"/>
                  <a:pt x="676063" y="2970632"/>
                </a:cubicBezTo>
                <a:cubicBezTo>
                  <a:pt x="677026" y="2975136"/>
                  <a:pt x="677026" y="2975136"/>
                  <a:pt x="677026" y="2975136"/>
                </a:cubicBezTo>
                <a:cubicBezTo>
                  <a:pt x="677026" y="2975136"/>
                  <a:pt x="681529" y="2974174"/>
                  <a:pt x="681529" y="2974174"/>
                </a:cubicBezTo>
                <a:cubicBezTo>
                  <a:pt x="677988" y="2979641"/>
                  <a:pt x="678950" y="2984144"/>
                  <a:pt x="679912" y="2988648"/>
                </a:cubicBezTo>
                <a:cubicBezTo>
                  <a:pt x="679912" y="2988648"/>
                  <a:pt x="678950" y="2984144"/>
                  <a:pt x="678950" y="2984144"/>
                </a:cubicBezTo>
                <a:cubicBezTo>
                  <a:pt x="677332" y="2998618"/>
                  <a:pt x="677332" y="2998618"/>
                  <a:pt x="678295" y="3003123"/>
                </a:cubicBezTo>
                <a:cubicBezTo>
                  <a:pt x="679257" y="3007627"/>
                  <a:pt x="680219" y="3012130"/>
                  <a:pt x="681182" y="3016635"/>
                </a:cubicBezTo>
                <a:cubicBezTo>
                  <a:pt x="681182" y="3016635"/>
                  <a:pt x="677640" y="3022102"/>
                  <a:pt x="677640" y="3022102"/>
                </a:cubicBezTo>
                <a:cubicBezTo>
                  <a:pt x="678602" y="3026605"/>
                  <a:pt x="678602" y="3026605"/>
                  <a:pt x="678602" y="3026605"/>
                </a:cubicBezTo>
                <a:cubicBezTo>
                  <a:pt x="678602" y="3026605"/>
                  <a:pt x="674098" y="3027567"/>
                  <a:pt x="675061" y="3032071"/>
                </a:cubicBezTo>
                <a:cubicBezTo>
                  <a:pt x="675061" y="3032071"/>
                  <a:pt x="676023" y="3036576"/>
                  <a:pt x="676023" y="3036576"/>
                </a:cubicBezTo>
                <a:cubicBezTo>
                  <a:pt x="680527" y="3035613"/>
                  <a:pt x="680527" y="3035613"/>
                  <a:pt x="680527" y="3035613"/>
                </a:cubicBezTo>
                <a:cubicBezTo>
                  <a:pt x="683413" y="3049126"/>
                  <a:pt x="681797" y="3063600"/>
                  <a:pt x="689187" y="3076150"/>
                </a:cubicBezTo>
                <a:cubicBezTo>
                  <a:pt x="688225" y="3071645"/>
                  <a:pt x="688225" y="3071645"/>
                  <a:pt x="683721" y="3072608"/>
                </a:cubicBezTo>
                <a:cubicBezTo>
                  <a:pt x="682759" y="3068104"/>
                  <a:pt x="682759" y="3068104"/>
                  <a:pt x="679217" y="3073570"/>
                </a:cubicBezTo>
                <a:cubicBezTo>
                  <a:pt x="680179" y="3078074"/>
                  <a:pt x="681142" y="3082578"/>
                  <a:pt x="681142" y="3082578"/>
                </a:cubicBezTo>
                <a:cubicBezTo>
                  <a:pt x="682104" y="3087082"/>
                  <a:pt x="682104" y="3087082"/>
                  <a:pt x="682104" y="3087082"/>
                </a:cubicBezTo>
                <a:cubicBezTo>
                  <a:pt x="675982" y="3102520"/>
                  <a:pt x="692382" y="3113145"/>
                  <a:pt x="682718" y="3134047"/>
                </a:cubicBezTo>
                <a:cubicBezTo>
                  <a:pt x="687222" y="3133085"/>
                  <a:pt x="687222" y="3133085"/>
                  <a:pt x="687222" y="3133085"/>
                </a:cubicBezTo>
                <a:cubicBezTo>
                  <a:pt x="682718" y="3134047"/>
                  <a:pt x="682718" y="3134047"/>
                  <a:pt x="683680" y="3138551"/>
                </a:cubicBezTo>
                <a:cubicBezTo>
                  <a:pt x="684642" y="3143056"/>
                  <a:pt x="684642" y="3143056"/>
                  <a:pt x="684642" y="3143056"/>
                </a:cubicBezTo>
                <a:cubicBezTo>
                  <a:pt x="687529" y="3156568"/>
                  <a:pt x="690416" y="3170080"/>
                  <a:pt x="690416" y="3170080"/>
                </a:cubicBezTo>
                <a:cubicBezTo>
                  <a:pt x="689203" y="3180936"/>
                  <a:pt x="691261" y="3169900"/>
                  <a:pt x="694395" y="3173203"/>
                </a:cubicBezTo>
                <a:lnTo>
                  <a:pt x="697712" y="3182366"/>
                </a:lnTo>
                <a:lnTo>
                  <a:pt x="697129" y="3182651"/>
                </a:lnTo>
                <a:lnTo>
                  <a:pt x="691373" y="3182827"/>
                </a:lnTo>
                <a:cubicBezTo>
                  <a:pt x="689925" y="3184314"/>
                  <a:pt x="689280" y="3186806"/>
                  <a:pt x="689762" y="3189059"/>
                </a:cubicBezTo>
                <a:cubicBezTo>
                  <a:pt x="692495" y="3190829"/>
                  <a:pt x="694910" y="3185604"/>
                  <a:pt x="696682" y="3182870"/>
                </a:cubicBezTo>
                <a:lnTo>
                  <a:pt x="697129" y="3182651"/>
                </a:lnTo>
                <a:lnTo>
                  <a:pt x="697807" y="3182630"/>
                </a:lnTo>
                <a:lnTo>
                  <a:pt x="697712" y="3182366"/>
                </a:lnTo>
                <a:lnTo>
                  <a:pt x="698813" y="3181826"/>
                </a:lnTo>
                <a:cubicBezTo>
                  <a:pt x="699335" y="3182893"/>
                  <a:pt x="699655" y="3185767"/>
                  <a:pt x="699731" y="3191637"/>
                </a:cubicBezTo>
                <a:cubicBezTo>
                  <a:pt x="695227" y="3192600"/>
                  <a:pt x="695227" y="3192600"/>
                  <a:pt x="696189" y="3197104"/>
                </a:cubicBezTo>
                <a:cubicBezTo>
                  <a:pt x="696189" y="3197104"/>
                  <a:pt x="697152" y="3201608"/>
                  <a:pt x="697152" y="3201608"/>
                </a:cubicBezTo>
                <a:cubicBezTo>
                  <a:pt x="693610" y="3207074"/>
                  <a:pt x="693610" y="3207074"/>
                  <a:pt x="693610" y="3207074"/>
                </a:cubicBezTo>
                <a:cubicBezTo>
                  <a:pt x="694573" y="3211578"/>
                  <a:pt x="694573" y="3211578"/>
                  <a:pt x="694573" y="3211578"/>
                </a:cubicBezTo>
                <a:cubicBezTo>
                  <a:pt x="694573" y="3211578"/>
                  <a:pt x="695535" y="3216083"/>
                  <a:pt x="696497" y="3220587"/>
                </a:cubicBezTo>
                <a:cubicBezTo>
                  <a:pt x="696497" y="3220587"/>
                  <a:pt x="697460" y="3225091"/>
                  <a:pt x="698422" y="3229595"/>
                </a:cubicBezTo>
                <a:cubicBezTo>
                  <a:pt x="693918" y="3230557"/>
                  <a:pt x="694880" y="3235061"/>
                  <a:pt x="695842" y="3239565"/>
                </a:cubicBezTo>
                <a:cubicBezTo>
                  <a:pt x="692300" y="3245032"/>
                  <a:pt x="692300" y="3245032"/>
                  <a:pt x="693262" y="3249536"/>
                </a:cubicBezTo>
                <a:cubicBezTo>
                  <a:pt x="693262" y="3249536"/>
                  <a:pt x="694224" y="3254039"/>
                  <a:pt x="694224" y="3254039"/>
                </a:cubicBezTo>
                <a:cubicBezTo>
                  <a:pt x="694224" y="3254039"/>
                  <a:pt x="695187" y="3258543"/>
                  <a:pt x="695187" y="3258543"/>
                </a:cubicBezTo>
                <a:cubicBezTo>
                  <a:pt x="690683" y="3259506"/>
                  <a:pt x="690683" y="3259506"/>
                  <a:pt x="690683" y="3259506"/>
                </a:cubicBezTo>
                <a:cubicBezTo>
                  <a:pt x="690683" y="3259506"/>
                  <a:pt x="690683" y="3259506"/>
                  <a:pt x="687141" y="3264972"/>
                </a:cubicBezTo>
                <a:cubicBezTo>
                  <a:pt x="688103" y="3269476"/>
                  <a:pt x="688103" y="3269476"/>
                  <a:pt x="688103" y="3269476"/>
                </a:cubicBezTo>
                <a:cubicBezTo>
                  <a:pt x="693569" y="3273018"/>
                  <a:pt x="693569" y="3273018"/>
                  <a:pt x="693569" y="3273018"/>
                </a:cubicBezTo>
                <a:cubicBezTo>
                  <a:pt x="694532" y="3277522"/>
                  <a:pt x="694532" y="3277522"/>
                  <a:pt x="694532" y="3277522"/>
                </a:cubicBezTo>
                <a:cubicBezTo>
                  <a:pt x="694532" y="3277522"/>
                  <a:pt x="695494" y="3282027"/>
                  <a:pt x="695494" y="3282027"/>
                </a:cubicBezTo>
                <a:cubicBezTo>
                  <a:pt x="696456" y="3286530"/>
                  <a:pt x="697419" y="3291034"/>
                  <a:pt x="698381" y="3295539"/>
                </a:cubicBezTo>
                <a:cubicBezTo>
                  <a:pt x="695802" y="3305508"/>
                  <a:pt x="696764" y="3310013"/>
                  <a:pt x="696764" y="3310013"/>
                </a:cubicBezTo>
                <a:cubicBezTo>
                  <a:pt x="697726" y="3314516"/>
                  <a:pt x="697726" y="3314516"/>
                  <a:pt x="697726" y="3314516"/>
                </a:cubicBezTo>
                <a:cubicBezTo>
                  <a:pt x="698689" y="3319021"/>
                  <a:pt x="698689" y="3319021"/>
                  <a:pt x="699651" y="3323525"/>
                </a:cubicBezTo>
                <a:cubicBezTo>
                  <a:pt x="699651" y="3323525"/>
                  <a:pt x="699651" y="3323525"/>
                  <a:pt x="704154" y="3322563"/>
                </a:cubicBezTo>
                <a:cubicBezTo>
                  <a:pt x="700613" y="3328029"/>
                  <a:pt x="700613" y="3328029"/>
                  <a:pt x="700613" y="3328029"/>
                </a:cubicBezTo>
                <a:cubicBezTo>
                  <a:pt x="700613" y="3328029"/>
                  <a:pt x="701575" y="3332533"/>
                  <a:pt x="702538" y="3337037"/>
                </a:cubicBezTo>
                <a:cubicBezTo>
                  <a:pt x="707349" y="3359557"/>
                  <a:pt x="712815" y="3363099"/>
                  <a:pt x="711198" y="3377573"/>
                </a:cubicBezTo>
                <a:cubicBezTo>
                  <a:pt x="706694" y="3378535"/>
                  <a:pt x="707656" y="3383040"/>
                  <a:pt x="707656" y="3383040"/>
                </a:cubicBezTo>
                <a:cubicBezTo>
                  <a:pt x="707656" y="3383040"/>
                  <a:pt x="708618" y="3387543"/>
                  <a:pt x="708618" y="3387543"/>
                </a:cubicBezTo>
                <a:cubicBezTo>
                  <a:pt x="713122" y="3386581"/>
                  <a:pt x="713122" y="3386581"/>
                  <a:pt x="713122" y="3386581"/>
                </a:cubicBezTo>
                <a:cubicBezTo>
                  <a:pt x="710543" y="3396552"/>
                  <a:pt x="712467" y="3405560"/>
                  <a:pt x="713430" y="3410064"/>
                </a:cubicBezTo>
                <a:cubicBezTo>
                  <a:pt x="714392" y="3414569"/>
                  <a:pt x="714392" y="3414569"/>
                  <a:pt x="714392" y="3414569"/>
                </a:cubicBezTo>
                <a:cubicBezTo>
                  <a:pt x="715354" y="3419072"/>
                  <a:pt x="715354" y="3419072"/>
                  <a:pt x="719858" y="3418109"/>
                </a:cubicBezTo>
                <a:cubicBezTo>
                  <a:pt x="722745" y="3431621"/>
                  <a:pt x="724670" y="3440630"/>
                  <a:pt x="722090" y="3450600"/>
                </a:cubicBezTo>
                <a:cubicBezTo>
                  <a:pt x="726594" y="3449638"/>
                  <a:pt x="726594" y="3449638"/>
                  <a:pt x="726594" y="3449638"/>
                </a:cubicBezTo>
                <a:cubicBezTo>
                  <a:pt x="730443" y="3467654"/>
                  <a:pt x="730443" y="3467654"/>
                  <a:pt x="730443" y="3467654"/>
                </a:cubicBezTo>
                <a:cubicBezTo>
                  <a:pt x="730443" y="3467654"/>
                  <a:pt x="730443" y="3467654"/>
                  <a:pt x="726902" y="3473121"/>
                </a:cubicBezTo>
                <a:cubicBezTo>
                  <a:pt x="724977" y="3464112"/>
                  <a:pt x="719510" y="3460571"/>
                  <a:pt x="716932" y="3470541"/>
                </a:cubicBezTo>
                <a:cubicBezTo>
                  <a:pt x="724977" y="3464112"/>
                  <a:pt x="725284" y="3487595"/>
                  <a:pt x="729788" y="3486633"/>
                </a:cubicBezTo>
                <a:cubicBezTo>
                  <a:pt x="738449" y="3527169"/>
                  <a:pt x="736524" y="3518161"/>
                  <a:pt x="749689" y="3557735"/>
                </a:cubicBezTo>
                <a:cubicBezTo>
                  <a:pt x="749689" y="3557735"/>
                  <a:pt x="745185" y="3558698"/>
                  <a:pt x="745185" y="3558698"/>
                </a:cubicBezTo>
                <a:cubicBezTo>
                  <a:pt x="746147" y="3563202"/>
                  <a:pt x="746147" y="3563202"/>
                  <a:pt x="747109" y="3567705"/>
                </a:cubicBezTo>
                <a:cubicBezTo>
                  <a:pt x="752883" y="3594729"/>
                  <a:pt x="754807" y="3603738"/>
                  <a:pt x="758656" y="3621755"/>
                </a:cubicBezTo>
                <a:cubicBezTo>
                  <a:pt x="758656" y="3621755"/>
                  <a:pt x="758656" y="3621755"/>
                  <a:pt x="759619" y="3626258"/>
                </a:cubicBezTo>
                <a:cubicBezTo>
                  <a:pt x="759619" y="3626258"/>
                  <a:pt x="759619" y="3626258"/>
                  <a:pt x="760581" y="3630762"/>
                </a:cubicBezTo>
                <a:cubicBezTo>
                  <a:pt x="762812" y="3663253"/>
                  <a:pt x="765085" y="3629800"/>
                  <a:pt x="773438" y="3646854"/>
                </a:cubicBezTo>
                <a:cubicBezTo>
                  <a:pt x="768934" y="3647816"/>
                  <a:pt x="762812" y="3663253"/>
                  <a:pt x="770859" y="3656824"/>
                </a:cubicBezTo>
                <a:cubicBezTo>
                  <a:pt x="771821" y="3661329"/>
                  <a:pt x="771821" y="3661329"/>
                  <a:pt x="771821" y="3661329"/>
                </a:cubicBezTo>
                <a:cubicBezTo>
                  <a:pt x="771821" y="3661329"/>
                  <a:pt x="771821" y="3661329"/>
                  <a:pt x="772783" y="3665832"/>
                </a:cubicBezTo>
                <a:cubicBezTo>
                  <a:pt x="768279" y="3666794"/>
                  <a:pt x="773745" y="3670336"/>
                  <a:pt x="773745" y="3670336"/>
                </a:cubicBezTo>
                <a:cubicBezTo>
                  <a:pt x="777595" y="3688353"/>
                  <a:pt x="773090" y="3689315"/>
                  <a:pt x="768586" y="3690277"/>
                </a:cubicBezTo>
                <a:cubicBezTo>
                  <a:pt x="772435" y="3708294"/>
                  <a:pt x="782406" y="3710872"/>
                  <a:pt x="779826" y="3720843"/>
                </a:cubicBezTo>
                <a:cubicBezTo>
                  <a:pt x="786255" y="3728889"/>
                  <a:pt x="789142" y="3742401"/>
                  <a:pt x="798149" y="3740476"/>
                </a:cubicBezTo>
                <a:cubicBezTo>
                  <a:pt x="795570" y="3750447"/>
                  <a:pt x="803923" y="3767501"/>
                  <a:pt x="793953" y="3764922"/>
                </a:cubicBezTo>
                <a:cubicBezTo>
                  <a:pt x="802306" y="3781975"/>
                  <a:pt x="802961" y="3762997"/>
                  <a:pt x="803268" y="3786479"/>
                </a:cubicBezTo>
                <a:cubicBezTo>
                  <a:pt x="804230" y="3790984"/>
                  <a:pt x="809697" y="3794526"/>
                  <a:pt x="815163" y="3798067"/>
                </a:cubicBezTo>
                <a:cubicBezTo>
                  <a:pt x="804230" y="3790984"/>
                  <a:pt x="818357" y="3835062"/>
                  <a:pt x="832177" y="3855657"/>
                </a:cubicBezTo>
                <a:cubicBezTo>
                  <a:pt x="829598" y="3865628"/>
                  <a:pt x="828635" y="3861124"/>
                  <a:pt x="823168" y="3857582"/>
                </a:cubicBezTo>
                <a:cubicBezTo>
                  <a:pt x="829598" y="3865628"/>
                  <a:pt x="830560" y="3870131"/>
                  <a:pt x="835064" y="3869169"/>
                </a:cubicBezTo>
                <a:cubicBezTo>
                  <a:pt x="827018" y="3875598"/>
                  <a:pt x="836026" y="3873673"/>
                  <a:pt x="834409" y="3888148"/>
                </a:cubicBezTo>
                <a:cubicBezTo>
                  <a:pt x="840837" y="3896193"/>
                  <a:pt x="837951" y="3882681"/>
                  <a:pt x="849190" y="3913248"/>
                </a:cubicBezTo>
                <a:lnTo>
                  <a:pt x="845537" y="3910175"/>
                </a:lnTo>
                <a:lnTo>
                  <a:pt x="841800" y="3900698"/>
                </a:lnTo>
                <a:cubicBezTo>
                  <a:pt x="842281" y="3902950"/>
                  <a:pt x="843003" y="3906328"/>
                  <a:pt x="844166" y="3909023"/>
                </a:cubicBezTo>
                <a:lnTo>
                  <a:pt x="845537" y="3910175"/>
                </a:lnTo>
                <a:lnTo>
                  <a:pt x="852077" y="3926760"/>
                </a:lnTo>
                <a:cubicBezTo>
                  <a:pt x="846611" y="3923218"/>
                  <a:pt x="842107" y="3924181"/>
                  <a:pt x="838565" y="3929646"/>
                </a:cubicBezTo>
                <a:cubicBezTo>
                  <a:pt x="827325" y="3899080"/>
                  <a:pt x="824438" y="3885568"/>
                  <a:pt x="808694" y="3855965"/>
                </a:cubicBezTo>
                <a:cubicBezTo>
                  <a:pt x="800649" y="3862393"/>
                  <a:pt x="792295" y="3845339"/>
                  <a:pt x="782980" y="3823781"/>
                </a:cubicBezTo>
                <a:cubicBezTo>
                  <a:pt x="776551" y="3815736"/>
                  <a:pt x="775588" y="3811232"/>
                  <a:pt x="773664" y="3802224"/>
                </a:cubicBezTo>
                <a:cubicBezTo>
                  <a:pt x="772702" y="3797720"/>
                  <a:pt x="770777" y="3788711"/>
                  <a:pt x="769815" y="3784208"/>
                </a:cubicBezTo>
                <a:cubicBezTo>
                  <a:pt x="766274" y="3789673"/>
                  <a:pt x="761154" y="3743671"/>
                  <a:pt x="756958" y="3768116"/>
                </a:cubicBezTo>
                <a:lnTo>
                  <a:pt x="750222" y="3736587"/>
                </a:lnTo>
                <a:cubicBezTo>
                  <a:pt x="744449" y="3709563"/>
                  <a:pt x="760192" y="3739167"/>
                  <a:pt x="751840" y="3722113"/>
                </a:cubicBezTo>
                <a:cubicBezTo>
                  <a:pt x="750877" y="3717608"/>
                  <a:pt x="749915" y="3713105"/>
                  <a:pt x="748953" y="3708601"/>
                </a:cubicBezTo>
                <a:cubicBezTo>
                  <a:pt x="748953" y="3708601"/>
                  <a:pt x="747991" y="3704096"/>
                  <a:pt x="747991" y="3704096"/>
                </a:cubicBezTo>
                <a:cubicBezTo>
                  <a:pt x="747991" y="3704096"/>
                  <a:pt x="747991" y="3704096"/>
                  <a:pt x="747028" y="3699593"/>
                </a:cubicBezTo>
                <a:cubicBezTo>
                  <a:pt x="747991" y="3704096"/>
                  <a:pt x="747991" y="3704096"/>
                  <a:pt x="752494" y="3703134"/>
                </a:cubicBezTo>
                <a:cubicBezTo>
                  <a:pt x="744142" y="3686081"/>
                  <a:pt x="744142" y="3686081"/>
                  <a:pt x="744142" y="3686081"/>
                </a:cubicBezTo>
                <a:cubicBezTo>
                  <a:pt x="747683" y="3680614"/>
                  <a:pt x="747683" y="3680614"/>
                  <a:pt x="747683" y="3680614"/>
                </a:cubicBezTo>
                <a:cubicBezTo>
                  <a:pt x="747683" y="3680614"/>
                  <a:pt x="747683" y="3680614"/>
                  <a:pt x="746720" y="3676110"/>
                </a:cubicBezTo>
                <a:cubicBezTo>
                  <a:pt x="745758" y="3671606"/>
                  <a:pt x="745758" y="3671606"/>
                  <a:pt x="745758" y="3671606"/>
                </a:cubicBezTo>
                <a:cubicBezTo>
                  <a:pt x="744796" y="3667102"/>
                  <a:pt x="740292" y="3668064"/>
                  <a:pt x="740292" y="3668064"/>
                </a:cubicBezTo>
                <a:cubicBezTo>
                  <a:pt x="739984" y="3644582"/>
                  <a:pt x="735481" y="3645544"/>
                  <a:pt x="734519" y="3641040"/>
                </a:cubicBezTo>
                <a:cubicBezTo>
                  <a:pt x="734519" y="3641040"/>
                  <a:pt x="729052" y="3637498"/>
                  <a:pt x="729052" y="3637498"/>
                </a:cubicBezTo>
                <a:cubicBezTo>
                  <a:pt x="726165" y="3623986"/>
                  <a:pt x="727783" y="3609512"/>
                  <a:pt x="723279" y="3610474"/>
                </a:cubicBezTo>
                <a:cubicBezTo>
                  <a:pt x="722316" y="3605970"/>
                  <a:pt x="722316" y="3605970"/>
                  <a:pt x="722316" y="3605970"/>
                </a:cubicBezTo>
                <a:cubicBezTo>
                  <a:pt x="722316" y="3605970"/>
                  <a:pt x="721354" y="3601465"/>
                  <a:pt x="721354" y="3601465"/>
                </a:cubicBezTo>
                <a:cubicBezTo>
                  <a:pt x="717812" y="3606932"/>
                  <a:pt x="717812" y="3606932"/>
                  <a:pt x="717812" y="3606932"/>
                </a:cubicBezTo>
                <a:cubicBezTo>
                  <a:pt x="722972" y="3586991"/>
                  <a:pt x="710769" y="3551922"/>
                  <a:pt x="707227" y="3557387"/>
                </a:cubicBezTo>
                <a:cubicBezTo>
                  <a:pt x="712694" y="3560929"/>
                  <a:pt x="709152" y="3566396"/>
                  <a:pt x="710114" y="3570900"/>
                </a:cubicBezTo>
                <a:cubicBezTo>
                  <a:pt x="708190" y="3561892"/>
                  <a:pt x="702723" y="3558350"/>
                  <a:pt x="702723" y="3558350"/>
                </a:cubicBezTo>
                <a:cubicBezTo>
                  <a:pt x="705610" y="3571863"/>
                  <a:pt x="705610" y="3571863"/>
                  <a:pt x="705610" y="3571863"/>
                </a:cubicBezTo>
                <a:cubicBezTo>
                  <a:pt x="705610" y="3571863"/>
                  <a:pt x="701106" y="3572825"/>
                  <a:pt x="700144" y="3568320"/>
                </a:cubicBezTo>
                <a:cubicBezTo>
                  <a:pt x="696602" y="3573787"/>
                  <a:pt x="697564" y="3578290"/>
                  <a:pt x="702068" y="3577328"/>
                </a:cubicBezTo>
                <a:cubicBezTo>
                  <a:pt x="702068" y="3577328"/>
                  <a:pt x="702068" y="3577328"/>
                  <a:pt x="703031" y="3581832"/>
                </a:cubicBezTo>
                <a:cubicBezTo>
                  <a:pt x="696909" y="3597269"/>
                  <a:pt x="688863" y="3603698"/>
                  <a:pt x="695599" y="3635226"/>
                </a:cubicBezTo>
                <a:cubicBezTo>
                  <a:pt x="696561" y="3639730"/>
                  <a:pt x="696561" y="3639730"/>
                  <a:pt x="697524" y="3644234"/>
                </a:cubicBezTo>
                <a:cubicBezTo>
                  <a:pt x="692057" y="3640692"/>
                  <a:pt x="692057" y="3640692"/>
                  <a:pt x="687553" y="3641655"/>
                </a:cubicBezTo>
                <a:cubicBezTo>
                  <a:pt x="686591" y="3637151"/>
                  <a:pt x="686591" y="3637151"/>
                  <a:pt x="685628" y="3632647"/>
                </a:cubicBezTo>
                <a:cubicBezTo>
                  <a:pt x="681125" y="3633609"/>
                  <a:pt x="680163" y="3629105"/>
                  <a:pt x="681125" y="3633609"/>
                </a:cubicBezTo>
                <a:cubicBezTo>
                  <a:pt x="681125" y="3633609"/>
                  <a:pt x="682087" y="3638113"/>
                  <a:pt x="682087" y="3638113"/>
                </a:cubicBezTo>
                <a:cubicBezTo>
                  <a:pt x="670847" y="3607547"/>
                  <a:pt x="672465" y="3593073"/>
                  <a:pt x="660262" y="3558002"/>
                </a:cubicBezTo>
                <a:cubicBezTo>
                  <a:pt x="665729" y="3561544"/>
                  <a:pt x="666691" y="3566048"/>
                  <a:pt x="665729" y="3561544"/>
                </a:cubicBezTo>
                <a:cubicBezTo>
                  <a:pt x="665729" y="3561544"/>
                  <a:pt x="669270" y="3556078"/>
                  <a:pt x="669270" y="3556078"/>
                </a:cubicBezTo>
                <a:lnTo>
                  <a:pt x="671194" y="3565085"/>
                </a:lnTo>
                <a:cubicBezTo>
                  <a:pt x="670887" y="3541603"/>
                  <a:pt x="668001" y="3528091"/>
                  <a:pt x="660609" y="3515542"/>
                </a:cubicBezTo>
                <a:cubicBezTo>
                  <a:pt x="660609" y="3515542"/>
                  <a:pt x="660609" y="3515542"/>
                  <a:pt x="665114" y="3514579"/>
                </a:cubicBezTo>
                <a:lnTo>
                  <a:pt x="664152" y="3510075"/>
                </a:lnTo>
                <a:cubicBezTo>
                  <a:pt x="663189" y="3505570"/>
                  <a:pt x="663189" y="3505570"/>
                  <a:pt x="662227" y="3501067"/>
                </a:cubicBezTo>
                <a:cubicBezTo>
                  <a:pt x="655798" y="3493021"/>
                  <a:pt x="656454" y="3474043"/>
                  <a:pt x="655491" y="3469539"/>
                </a:cubicBezTo>
                <a:cubicBezTo>
                  <a:pt x="655491" y="3469539"/>
                  <a:pt x="654529" y="3465034"/>
                  <a:pt x="654529" y="3465034"/>
                </a:cubicBezTo>
                <a:cubicBezTo>
                  <a:pt x="653567" y="3460530"/>
                  <a:pt x="653567" y="3460530"/>
                  <a:pt x="653567" y="3460530"/>
                </a:cubicBezTo>
                <a:cubicBezTo>
                  <a:pt x="646175" y="3447980"/>
                  <a:pt x="644906" y="3419994"/>
                  <a:pt x="639439" y="3416453"/>
                </a:cubicBezTo>
                <a:cubicBezTo>
                  <a:pt x="639439" y="3416453"/>
                  <a:pt x="638477" y="3411948"/>
                  <a:pt x="638477" y="3411948"/>
                </a:cubicBezTo>
                <a:cubicBezTo>
                  <a:pt x="638477" y="3411948"/>
                  <a:pt x="637515" y="3407444"/>
                  <a:pt x="637515" y="3407444"/>
                </a:cubicBezTo>
                <a:cubicBezTo>
                  <a:pt x="636552" y="3402940"/>
                  <a:pt x="635590" y="3398436"/>
                  <a:pt x="635590" y="3398436"/>
                </a:cubicBezTo>
                <a:cubicBezTo>
                  <a:pt x="631087" y="3399398"/>
                  <a:pt x="631087" y="3399398"/>
                  <a:pt x="633012" y="3408406"/>
                </a:cubicBezTo>
                <a:cubicBezTo>
                  <a:pt x="633012" y="3408406"/>
                  <a:pt x="628507" y="3409369"/>
                  <a:pt x="629469" y="3413873"/>
                </a:cubicBezTo>
                <a:cubicBezTo>
                  <a:pt x="632049" y="3403902"/>
                  <a:pt x="626583" y="3400361"/>
                  <a:pt x="625620" y="3395856"/>
                </a:cubicBezTo>
                <a:cubicBezTo>
                  <a:pt x="630125" y="3394894"/>
                  <a:pt x="630125" y="3394894"/>
                  <a:pt x="630125" y="3394894"/>
                </a:cubicBezTo>
                <a:cubicBezTo>
                  <a:pt x="630125" y="3394894"/>
                  <a:pt x="629163" y="3390391"/>
                  <a:pt x="629163" y="3390391"/>
                </a:cubicBezTo>
                <a:cubicBezTo>
                  <a:pt x="628200" y="3385887"/>
                  <a:pt x="628200" y="3385887"/>
                  <a:pt x="628200" y="3385887"/>
                </a:cubicBezTo>
                <a:cubicBezTo>
                  <a:pt x="623696" y="3386849"/>
                  <a:pt x="623696" y="3386849"/>
                  <a:pt x="623696" y="3386849"/>
                </a:cubicBezTo>
                <a:cubicBezTo>
                  <a:pt x="619847" y="3368832"/>
                  <a:pt x="625314" y="3372374"/>
                  <a:pt x="627892" y="3362404"/>
                </a:cubicBezTo>
                <a:cubicBezTo>
                  <a:pt x="623389" y="3363366"/>
                  <a:pt x="620502" y="3349854"/>
                  <a:pt x="615998" y="3350816"/>
                </a:cubicBezTo>
                <a:cubicBezTo>
                  <a:pt x="623389" y="3363366"/>
                  <a:pt x="610839" y="3370757"/>
                  <a:pt x="618229" y="3383307"/>
                </a:cubicBezTo>
                <a:cubicBezTo>
                  <a:pt x="620809" y="3373337"/>
                  <a:pt x="621771" y="3377840"/>
                  <a:pt x="623696" y="3386849"/>
                </a:cubicBezTo>
                <a:cubicBezTo>
                  <a:pt x="619192" y="3387811"/>
                  <a:pt x="619192" y="3387811"/>
                  <a:pt x="619192" y="3387811"/>
                </a:cubicBezTo>
                <a:cubicBezTo>
                  <a:pt x="619192" y="3387811"/>
                  <a:pt x="619192" y="3387811"/>
                  <a:pt x="620154" y="3392315"/>
                </a:cubicBezTo>
                <a:cubicBezTo>
                  <a:pt x="620154" y="3392315"/>
                  <a:pt x="621116" y="3396819"/>
                  <a:pt x="621116" y="3396819"/>
                </a:cubicBezTo>
                <a:cubicBezTo>
                  <a:pt x="625620" y="3395856"/>
                  <a:pt x="625620" y="3395856"/>
                  <a:pt x="625620" y="3395856"/>
                </a:cubicBezTo>
                <a:cubicBezTo>
                  <a:pt x="628354" y="3397627"/>
                  <a:pt x="628190" y="3402373"/>
                  <a:pt x="628026" y="3407116"/>
                </a:cubicBezTo>
                <a:lnTo>
                  <a:pt x="629469" y="3413873"/>
                </a:lnTo>
                <a:lnTo>
                  <a:pt x="630432" y="3418377"/>
                </a:lnTo>
                <a:cubicBezTo>
                  <a:pt x="625927" y="3419340"/>
                  <a:pt x="625927" y="3419340"/>
                  <a:pt x="625927" y="3419340"/>
                </a:cubicBezTo>
                <a:cubicBezTo>
                  <a:pt x="625927" y="3419340"/>
                  <a:pt x="625927" y="3419340"/>
                  <a:pt x="626889" y="3423843"/>
                </a:cubicBezTo>
                <a:cubicBezTo>
                  <a:pt x="627852" y="3428347"/>
                  <a:pt x="627852" y="3428347"/>
                  <a:pt x="627852" y="3428347"/>
                </a:cubicBezTo>
                <a:cubicBezTo>
                  <a:pt x="631047" y="3465341"/>
                  <a:pt x="646135" y="3513924"/>
                  <a:pt x="654488" y="3530978"/>
                </a:cubicBezTo>
                <a:cubicBezTo>
                  <a:pt x="654488" y="3530978"/>
                  <a:pt x="654488" y="3530978"/>
                  <a:pt x="649984" y="3531940"/>
                </a:cubicBezTo>
                <a:cubicBezTo>
                  <a:pt x="649984" y="3531940"/>
                  <a:pt x="650946" y="3536445"/>
                  <a:pt x="651908" y="3540948"/>
                </a:cubicBezTo>
                <a:cubicBezTo>
                  <a:pt x="661224" y="3562507"/>
                  <a:pt x="654795" y="3554460"/>
                  <a:pt x="655758" y="3558965"/>
                </a:cubicBezTo>
                <a:cubicBezTo>
                  <a:pt x="663149" y="3571514"/>
                  <a:pt x="675658" y="3630067"/>
                  <a:pt x="671154" y="3631029"/>
                </a:cubicBezTo>
                <a:cubicBezTo>
                  <a:pt x="680470" y="3652588"/>
                  <a:pt x="676927" y="3658053"/>
                  <a:pt x="691054" y="3702132"/>
                </a:cubicBezTo>
                <a:cubicBezTo>
                  <a:pt x="693941" y="3715644"/>
                  <a:pt x="692324" y="3730118"/>
                  <a:pt x="695211" y="3743630"/>
                </a:cubicBezTo>
                <a:cubicBezTo>
                  <a:pt x="692632" y="3753601"/>
                  <a:pt x="687165" y="3750059"/>
                  <a:pt x="689090" y="3759068"/>
                </a:cubicBezTo>
                <a:cubicBezTo>
                  <a:pt x="685855" y="3788016"/>
                  <a:pt x="699019" y="3827590"/>
                  <a:pt x="700289" y="3855577"/>
                </a:cubicBezTo>
                <a:cubicBezTo>
                  <a:pt x="701251" y="3860081"/>
                  <a:pt x="694823" y="3852035"/>
                  <a:pt x="693861" y="3847531"/>
                </a:cubicBezTo>
                <a:cubicBezTo>
                  <a:pt x="692243" y="3862005"/>
                  <a:pt x="703791" y="3916054"/>
                  <a:pt x="687392" y="3905429"/>
                </a:cubicBezTo>
                <a:cubicBezTo>
                  <a:pt x="680963" y="3897383"/>
                  <a:pt x="680963" y="3897383"/>
                  <a:pt x="680963" y="3897383"/>
                </a:cubicBezTo>
                <a:cubicBezTo>
                  <a:pt x="682887" y="3906391"/>
                  <a:pt x="682887" y="3906391"/>
                  <a:pt x="682887" y="3906391"/>
                </a:cubicBezTo>
                <a:cubicBezTo>
                  <a:pt x="670993" y="3894803"/>
                  <a:pt x="666181" y="3872282"/>
                  <a:pt x="655904" y="3846221"/>
                </a:cubicBezTo>
                <a:cubicBezTo>
                  <a:pt x="653017" y="3832709"/>
                  <a:pt x="650130" y="3819197"/>
                  <a:pt x="647550" y="3829168"/>
                </a:cubicBezTo>
                <a:cubicBezTo>
                  <a:pt x="646588" y="3824663"/>
                  <a:pt x="646588" y="3824663"/>
                  <a:pt x="646588" y="3824663"/>
                </a:cubicBezTo>
                <a:cubicBezTo>
                  <a:pt x="642083" y="3825626"/>
                  <a:pt x="642083" y="3825626"/>
                  <a:pt x="642083" y="3825626"/>
                </a:cubicBezTo>
                <a:cubicBezTo>
                  <a:pt x="633076" y="3827550"/>
                  <a:pt x="639197" y="3812114"/>
                  <a:pt x="637272" y="3803105"/>
                </a:cubicBezTo>
                <a:cubicBezTo>
                  <a:pt x="634693" y="3813076"/>
                  <a:pt x="625377" y="3791517"/>
                  <a:pt x="628264" y="3805029"/>
                </a:cubicBezTo>
                <a:cubicBezTo>
                  <a:pt x="633731" y="3808571"/>
                  <a:pt x="635655" y="3817579"/>
                  <a:pt x="631151" y="3818541"/>
                </a:cubicBezTo>
                <a:cubicBezTo>
                  <a:pt x="636618" y="3822083"/>
                  <a:pt x="638542" y="3831092"/>
                  <a:pt x="641429" y="3844604"/>
                </a:cubicBezTo>
                <a:cubicBezTo>
                  <a:pt x="630803" y="3861003"/>
                  <a:pt x="638809" y="3920518"/>
                  <a:pt x="653897" y="3969100"/>
                </a:cubicBezTo>
                <a:cubicBezTo>
                  <a:pt x="650356" y="3974566"/>
                  <a:pt x="650356" y="3974566"/>
                  <a:pt x="646814" y="3980033"/>
                </a:cubicBezTo>
                <a:cubicBezTo>
                  <a:pt x="641347" y="3976491"/>
                  <a:pt x="640385" y="3971986"/>
                  <a:pt x="639423" y="3967483"/>
                </a:cubicBezTo>
                <a:cubicBezTo>
                  <a:pt x="639423" y="3967483"/>
                  <a:pt x="638461" y="3962979"/>
                  <a:pt x="638461" y="3962979"/>
                </a:cubicBezTo>
                <a:cubicBezTo>
                  <a:pt x="638461" y="3962979"/>
                  <a:pt x="632995" y="3959436"/>
                  <a:pt x="632995" y="3959436"/>
                </a:cubicBezTo>
                <a:cubicBezTo>
                  <a:pt x="632995" y="3959436"/>
                  <a:pt x="632995" y="3959436"/>
                  <a:pt x="633958" y="3963941"/>
                </a:cubicBezTo>
                <a:cubicBezTo>
                  <a:pt x="633958" y="3963941"/>
                  <a:pt x="634920" y="3968445"/>
                  <a:pt x="634920" y="3968445"/>
                </a:cubicBezTo>
                <a:cubicBezTo>
                  <a:pt x="634920" y="3968445"/>
                  <a:pt x="629453" y="3964903"/>
                  <a:pt x="628491" y="3960399"/>
                </a:cubicBezTo>
                <a:cubicBezTo>
                  <a:pt x="626566" y="3951391"/>
                  <a:pt x="625604" y="3946887"/>
                  <a:pt x="623679" y="3937879"/>
                </a:cubicBezTo>
                <a:lnTo>
                  <a:pt x="631167" y="3950879"/>
                </a:lnTo>
                <a:lnTo>
                  <a:pt x="632033" y="3954933"/>
                </a:lnTo>
                <a:cubicBezTo>
                  <a:pt x="637979" y="3960727"/>
                  <a:pt x="636373" y="3958715"/>
                  <a:pt x="633038" y="3954129"/>
                </a:cubicBezTo>
                <a:lnTo>
                  <a:pt x="631167" y="3950879"/>
                </a:lnTo>
                <a:lnTo>
                  <a:pt x="629507" y="3943110"/>
                </a:lnTo>
                <a:cubicBezTo>
                  <a:pt x="629146" y="3941420"/>
                  <a:pt x="629146" y="3941420"/>
                  <a:pt x="629146" y="3941420"/>
                </a:cubicBezTo>
                <a:cubicBezTo>
                  <a:pt x="629146" y="3941420"/>
                  <a:pt x="633649" y="3940458"/>
                  <a:pt x="633649" y="3940458"/>
                </a:cubicBezTo>
                <a:cubicBezTo>
                  <a:pt x="633649" y="3940458"/>
                  <a:pt x="633649" y="3940458"/>
                  <a:pt x="632687" y="3935955"/>
                </a:cubicBezTo>
                <a:cubicBezTo>
                  <a:pt x="632687" y="3935955"/>
                  <a:pt x="631725" y="3931450"/>
                  <a:pt x="631725" y="3931450"/>
                </a:cubicBezTo>
                <a:cubicBezTo>
                  <a:pt x="628184" y="3936917"/>
                  <a:pt x="627222" y="3932412"/>
                  <a:pt x="627222" y="3932412"/>
                </a:cubicBezTo>
                <a:cubicBezTo>
                  <a:pt x="626259" y="3927908"/>
                  <a:pt x="625297" y="3923405"/>
                  <a:pt x="620793" y="3924367"/>
                </a:cubicBezTo>
                <a:cubicBezTo>
                  <a:pt x="619830" y="3919863"/>
                  <a:pt x="619830" y="3919863"/>
                  <a:pt x="619830" y="3919863"/>
                </a:cubicBezTo>
                <a:cubicBezTo>
                  <a:pt x="624335" y="3918900"/>
                  <a:pt x="623372" y="3914396"/>
                  <a:pt x="618868" y="3915358"/>
                </a:cubicBezTo>
                <a:cubicBezTo>
                  <a:pt x="617906" y="3910855"/>
                  <a:pt x="615741" y="3900721"/>
                  <a:pt x="614177" y="3893402"/>
                </a:cubicBezTo>
                <a:lnTo>
                  <a:pt x="613094" y="3888334"/>
                </a:lnTo>
                <a:cubicBezTo>
                  <a:pt x="615019" y="3897343"/>
                  <a:pt x="613401" y="3911817"/>
                  <a:pt x="613401" y="3911817"/>
                </a:cubicBezTo>
                <a:cubicBezTo>
                  <a:pt x="610515" y="3898305"/>
                  <a:pt x="603124" y="3885754"/>
                  <a:pt x="600237" y="3872242"/>
                </a:cubicBezTo>
                <a:cubicBezTo>
                  <a:pt x="590922" y="3850685"/>
                  <a:pt x="591229" y="3874167"/>
                  <a:pt x="579335" y="3862579"/>
                </a:cubicBezTo>
                <a:cubicBezTo>
                  <a:pt x="569056" y="3836517"/>
                  <a:pt x="563590" y="3832975"/>
                  <a:pt x="556854" y="3801448"/>
                </a:cubicBezTo>
                <a:cubicBezTo>
                  <a:pt x="553312" y="3806914"/>
                  <a:pt x="555236" y="3815922"/>
                  <a:pt x="558123" y="3829434"/>
                </a:cubicBezTo>
                <a:cubicBezTo>
                  <a:pt x="557161" y="3824930"/>
                  <a:pt x="550733" y="3816885"/>
                  <a:pt x="546884" y="3798868"/>
                </a:cubicBezTo>
                <a:cubicBezTo>
                  <a:pt x="543342" y="3804335"/>
                  <a:pt x="538838" y="3805297"/>
                  <a:pt x="542686" y="3823313"/>
                </a:cubicBezTo>
                <a:cubicBezTo>
                  <a:pt x="541724" y="3818809"/>
                  <a:pt x="541724" y="3818809"/>
                  <a:pt x="541724" y="3818809"/>
                </a:cubicBezTo>
                <a:cubicBezTo>
                  <a:pt x="520861" y="3743202"/>
                  <a:pt x="504503" y="3666633"/>
                  <a:pt x="488144" y="3590064"/>
                </a:cubicBezTo>
                <a:cubicBezTo>
                  <a:pt x="486220" y="3581057"/>
                  <a:pt x="484295" y="3572049"/>
                  <a:pt x="482371" y="3563040"/>
                </a:cubicBezTo>
                <a:cubicBezTo>
                  <a:pt x="407490" y="3121615"/>
                  <a:pt x="444750" y="2678088"/>
                  <a:pt x="578133" y="2267918"/>
                </a:cubicBezTo>
                <a:lnTo>
                  <a:pt x="592980" y="2227702"/>
                </a:lnTo>
                <a:lnTo>
                  <a:pt x="600194" y="2211410"/>
                </a:lnTo>
                <a:lnTo>
                  <a:pt x="638131" y="2105404"/>
                </a:lnTo>
                <a:lnTo>
                  <a:pt x="652761" y="2065777"/>
                </a:lnTo>
                <a:cubicBezTo>
                  <a:pt x="762747" y="1800400"/>
                  <a:pt x="914268" y="1552475"/>
                  <a:pt x="1102577" y="1332509"/>
                </a:cubicBezTo>
                <a:close/>
                <a:moveTo>
                  <a:pt x="1683816" y="1083716"/>
                </a:moveTo>
                <a:lnTo>
                  <a:pt x="1679236" y="1086770"/>
                </a:lnTo>
                <a:lnTo>
                  <a:pt x="1682424" y="1084298"/>
                </a:lnTo>
                <a:close/>
                <a:moveTo>
                  <a:pt x="3808051" y="599460"/>
                </a:moveTo>
                <a:lnTo>
                  <a:pt x="3814670" y="600728"/>
                </a:lnTo>
                <a:lnTo>
                  <a:pt x="3819307" y="603027"/>
                </a:lnTo>
                <a:close/>
                <a:moveTo>
                  <a:pt x="1626222" y="1047191"/>
                </a:moveTo>
                <a:lnTo>
                  <a:pt x="1626514" y="1048557"/>
                </a:lnTo>
                <a:cubicBezTo>
                  <a:pt x="1626514" y="1048557"/>
                  <a:pt x="1626514" y="1048557"/>
                  <a:pt x="1622009" y="1049520"/>
                </a:cubicBezTo>
                <a:close/>
                <a:moveTo>
                  <a:pt x="3198980" y="688397"/>
                </a:moveTo>
                <a:cubicBezTo>
                  <a:pt x="3198171" y="688055"/>
                  <a:pt x="3199015" y="687874"/>
                  <a:pt x="3202634" y="688279"/>
                </a:cubicBezTo>
                <a:lnTo>
                  <a:pt x="3199068" y="688412"/>
                </a:lnTo>
                <a:close/>
                <a:moveTo>
                  <a:pt x="1688956" y="988120"/>
                </a:moveTo>
                <a:cubicBezTo>
                  <a:pt x="1688956" y="988120"/>
                  <a:pt x="1693460" y="987158"/>
                  <a:pt x="1697964" y="986196"/>
                </a:cubicBezTo>
                <a:cubicBezTo>
                  <a:pt x="1694422" y="991662"/>
                  <a:pt x="1694422" y="991662"/>
                  <a:pt x="1694422" y="991662"/>
                </a:cubicBezTo>
                <a:cubicBezTo>
                  <a:pt x="1695385" y="996167"/>
                  <a:pt x="1699889" y="995204"/>
                  <a:pt x="1703431" y="989738"/>
                </a:cubicBezTo>
                <a:cubicBezTo>
                  <a:pt x="1692325" y="1003884"/>
                  <a:pt x="1681622" y="1014413"/>
                  <a:pt x="1668870" y="1023613"/>
                </a:cubicBezTo>
                <a:lnTo>
                  <a:pt x="1626222" y="1047191"/>
                </a:lnTo>
                <a:lnTo>
                  <a:pt x="1625552" y="1044054"/>
                </a:lnTo>
                <a:cubicBezTo>
                  <a:pt x="1625552" y="1044054"/>
                  <a:pt x="1622009" y="1049520"/>
                  <a:pt x="1622009" y="1049520"/>
                </a:cubicBezTo>
                <a:cubicBezTo>
                  <a:pt x="1613002" y="1051444"/>
                  <a:pt x="1613964" y="1055948"/>
                  <a:pt x="1604955" y="1057873"/>
                </a:cubicBezTo>
                <a:cubicBezTo>
                  <a:pt x="1600452" y="1058835"/>
                  <a:pt x="1600452" y="1058835"/>
                  <a:pt x="1600452" y="1058835"/>
                </a:cubicBezTo>
                <a:cubicBezTo>
                  <a:pt x="1600452" y="1058835"/>
                  <a:pt x="1601414" y="1063339"/>
                  <a:pt x="1601414" y="1063339"/>
                </a:cubicBezTo>
                <a:cubicBezTo>
                  <a:pt x="1596910" y="1064302"/>
                  <a:pt x="1596910" y="1064302"/>
                  <a:pt x="1596910" y="1064302"/>
                </a:cubicBezTo>
                <a:lnTo>
                  <a:pt x="1568524" y="1077178"/>
                </a:lnTo>
                <a:lnTo>
                  <a:pt x="1633720" y="1022132"/>
                </a:lnTo>
                <a:lnTo>
                  <a:pt x="1644223" y="1021226"/>
                </a:lnTo>
                <a:cubicBezTo>
                  <a:pt x="1657254" y="1016087"/>
                  <a:pt x="1671575" y="1005962"/>
                  <a:pt x="1688956" y="988120"/>
                </a:cubicBezTo>
                <a:close/>
                <a:moveTo>
                  <a:pt x="1987536" y="886654"/>
                </a:moveTo>
                <a:cubicBezTo>
                  <a:pt x="1983994" y="892120"/>
                  <a:pt x="1993964" y="894699"/>
                  <a:pt x="2023568" y="878956"/>
                </a:cubicBezTo>
                <a:cubicBezTo>
                  <a:pt x="1998468" y="893737"/>
                  <a:pt x="1964360" y="910444"/>
                  <a:pt x="1940222" y="929729"/>
                </a:cubicBezTo>
                <a:cubicBezTo>
                  <a:pt x="1914642" y="942259"/>
                  <a:pt x="1884534" y="958404"/>
                  <a:pt x="1864697" y="973018"/>
                </a:cubicBezTo>
                <a:lnTo>
                  <a:pt x="1854248" y="982182"/>
                </a:lnTo>
                <a:lnTo>
                  <a:pt x="1798385" y="1012071"/>
                </a:lnTo>
                <a:lnTo>
                  <a:pt x="1797668" y="1011991"/>
                </a:lnTo>
                <a:lnTo>
                  <a:pt x="1797543" y="1012522"/>
                </a:lnTo>
                <a:lnTo>
                  <a:pt x="1762279" y="1031390"/>
                </a:lnTo>
                <a:lnTo>
                  <a:pt x="1729692" y="1053121"/>
                </a:lnTo>
                <a:lnTo>
                  <a:pt x="1751010" y="1036088"/>
                </a:lnTo>
                <a:cubicBezTo>
                  <a:pt x="1808294" y="995592"/>
                  <a:pt x="1875548" y="957676"/>
                  <a:pt x="1930252" y="927150"/>
                </a:cubicBezTo>
                <a:cubicBezTo>
                  <a:pt x="1950848" y="913331"/>
                  <a:pt x="1972406" y="904015"/>
                  <a:pt x="1987536" y="886654"/>
                </a:cubicBezTo>
                <a:close/>
                <a:moveTo>
                  <a:pt x="2481059" y="771795"/>
                </a:moveTo>
                <a:cubicBezTo>
                  <a:pt x="2477517" y="777261"/>
                  <a:pt x="2477517" y="777261"/>
                  <a:pt x="2477517" y="777261"/>
                </a:cubicBezTo>
                <a:cubicBezTo>
                  <a:pt x="2473014" y="778224"/>
                  <a:pt x="2473014" y="778224"/>
                  <a:pt x="2473014" y="778224"/>
                </a:cubicBezTo>
                <a:cubicBezTo>
                  <a:pt x="2464005" y="780148"/>
                  <a:pt x="2459502" y="781110"/>
                  <a:pt x="2454997" y="782073"/>
                </a:cubicBezTo>
                <a:cubicBezTo>
                  <a:pt x="2445989" y="783997"/>
                  <a:pt x="2441485" y="784959"/>
                  <a:pt x="2432476" y="786884"/>
                </a:cubicBezTo>
                <a:lnTo>
                  <a:pt x="2427973" y="787846"/>
                </a:lnTo>
                <a:close/>
                <a:moveTo>
                  <a:pt x="2484601" y="766329"/>
                </a:moveTo>
                <a:cubicBezTo>
                  <a:pt x="2489106" y="765367"/>
                  <a:pt x="2489106" y="765367"/>
                  <a:pt x="2489106" y="765367"/>
                </a:cubicBezTo>
                <a:cubicBezTo>
                  <a:pt x="2508084" y="766021"/>
                  <a:pt x="2538651" y="754782"/>
                  <a:pt x="2565675" y="749008"/>
                </a:cubicBezTo>
                <a:cubicBezTo>
                  <a:pt x="2557629" y="755436"/>
                  <a:pt x="2511625" y="760555"/>
                  <a:pt x="2513550" y="769563"/>
                </a:cubicBezTo>
                <a:lnTo>
                  <a:pt x="2509046" y="770525"/>
                </a:lnTo>
                <a:cubicBezTo>
                  <a:pt x="2504542" y="771488"/>
                  <a:pt x="2495533" y="773412"/>
                  <a:pt x="2491030" y="774374"/>
                </a:cubicBezTo>
                <a:cubicBezTo>
                  <a:pt x="2487488" y="779841"/>
                  <a:pt x="2487488" y="779841"/>
                  <a:pt x="2487488" y="779841"/>
                </a:cubicBezTo>
                <a:cubicBezTo>
                  <a:pt x="2487488" y="779841"/>
                  <a:pt x="2492955" y="783383"/>
                  <a:pt x="2492955" y="783383"/>
                </a:cubicBezTo>
                <a:cubicBezTo>
                  <a:pt x="2497458" y="782421"/>
                  <a:pt x="2497458" y="782421"/>
                  <a:pt x="2497458" y="782421"/>
                </a:cubicBezTo>
                <a:cubicBezTo>
                  <a:pt x="2497458" y="782421"/>
                  <a:pt x="2501000" y="776954"/>
                  <a:pt x="2501000" y="776954"/>
                </a:cubicBezTo>
                <a:cubicBezTo>
                  <a:pt x="2501000" y="776954"/>
                  <a:pt x="2505504" y="775992"/>
                  <a:pt x="2505504" y="775992"/>
                </a:cubicBezTo>
                <a:cubicBezTo>
                  <a:pt x="2510009" y="775030"/>
                  <a:pt x="2514512" y="774068"/>
                  <a:pt x="2523521" y="772143"/>
                </a:cubicBezTo>
                <a:cubicBezTo>
                  <a:pt x="2541537" y="768294"/>
                  <a:pt x="2524483" y="776647"/>
                  <a:pt x="2533491" y="774723"/>
                </a:cubicBezTo>
                <a:cubicBezTo>
                  <a:pt x="2541537" y="768294"/>
                  <a:pt x="2561478" y="773452"/>
                  <a:pt x="2565982" y="772490"/>
                </a:cubicBezTo>
                <a:cubicBezTo>
                  <a:pt x="2565019" y="767987"/>
                  <a:pt x="2564057" y="763483"/>
                  <a:pt x="2568561" y="762520"/>
                </a:cubicBezTo>
                <a:cubicBezTo>
                  <a:pt x="2574028" y="766062"/>
                  <a:pt x="2569524" y="767025"/>
                  <a:pt x="2578532" y="765100"/>
                </a:cubicBezTo>
                <a:cubicBezTo>
                  <a:pt x="2577569" y="760596"/>
                  <a:pt x="2591082" y="757709"/>
                  <a:pt x="2600090" y="755784"/>
                </a:cubicBezTo>
                <a:cubicBezTo>
                  <a:pt x="2597510" y="765754"/>
                  <a:pt x="2631618" y="749048"/>
                  <a:pt x="2631618" y="749048"/>
                </a:cubicBezTo>
                <a:cubicBezTo>
                  <a:pt x="2635160" y="743582"/>
                  <a:pt x="2635160" y="743582"/>
                  <a:pt x="2635160" y="743582"/>
                </a:cubicBezTo>
                <a:cubicBezTo>
                  <a:pt x="2648673" y="740695"/>
                  <a:pt x="2637085" y="752590"/>
                  <a:pt x="2650597" y="749704"/>
                </a:cubicBezTo>
                <a:cubicBezTo>
                  <a:pt x="2658643" y="743275"/>
                  <a:pt x="2662185" y="737808"/>
                  <a:pt x="2684705" y="732997"/>
                </a:cubicBezTo>
                <a:cubicBezTo>
                  <a:pt x="2698217" y="730110"/>
                  <a:pt x="2712692" y="731727"/>
                  <a:pt x="2726204" y="728841"/>
                </a:cubicBezTo>
                <a:cubicBezTo>
                  <a:pt x="2730708" y="727878"/>
                  <a:pt x="2735213" y="726916"/>
                  <a:pt x="2739716" y="725954"/>
                </a:cubicBezTo>
                <a:cubicBezTo>
                  <a:pt x="2766741" y="720180"/>
                  <a:pt x="2745183" y="729496"/>
                  <a:pt x="2768666" y="729188"/>
                </a:cubicBezTo>
                <a:cubicBezTo>
                  <a:pt x="2784758" y="716331"/>
                  <a:pt x="2847159" y="721838"/>
                  <a:pt x="2858747" y="709942"/>
                </a:cubicBezTo>
                <a:lnTo>
                  <a:pt x="2860999" y="709461"/>
                </a:lnTo>
                <a:cubicBezTo>
                  <a:pt x="2867755" y="708018"/>
                  <a:pt x="2876763" y="706093"/>
                  <a:pt x="2876763" y="706093"/>
                </a:cubicBezTo>
                <a:cubicBezTo>
                  <a:pt x="2881267" y="705131"/>
                  <a:pt x="2881267" y="705131"/>
                  <a:pt x="2881267" y="705131"/>
                </a:cubicBezTo>
                <a:cubicBezTo>
                  <a:pt x="2881267" y="705131"/>
                  <a:pt x="2885772" y="704169"/>
                  <a:pt x="2890275" y="703207"/>
                </a:cubicBezTo>
                <a:cubicBezTo>
                  <a:pt x="2945287" y="696163"/>
                  <a:pt x="2976815" y="689428"/>
                  <a:pt x="3013155" y="705211"/>
                </a:cubicBezTo>
                <a:cubicBezTo>
                  <a:pt x="3015735" y="695241"/>
                  <a:pt x="3055617" y="705560"/>
                  <a:pt x="3063662" y="699131"/>
                </a:cubicBezTo>
                <a:cubicBezTo>
                  <a:pt x="3053692" y="696551"/>
                  <a:pt x="3091649" y="697862"/>
                  <a:pt x="3095191" y="692395"/>
                </a:cubicBezTo>
                <a:cubicBezTo>
                  <a:pt x="3096153" y="696899"/>
                  <a:pt x="3091649" y="697862"/>
                  <a:pt x="3087145" y="698824"/>
                </a:cubicBezTo>
                <a:cubicBezTo>
                  <a:pt x="3106933" y="692241"/>
                  <a:pt x="3124304" y="690885"/>
                  <a:pt x="3142478" y="690534"/>
                </a:cubicBezTo>
                <a:lnTo>
                  <a:pt x="3199068" y="688412"/>
                </a:lnTo>
                <a:lnTo>
                  <a:pt x="3205247" y="689487"/>
                </a:lnTo>
                <a:cubicBezTo>
                  <a:pt x="3211238" y="689973"/>
                  <a:pt x="3219360" y="689415"/>
                  <a:pt x="3220650" y="684430"/>
                </a:cubicBezTo>
                <a:cubicBezTo>
                  <a:pt x="3222575" y="693437"/>
                  <a:pt x="3239629" y="685085"/>
                  <a:pt x="3249599" y="687664"/>
                </a:cubicBezTo>
                <a:cubicBezTo>
                  <a:pt x="3236087" y="690551"/>
                  <a:pt x="3248944" y="706643"/>
                  <a:pt x="3250561" y="692168"/>
                </a:cubicBezTo>
                <a:cubicBezTo>
                  <a:pt x="3278548" y="690899"/>
                  <a:pt x="3307497" y="694133"/>
                  <a:pt x="3326476" y="694788"/>
                </a:cubicBezTo>
                <a:cubicBezTo>
                  <a:pt x="3312001" y="693171"/>
                  <a:pt x="3339988" y="691901"/>
                  <a:pt x="3358004" y="688052"/>
                </a:cubicBezTo>
                <a:cubicBezTo>
                  <a:pt x="3358967" y="692556"/>
                  <a:pt x="3349958" y="694480"/>
                  <a:pt x="3349958" y="694480"/>
                </a:cubicBezTo>
                <a:cubicBezTo>
                  <a:pt x="3383411" y="696753"/>
                  <a:pt x="3402390" y="697408"/>
                  <a:pt x="3421368" y="698063"/>
                </a:cubicBezTo>
                <a:cubicBezTo>
                  <a:pt x="3444851" y="697756"/>
                  <a:pt x="3463830" y="698411"/>
                  <a:pt x="3507253" y="703262"/>
                </a:cubicBezTo>
                <a:cubicBezTo>
                  <a:pt x="3503711" y="708728"/>
                  <a:pt x="3494703" y="710653"/>
                  <a:pt x="3513682" y="711308"/>
                </a:cubicBezTo>
                <a:cubicBezTo>
                  <a:pt x="3523652" y="713888"/>
                  <a:pt x="3502749" y="704225"/>
                  <a:pt x="3526232" y="703917"/>
                </a:cubicBezTo>
                <a:cubicBezTo>
                  <a:pt x="3542631" y="714542"/>
                  <a:pt x="3557105" y="716160"/>
                  <a:pt x="3569656" y="708768"/>
                </a:cubicBezTo>
                <a:cubicBezTo>
                  <a:pt x="3586055" y="719394"/>
                  <a:pt x="3579626" y="711348"/>
                  <a:pt x="3587017" y="723898"/>
                </a:cubicBezTo>
                <a:cubicBezTo>
                  <a:pt x="3590558" y="718432"/>
                  <a:pt x="3599567" y="716508"/>
                  <a:pt x="3614041" y="718124"/>
                </a:cubicBezTo>
                <a:cubicBezTo>
                  <a:pt x="3614041" y="718124"/>
                  <a:pt x="3605033" y="720049"/>
                  <a:pt x="3610499" y="723591"/>
                </a:cubicBezTo>
                <a:cubicBezTo>
                  <a:pt x="3633020" y="718779"/>
                  <a:pt x="3654885" y="732947"/>
                  <a:pt x="3687376" y="730714"/>
                </a:cubicBezTo>
                <a:cubicBezTo>
                  <a:pt x="3688338" y="735219"/>
                  <a:pt x="3668397" y="730060"/>
                  <a:pt x="3669360" y="734563"/>
                </a:cubicBezTo>
                <a:cubicBezTo>
                  <a:pt x="3690263" y="744226"/>
                  <a:pt x="3711821" y="734912"/>
                  <a:pt x="3729182" y="750040"/>
                </a:cubicBezTo>
                <a:cubicBezTo>
                  <a:pt x="3733686" y="749078"/>
                  <a:pt x="3711821" y="734912"/>
                  <a:pt x="3731761" y="740070"/>
                </a:cubicBezTo>
                <a:cubicBezTo>
                  <a:pt x="3728220" y="745537"/>
                  <a:pt x="3733686" y="749078"/>
                  <a:pt x="3748161" y="750695"/>
                </a:cubicBezTo>
                <a:cubicBezTo>
                  <a:pt x="3760711" y="743304"/>
                  <a:pt x="3783539" y="761976"/>
                  <a:pt x="3786118" y="752006"/>
                </a:cubicBezTo>
                <a:cubicBezTo>
                  <a:pt x="3787080" y="756509"/>
                  <a:pt x="3791584" y="755547"/>
                  <a:pt x="3797051" y="759089"/>
                </a:cubicBezTo>
                <a:cubicBezTo>
                  <a:pt x="3802517" y="762631"/>
                  <a:pt x="3802517" y="762631"/>
                  <a:pt x="3802517" y="762631"/>
                </a:cubicBezTo>
                <a:cubicBezTo>
                  <a:pt x="3802517" y="762631"/>
                  <a:pt x="3801555" y="758127"/>
                  <a:pt x="3801555" y="758127"/>
                </a:cubicBezTo>
                <a:cubicBezTo>
                  <a:pt x="3797051" y="759089"/>
                  <a:pt x="3796088" y="754585"/>
                  <a:pt x="3791584" y="755547"/>
                </a:cubicBezTo>
                <a:cubicBezTo>
                  <a:pt x="3809600" y="751698"/>
                  <a:pt x="3821495" y="763285"/>
                  <a:pt x="3832428" y="770370"/>
                </a:cubicBezTo>
                <a:cubicBezTo>
                  <a:pt x="3836933" y="769407"/>
                  <a:pt x="3841436" y="768445"/>
                  <a:pt x="3852369" y="775528"/>
                </a:cubicBezTo>
                <a:cubicBezTo>
                  <a:pt x="3864919" y="768137"/>
                  <a:pt x="3834046" y="755895"/>
                  <a:pt x="3848520" y="757512"/>
                </a:cubicBezTo>
                <a:cubicBezTo>
                  <a:pt x="3846586" y="764990"/>
                  <a:pt x="3864919" y="768137"/>
                  <a:pt x="3875019" y="773044"/>
                </a:cubicBezTo>
                <a:lnTo>
                  <a:pt x="3878041" y="775787"/>
                </a:lnTo>
                <a:lnTo>
                  <a:pt x="3875851" y="775221"/>
                </a:lnTo>
                <a:cubicBezTo>
                  <a:pt x="3871348" y="776183"/>
                  <a:pt x="3866844" y="777146"/>
                  <a:pt x="3866844" y="777146"/>
                </a:cubicBezTo>
                <a:cubicBezTo>
                  <a:pt x="3866844" y="777146"/>
                  <a:pt x="3866844" y="777146"/>
                  <a:pt x="3872310" y="780688"/>
                </a:cubicBezTo>
                <a:cubicBezTo>
                  <a:pt x="3877776" y="784229"/>
                  <a:pt x="3882280" y="783267"/>
                  <a:pt x="3886784" y="782304"/>
                </a:cubicBezTo>
                <a:cubicBezTo>
                  <a:pt x="3883242" y="787771"/>
                  <a:pt x="3930207" y="787156"/>
                  <a:pt x="3912191" y="791005"/>
                </a:cubicBezTo>
                <a:cubicBezTo>
                  <a:pt x="3936636" y="795202"/>
                  <a:pt x="3957540" y="804865"/>
                  <a:pt x="3991955" y="811642"/>
                </a:cubicBezTo>
                <a:cubicBezTo>
                  <a:pt x="3991955" y="811642"/>
                  <a:pt x="3991955" y="811642"/>
                  <a:pt x="3996459" y="810679"/>
                </a:cubicBezTo>
                <a:cubicBezTo>
                  <a:pt x="3991955" y="811642"/>
                  <a:pt x="3987451" y="812604"/>
                  <a:pt x="3988413" y="817108"/>
                </a:cubicBezTo>
                <a:cubicBezTo>
                  <a:pt x="3988413" y="817108"/>
                  <a:pt x="3988413" y="817108"/>
                  <a:pt x="3993879" y="820649"/>
                </a:cubicBezTo>
                <a:cubicBezTo>
                  <a:pt x="3998384" y="819687"/>
                  <a:pt x="3997422" y="815183"/>
                  <a:pt x="3997422" y="815183"/>
                </a:cubicBezTo>
                <a:cubicBezTo>
                  <a:pt x="4012858" y="821305"/>
                  <a:pt x="4037303" y="825501"/>
                  <a:pt x="4029257" y="831930"/>
                </a:cubicBezTo>
                <a:cubicBezTo>
                  <a:pt x="4049198" y="837088"/>
                  <a:pt x="4049198" y="837088"/>
                  <a:pt x="4075568" y="850293"/>
                </a:cubicBezTo>
                <a:cubicBezTo>
                  <a:pt x="4080071" y="849331"/>
                  <a:pt x="4079109" y="844827"/>
                  <a:pt x="4079109" y="844827"/>
                </a:cubicBezTo>
                <a:cubicBezTo>
                  <a:pt x="4084575" y="848369"/>
                  <a:pt x="4090042" y="851911"/>
                  <a:pt x="4094547" y="850949"/>
                </a:cubicBezTo>
                <a:cubicBezTo>
                  <a:pt x="4106441" y="862536"/>
                  <a:pt x="4107403" y="867041"/>
                  <a:pt x="4102899" y="868003"/>
                </a:cubicBezTo>
                <a:cubicBezTo>
                  <a:pt x="4117373" y="869619"/>
                  <a:pt x="4121878" y="868657"/>
                  <a:pt x="4130886" y="866732"/>
                </a:cubicBezTo>
                <a:cubicBezTo>
                  <a:pt x="4130886" y="866732"/>
                  <a:pt x="4130886" y="866732"/>
                  <a:pt x="4131849" y="871237"/>
                </a:cubicBezTo>
                <a:cubicBezTo>
                  <a:pt x="4137314" y="874779"/>
                  <a:pt x="4133773" y="880244"/>
                  <a:pt x="4143743" y="882824"/>
                </a:cubicBezTo>
                <a:cubicBezTo>
                  <a:pt x="4148247" y="881862"/>
                  <a:pt x="4147285" y="877358"/>
                  <a:pt x="4158217" y="884442"/>
                </a:cubicBezTo>
                <a:cubicBezTo>
                  <a:pt x="4162722" y="883480"/>
                  <a:pt x="4163684" y="887983"/>
                  <a:pt x="4163684" y="887983"/>
                </a:cubicBezTo>
                <a:cubicBezTo>
                  <a:pt x="4163684" y="887983"/>
                  <a:pt x="4163684" y="887983"/>
                  <a:pt x="4164646" y="892487"/>
                </a:cubicBezTo>
                <a:cubicBezTo>
                  <a:pt x="4169151" y="891525"/>
                  <a:pt x="4169151" y="891525"/>
                  <a:pt x="4169151" y="891525"/>
                </a:cubicBezTo>
                <a:cubicBezTo>
                  <a:pt x="4168188" y="887021"/>
                  <a:pt x="4168188" y="887021"/>
                  <a:pt x="4167226" y="882517"/>
                </a:cubicBezTo>
                <a:cubicBezTo>
                  <a:pt x="4167226" y="882517"/>
                  <a:pt x="4182663" y="888638"/>
                  <a:pt x="4188129" y="892180"/>
                </a:cubicBezTo>
                <a:cubicBezTo>
                  <a:pt x="4188129" y="892180"/>
                  <a:pt x="4192633" y="891218"/>
                  <a:pt x="4192633" y="891218"/>
                </a:cubicBezTo>
                <a:cubicBezTo>
                  <a:pt x="4194557" y="900226"/>
                  <a:pt x="4184587" y="897647"/>
                  <a:pt x="4195520" y="904730"/>
                </a:cubicBezTo>
                <a:cubicBezTo>
                  <a:pt x="4194557" y="900226"/>
                  <a:pt x="4229935" y="911506"/>
                  <a:pt x="4236364" y="919552"/>
                </a:cubicBezTo>
                <a:cubicBezTo>
                  <a:pt x="4241830" y="923094"/>
                  <a:pt x="4241830" y="923094"/>
                  <a:pt x="4241830" y="923094"/>
                </a:cubicBezTo>
                <a:cubicBezTo>
                  <a:pt x="4237326" y="924056"/>
                  <a:pt x="4237326" y="924056"/>
                  <a:pt x="4237326" y="924056"/>
                </a:cubicBezTo>
                <a:cubicBezTo>
                  <a:pt x="4236364" y="919552"/>
                  <a:pt x="4231859" y="920514"/>
                  <a:pt x="4227356" y="921476"/>
                </a:cubicBezTo>
                <a:cubicBezTo>
                  <a:pt x="4228318" y="925981"/>
                  <a:pt x="4228318" y="925981"/>
                  <a:pt x="4228318" y="925981"/>
                </a:cubicBezTo>
                <a:cubicBezTo>
                  <a:pt x="4237326" y="924056"/>
                  <a:pt x="4238288" y="928560"/>
                  <a:pt x="4242793" y="927598"/>
                </a:cubicBezTo>
                <a:cubicBezTo>
                  <a:pt x="4261771" y="928252"/>
                  <a:pt x="4262734" y="932757"/>
                  <a:pt x="4284599" y="946924"/>
                </a:cubicBezTo>
                <a:cubicBezTo>
                  <a:pt x="4284599" y="946924"/>
                  <a:pt x="4289102" y="945962"/>
                  <a:pt x="4288140" y="941457"/>
                </a:cubicBezTo>
                <a:cubicBezTo>
                  <a:pt x="4293607" y="945000"/>
                  <a:pt x="4299073" y="948541"/>
                  <a:pt x="4300036" y="953045"/>
                </a:cubicBezTo>
                <a:cubicBezTo>
                  <a:pt x="4305502" y="956587"/>
                  <a:pt x="4310968" y="960129"/>
                  <a:pt x="4310968" y="960129"/>
                </a:cubicBezTo>
                <a:cubicBezTo>
                  <a:pt x="4321901" y="967212"/>
                  <a:pt x="4326405" y="966250"/>
                  <a:pt x="4331871" y="969792"/>
                </a:cubicBezTo>
                <a:cubicBezTo>
                  <a:pt x="4341842" y="972371"/>
                  <a:pt x="4352774" y="979455"/>
                  <a:pt x="4358241" y="982997"/>
                </a:cubicBezTo>
                <a:cubicBezTo>
                  <a:pt x="4359203" y="987500"/>
                  <a:pt x="4359203" y="987500"/>
                  <a:pt x="4360165" y="992005"/>
                </a:cubicBezTo>
                <a:cubicBezTo>
                  <a:pt x="4364670" y="991042"/>
                  <a:pt x="4365632" y="995547"/>
                  <a:pt x="4365632" y="995547"/>
                </a:cubicBezTo>
                <a:cubicBezTo>
                  <a:pt x="4370136" y="994585"/>
                  <a:pt x="4371098" y="999088"/>
                  <a:pt x="4375602" y="998126"/>
                </a:cubicBezTo>
                <a:cubicBezTo>
                  <a:pt x="4375602" y="998126"/>
                  <a:pt x="4380106" y="997163"/>
                  <a:pt x="4380106" y="997163"/>
                </a:cubicBezTo>
                <a:cubicBezTo>
                  <a:pt x="4385572" y="1000705"/>
                  <a:pt x="4396505" y="1007789"/>
                  <a:pt x="4401972" y="1011331"/>
                </a:cubicBezTo>
                <a:cubicBezTo>
                  <a:pt x="4401972" y="1011331"/>
                  <a:pt x="4401972" y="1011331"/>
                  <a:pt x="4406475" y="1010369"/>
                </a:cubicBezTo>
                <a:cubicBezTo>
                  <a:pt x="4423837" y="1025498"/>
                  <a:pt x="4445702" y="1039665"/>
                  <a:pt x="4466605" y="1049328"/>
                </a:cubicBezTo>
                <a:cubicBezTo>
                  <a:pt x="4467567" y="1053832"/>
                  <a:pt x="4467567" y="1053832"/>
                  <a:pt x="4467567" y="1053832"/>
                </a:cubicBezTo>
                <a:cubicBezTo>
                  <a:pt x="4467567" y="1053832"/>
                  <a:pt x="4472072" y="1052869"/>
                  <a:pt x="4472072" y="1052869"/>
                </a:cubicBezTo>
                <a:cubicBezTo>
                  <a:pt x="4511298" y="1082166"/>
                  <a:pt x="4550525" y="1111463"/>
                  <a:pt x="4585248" y="1141721"/>
                </a:cubicBezTo>
                <a:cubicBezTo>
                  <a:pt x="4602609" y="1156851"/>
                  <a:pt x="4641836" y="1186147"/>
                  <a:pt x="4665626" y="1209323"/>
                </a:cubicBezTo>
                <a:cubicBezTo>
                  <a:pt x="4676558" y="1216406"/>
                  <a:pt x="4679445" y="1229918"/>
                  <a:pt x="4690378" y="1237001"/>
                </a:cubicBezTo>
                <a:cubicBezTo>
                  <a:pt x="4732492" y="1279810"/>
                  <a:pt x="4791659" y="1314266"/>
                  <a:pt x="4825726" y="1363503"/>
                </a:cubicBezTo>
                <a:cubicBezTo>
                  <a:pt x="4831193" y="1367045"/>
                  <a:pt x="4832155" y="1371548"/>
                  <a:pt x="4836660" y="1370586"/>
                </a:cubicBezTo>
                <a:cubicBezTo>
                  <a:pt x="4833117" y="1376052"/>
                  <a:pt x="4837622" y="1375090"/>
                  <a:pt x="4837622" y="1375090"/>
                </a:cubicBezTo>
                <a:cubicBezTo>
                  <a:pt x="4854021" y="1385715"/>
                  <a:pt x="4865915" y="1397303"/>
                  <a:pt x="4878773" y="1413395"/>
                </a:cubicBezTo>
                <a:cubicBezTo>
                  <a:pt x="4878773" y="1413395"/>
                  <a:pt x="4879735" y="1417899"/>
                  <a:pt x="4884239" y="1416937"/>
                </a:cubicBezTo>
                <a:cubicBezTo>
                  <a:pt x="4885201" y="1421441"/>
                  <a:pt x="4885201" y="1421441"/>
                  <a:pt x="4889705" y="1420479"/>
                </a:cubicBezTo>
                <a:cubicBezTo>
                  <a:pt x="4902563" y="1436570"/>
                  <a:pt x="4920886" y="1456204"/>
                  <a:pt x="4938248" y="1471333"/>
                </a:cubicBezTo>
                <a:cubicBezTo>
                  <a:pt x="4937285" y="1466829"/>
                  <a:pt x="4930857" y="1458783"/>
                  <a:pt x="4929894" y="1454279"/>
                </a:cubicBezTo>
                <a:cubicBezTo>
                  <a:pt x="4929894" y="1454279"/>
                  <a:pt x="4934399" y="1453317"/>
                  <a:pt x="4935361" y="1457821"/>
                </a:cubicBezTo>
                <a:cubicBezTo>
                  <a:pt x="4935361" y="1457821"/>
                  <a:pt x="4935361" y="1457821"/>
                  <a:pt x="4936323" y="1462325"/>
                </a:cubicBezTo>
                <a:cubicBezTo>
                  <a:pt x="4936323" y="1462325"/>
                  <a:pt x="4940827" y="1461362"/>
                  <a:pt x="4940827" y="1461362"/>
                </a:cubicBezTo>
                <a:cubicBezTo>
                  <a:pt x="4945331" y="1460400"/>
                  <a:pt x="4945331" y="1460400"/>
                  <a:pt x="4945331" y="1460400"/>
                </a:cubicBezTo>
                <a:cubicBezTo>
                  <a:pt x="4946293" y="1464904"/>
                  <a:pt x="4950797" y="1463942"/>
                  <a:pt x="4950797" y="1463942"/>
                </a:cubicBezTo>
                <a:cubicBezTo>
                  <a:pt x="4957226" y="1471987"/>
                  <a:pt x="4962693" y="1475529"/>
                  <a:pt x="4975550" y="1491621"/>
                </a:cubicBezTo>
                <a:cubicBezTo>
                  <a:pt x="4974587" y="1487117"/>
                  <a:pt x="4974587" y="1487117"/>
                  <a:pt x="4974587" y="1487117"/>
                </a:cubicBezTo>
                <a:cubicBezTo>
                  <a:pt x="4980054" y="1490659"/>
                  <a:pt x="4980054" y="1490659"/>
                  <a:pt x="4980054" y="1490659"/>
                </a:cubicBezTo>
                <a:cubicBezTo>
                  <a:pt x="4986482" y="1498705"/>
                  <a:pt x="4986482" y="1498705"/>
                  <a:pt x="4986482" y="1498705"/>
                </a:cubicBezTo>
                <a:cubicBezTo>
                  <a:pt x="4981016" y="1495162"/>
                  <a:pt x="4975550" y="1491621"/>
                  <a:pt x="4971045" y="1492584"/>
                </a:cubicBezTo>
                <a:cubicBezTo>
                  <a:pt x="4976512" y="1496125"/>
                  <a:pt x="4977474" y="1500629"/>
                  <a:pt x="4978437" y="1505133"/>
                </a:cubicBezTo>
                <a:cubicBezTo>
                  <a:pt x="4978437" y="1505133"/>
                  <a:pt x="4973932" y="1506096"/>
                  <a:pt x="4973932" y="1506096"/>
                </a:cubicBezTo>
                <a:cubicBezTo>
                  <a:pt x="4973932" y="1506096"/>
                  <a:pt x="4974894" y="1510600"/>
                  <a:pt x="4974894" y="1510600"/>
                </a:cubicBezTo>
                <a:cubicBezTo>
                  <a:pt x="4980361" y="1514141"/>
                  <a:pt x="4981323" y="1518646"/>
                  <a:pt x="4984865" y="1513179"/>
                </a:cubicBezTo>
                <a:cubicBezTo>
                  <a:pt x="4987752" y="1526691"/>
                  <a:pt x="4993218" y="1530233"/>
                  <a:pt x="4998684" y="1533775"/>
                </a:cubicBezTo>
                <a:cubicBezTo>
                  <a:pt x="4995142" y="1539241"/>
                  <a:pt x="4995142" y="1539241"/>
                  <a:pt x="4995142" y="1539241"/>
                </a:cubicBezTo>
                <a:cubicBezTo>
                  <a:pt x="5002533" y="1551791"/>
                  <a:pt x="5008962" y="1559837"/>
                  <a:pt x="5015391" y="1567882"/>
                </a:cubicBezTo>
                <a:cubicBezTo>
                  <a:pt x="5019895" y="1566920"/>
                  <a:pt x="5020857" y="1571425"/>
                  <a:pt x="5020857" y="1571425"/>
                </a:cubicBezTo>
                <a:cubicBezTo>
                  <a:pt x="5025361" y="1570462"/>
                  <a:pt x="5026324" y="1574967"/>
                  <a:pt x="5027286" y="1579470"/>
                </a:cubicBezTo>
                <a:cubicBezTo>
                  <a:pt x="5028248" y="1583974"/>
                  <a:pt x="5033715" y="1587517"/>
                  <a:pt x="5037257" y="1582050"/>
                </a:cubicBezTo>
                <a:cubicBezTo>
                  <a:pt x="5038219" y="1586554"/>
                  <a:pt x="5038219" y="1586554"/>
                  <a:pt x="5038219" y="1586554"/>
                </a:cubicBezTo>
                <a:cubicBezTo>
                  <a:pt x="5039181" y="1591057"/>
                  <a:pt x="5039181" y="1591057"/>
                  <a:pt x="5034677" y="1592020"/>
                </a:cubicBezTo>
                <a:cubicBezTo>
                  <a:pt x="5034677" y="1592020"/>
                  <a:pt x="5035639" y="1596524"/>
                  <a:pt x="5035639" y="1596524"/>
                </a:cubicBezTo>
                <a:cubicBezTo>
                  <a:pt x="5035639" y="1596524"/>
                  <a:pt x="5041106" y="1600066"/>
                  <a:pt x="5041106" y="1600066"/>
                </a:cubicBezTo>
                <a:cubicBezTo>
                  <a:pt x="5040144" y="1595562"/>
                  <a:pt x="5044647" y="1594600"/>
                  <a:pt x="5044647" y="1594600"/>
                </a:cubicBezTo>
                <a:cubicBezTo>
                  <a:pt x="5043685" y="1590095"/>
                  <a:pt x="5043685" y="1590095"/>
                  <a:pt x="5043685" y="1590095"/>
                </a:cubicBezTo>
                <a:cubicBezTo>
                  <a:pt x="5043685" y="1590095"/>
                  <a:pt x="5043685" y="1590095"/>
                  <a:pt x="5042723" y="1585592"/>
                </a:cubicBezTo>
                <a:cubicBezTo>
                  <a:pt x="5047227" y="1584630"/>
                  <a:pt x="5047227" y="1584630"/>
                  <a:pt x="5046264" y="1580125"/>
                </a:cubicBezTo>
                <a:cubicBezTo>
                  <a:pt x="5046264" y="1580125"/>
                  <a:pt x="5046264" y="1580125"/>
                  <a:pt x="5050769" y="1579163"/>
                </a:cubicBezTo>
                <a:cubicBezTo>
                  <a:pt x="5051731" y="1583667"/>
                  <a:pt x="5051731" y="1583667"/>
                  <a:pt x="5057197" y="1587208"/>
                </a:cubicBezTo>
                <a:cubicBezTo>
                  <a:pt x="5057197" y="1587208"/>
                  <a:pt x="5057197" y="1587208"/>
                  <a:pt x="5058159" y="1591713"/>
                </a:cubicBezTo>
                <a:cubicBezTo>
                  <a:pt x="5058159" y="1591713"/>
                  <a:pt x="5058159" y="1591713"/>
                  <a:pt x="5054618" y="1597179"/>
                </a:cubicBezTo>
                <a:cubicBezTo>
                  <a:pt x="5055580" y="1601683"/>
                  <a:pt x="5061046" y="1605225"/>
                  <a:pt x="5062008" y="1609729"/>
                </a:cubicBezTo>
                <a:cubicBezTo>
                  <a:pt x="5062970" y="1614234"/>
                  <a:pt x="5062970" y="1614234"/>
                  <a:pt x="5067475" y="1613271"/>
                </a:cubicBezTo>
                <a:lnTo>
                  <a:pt x="5066513" y="1608767"/>
                </a:lnTo>
                <a:cubicBezTo>
                  <a:pt x="5066513" y="1608767"/>
                  <a:pt x="5061046" y="1605225"/>
                  <a:pt x="5060083" y="1600720"/>
                </a:cubicBezTo>
                <a:cubicBezTo>
                  <a:pt x="5060083" y="1600720"/>
                  <a:pt x="5063626" y="1595255"/>
                  <a:pt x="5063626" y="1595255"/>
                </a:cubicBezTo>
                <a:cubicBezTo>
                  <a:pt x="5064588" y="1599758"/>
                  <a:pt x="5070054" y="1603300"/>
                  <a:pt x="5070054" y="1603300"/>
                </a:cubicBezTo>
                <a:cubicBezTo>
                  <a:pt x="5078408" y="1620354"/>
                  <a:pt x="5085798" y="1632904"/>
                  <a:pt x="5086760" y="1637409"/>
                </a:cubicBezTo>
                <a:cubicBezTo>
                  <a:pt x="5086760" y="1637409"/>
                  <a:pt x="5082257" y="1638371"/>
                  <a:pt x="5083219" y="1642874"/>
                </a:cubicBezTo>
                <a:cubicBezTo>
                  <a:pt x="5083219" y="1642874"/>
                  <a:pt x="5077753" y="1639333"/>
                  <a:pt x="5072286" y="1635791"/>
                </a:cubicBezTo>
                <a:cubicBezTo>
                  <a:pt x="5082564" y="1661853"/>
                  <a:pt x="5093496" y="1668937"/>
                  <a:pt x="5108279" y="1694036"/>
                </a:cubicBezTo>
                <a:cubicBezTo>
                  <a:pt x="5110857" y="1684066"/>
                  <a:pt x="5126602" y="1713669"/>
                  <a:pt x="5132069" y="1717212"/>
                </a:cubicBezTo>
                <a:cubicBezTo>
                  <a:pt x="5136572" y="1716250"/>
                  <a:pt x="5136572" y="1716250"/>
                  <a:pt x="5136572" y="1716250"/>
                </a:cubicBezTo>
                <a:cubicBezTo>
                  <a:pt x="5137534" y="1720754"/>
                  <a:pt x="5143001" y="1724295"/>
                  <a:pt x="5143963" y="1728799"/>
                </a:cubicBezTo>
                <a:cubicBezTo>
                  <a:pt x="5147505" y="1723332"/>
                  <a:pt x="5147505" y="1723332"/>
                  <a:pt x="5147505" y="1723332"/>
                </a:cubicBezTo>
                <a:cubicBezTo>
                  <a:pt x="5147505" y="1723332"/>
                  <a:pt x="5148468" y="1727837"/>
                  <a:pt x="5148468" y="1727837"/>
                </a:cubicBezTo>
                <a:cubicBezTo>
                  <a:pt x="5154896" y="1735882"/>
                  <a:pt x="5155859" y="1740387"/>
                  <a:pt x="5162286" y="1748432"/>
                </a:cubicBezTo>
                <a:cubicBezTo>
                  <a:pt x="5167753" y="1751974"/>
                  <a:pt x="5168715" y="1756478"/>
                  <a:pt x="5175144" y="1764524"/>
                </a:cubicBezTo>
                <a:cubicBezTo>
                  <a:pt x="5171602" y="1769991"/>
                  <a:pt x="5183497" y="1781578"/>
                  <a:pt x="5184459" y="1786082"/>
                </a:cubicBezTo>
                <a:cubicBezTo>
                  <a:pt x="5194430" y="1788661"/>
                  <a:pt x="5194430" y="1788661"/>
                  <a:pt x="5198934" y="1787699"/>
                </a:cubicBezTo>
                <a:cubicBezTo>
                  <a:pt x="5199897" y="1792203"/>
                  <a:pt x="5200859" y="1796708"/>
                  <a:pt x="5200859" y="1796708"/>
                </a:cubicBezTo>
                <a:cubicBezTo>
                  <a:pt x="5196355" y="1797670"/>
                  <a:pt x="5195392" y="1793166"/>
                  <a:pt x="5196355" y="1797670"/>
                </a:cubicBezTo>
                <a:cubicBezTo>
                  <a:pt x="5196355" y="1797670"/>
                  <a:pt x="5196355" y="1797670"/>
                  <a:pt x="5197317" y="1802173"/>
                </a:cubicBezTo>
                <a:cubicBezTo>
                  <a:pt x="5198279" y="1806678"/>
                  <a:pt x="5198279" y="1806678"/>
                  <a:pt x="5198279" y="1806678"/>
                </a:cubicBezTo>
                <a:cubicBezTo>
                  <a:pt x="5198279" y="1806678"/>
                  <a:pt x="5194737" y="1812144"/>
                  <a:pt x="5190233" y="1813107"/>
                </a:cubicBezTo>
                <a:cubicBezTo>
                  <a:pt x="5210789" y="1865230"/>
                  <a:pt x="5248706" y="1932483"/>
                  <a:pt x="5281503" y="1953734"/>
                </a:cubicBezTo>
                <a:cubicBezTo>
                  <a:pt x="5279886" y="1968208"/>
                  <a:pt x="5285352" y="1971750"/>
                  <a:pt x="5295322" y="1974330"/>
                </a:cubicBezTo>
                <a:cubicBezTo>
                  <a:pt x="5297247" y="1983338"/>
                  <a:pt x="5299172" y="1992347"/>
                  <a:pt x="5305600" y="2000392"/>
                </a:cubicBezTo>
                <a:cubicBezTo>
                  <a:pt x="5312029" y="2008437"/>
                  <a:pt x="5314916" y="2021950"/>
                  <a:pt x="5321344" y="2029996"/>
                </a:cubicBezTo>
                <a:cubicBezTo>
                  <a:pt x="5328735" y="2042546"/>
                  <a:pt x="5332584" y="2060562"/>
                  <a:pt x="5339975" y="2073112"/>
                </a:cubicBezTo>
                <a:cubicBezTo>
                  <a:pt x="5341900" y="2082120"/>
                  <a:pt x="5349291" y="2094669"/>
                  <a:pt x="5354757" y="2098212"/>
                </a:cubicBezTo>
                <a:cubicBezTo>
                  <a:pt x="5355719" y="2102716"/>
                  <a:pt x="5355719" y="2102716"/>
                  <a:pt x="5355719" y="2102716"/>
                </a:cubicBezTo>
                <a:cubicBezTo>
                  <a:pt x="5363110" y="2115266"/>
                  <a:pt x="5365035" y="2124274"/>
                  <a:pt x="5372426" y="2136823"/>
                </a:cubicBezTo>
                <a:cubicBezTo>
                  <a:pt x="5374350" y="2145831"/>
                  <a:pt x="5380779" y="2153877"/>
                  <a:pt x="5388169" y="2166427"/>
                </a:cubicBezTo>
                <a:cubicBezTo>
                  <a:pt x="5386553" y="2180901"/>
                  <a:pt x="5391056" y="2179939"/>
                  <a:pt x="5395560" y="2178977"/>
                </a:cubicBezTo>
                <a:cubicBezTo>
                  <a:pt x="5396523" y="2183482"/>
                  <a:pt x="5396523" y="2183482"/>
                  <a:pt x="5396523" y="2183482"/>
                </a:cubicBezTo>
                <a:cubicBezTo>
                  <a:pt x="5397485" y="2187985"/>
                  <a:pt x="5393943" y="2193452"/>
                  <a:pt x="5394905" y="2197956"/>
                </a:cubicBezTo>
                <a:cubicBezTo>
                  <a:pt x="5394905" y="2197956"/>
                  <a:pt x="5395867" y="2202459"/>
                  <a:pt x="5395867" y="2202459"/>
                </a:cubicBezTo>
                <a:cubicBezTo>
                  <a:pt x="5396830" y="2206963"/>
                  <a:pt x="5396830" y="2206963"/>
                  <a:pt x="5402296" y="2210505"/>
                </a:cubicBezTo>
                <a:cubicBezTo>
                  <a:pt x="5402296" y="2210505"/>
                  <a:pt x="5402296" y="2210505"/>
                  <a:pt x="5406801" y="2209543"/>
                </a:cubicBezTo>
                <a:cubicBezTo>
                  <a:pt x="5411612" y="2232063"/>
                  <a:pt x="5411612" y="2232063"/>
                  <a:pt x="5411612" y="2232063"/>
                </a:cubicBezTo>
                <a:cubicBezTo>
                  <a:pt x="5411612" y="2232063"/>
                  <a:pt x="5417078" y="2235605"/>
                  <a:pt x="5417078" y="2235605"/>
                </a:cubicBezTo>
                <a:cubicBezTo>
                  <a:pt x="5417078" y="2235605"/>
                  <a:pt x="5416115" y="2231101"/>
                  <a:pt x="5416115" y="2231101"/>
                </a:cubicBezTo>
                <a:cubicBezTo>
                  <a:pt x="5406801" y="2209543"/>
                  <a:pt x="5406801" y="2209543"/>
                  <a:pt x="5406801" y="2209543"/>
                </a:cubicBezTo>
                <a:cubicBezTo>
                  <a:pt x="5406801" y="2209543"/>
                  <a:pt x="5411304" y="2208581"/>
                  <a:pt x="5411304" y="2208581"/>
                </a:cubicBezTo>
                <a:cubicBezTo>
                  <a:pt x="5412267" y="2213086"/>
                  <a:pt x="5413229" y="2217589"/>
                  <a:pt x="5413229" y="2217589"/>
                </a:cubicBezTo>
                <a:cubicBezTo>
                  <a:pt x="5414191" y="2222093"/>
                  <a:pt x="5414191" y="2222093"/>
                  <a:pt x="5414191" y="2222093"/>
                </a:cubicBezTo>
                <a:cubicBezTo>
                  <a:pt x="5415153" y="2226597"/>
                  <a:pt x="5420620" y="2230138"/>
                  <a:pt x="5421582" y="2234643"/>
                </a:cubicBezTo>
                <a:cubicBezTo>
                  <a:pt x="5422544" y="2239147"/>
                  <a:pt x="5423507" y="2243651"/>
                  <a:pt x="5425431" y="2252659"/>
                </a:cubicBezTo>
                <a:cubicBezTo>
                  <a:pt x="5424469" y="2248155"/>
                  <a:pt x="5419964" y="2249117"/>
                  <a:pt x="5419964" y="2249117"/>
                </a:cubicBezTo>
                <a:cubicBezTo>
                  <a:pt x="5419964" y="2249117"/>
                  <a:pt x="5420927" y="2253622"/>
                  <a:pt x="5421889" y="2258125"/>
                </a:cubicBezTo>
                <a:cubicBezTo>
                  <a:pt x="5421889" y="2258125"/>
                  <a:pt x="5422851" y="2262630"/>
                  <a:pt x="5423814" y="2267134"/>
                </a:cubicBezTo>
                <a:cubicBezTo>
                  <a:pt x="5429280" y="2270676"/>
                  <a:pt x="5430242" y="2275179"/>
                  <a:pt x="5431205" y="2279684"/>
                </a:cubicBezTo>
                <a:cubicBezTo>
                  <a:pt x="5432167" y="2284188"/>
                  <a:pt x="5432167" y="2284188"/>
                  <a:pt x="5433129" y="2288691"/>
                </a:cubicBezTo>
                <a:cubicBezTo>
                  <a:pt x="5438596" y="2292233"/>
                  <a:pt x="5438596" y="2292233"/>
                  <a:pt x="5438596" y="2292233"/>
                </a:cubicBezTo>
                <a:cubicBezTo>
                  <a:pt x="5439558" y="2296738"/>
                  <a:pt x="5445025" y="2300279"/>
                  <a:pt x="5445987" y="2304783"/>
                </a:cubicBezTo>
                <a:cubicBezTo>
                  <a:pt x="5446949" y="2309287"/>
                  <a:pt x="5447912" y="2313792"/>
                  <a:pt x="5447912" y="2313792"/>
                </a:cubicBezTo>
                <a:cubicBezTo>
                  <a:pt x="5443407" y="2314754"/>
                  <a:pt x="5443407" y="2314754"/>
                  <a:pt x="5444369" y="2319257"/>
                </a:cubicBezTo>
                <a:cubicBezTo>
                  <a:pt x="5444369" y="2319257"/>
                  <a:pt x="5445332" y="2323762"/>
                  <a:pt x="5449836" y="2322799"/>
                </a:cubicBezTo>
                <a:cubicBezTo>
                  <a:pt x="5449836" y="2322799"/>
                  <a:pt x="5450798" y="2327304"/>
                  <a:pt x="5447256" y="2332770"/>
                </a:cubicBezTo>
                <a:cubicBezTo>
                  <a:pt x="5453685" y="2340816"/>
                  <a:pt x="5453685" y="2340816"/>
                  <a:pt x="5453685" y="2340816"/>
                </a:cubicBezTo>
                <a:cubicBezTo>
                  <a:pt x="5453685" y="2340816"/>
                  <a:pt x="5452723" y="2336311"/>
                  <a:pt x="5457226" y="2335349"/>
                </a:cubicBezTo>
                <a:cubicBezTo>
                  <a:pt x="5458189" y="2339854"/>
                  <a:pt x="5459151" y="2344357"/>
                  <a:pt x="5460113" y="2348861"/>
                </a:cubicBezTo>
                <a:cubicBezTo>
                  <a:pt x="5461075" y="2353366"/>
                  <a:pt x="5461075" y="2353366"/>
                  <a:pt x="5461075" y="2353366"/>
                </a:cubicBezTo>
                <a:cubicBezTo>
                  <a:pt x="5467504" y="2361411"/>
                  <a:pt x="5468467" y="2365915"/>
                  <a:pt x="5469429" y="2370419"/>
                </a:cubicBezTo>
                <a:cubicBezTo>
                  <a:pt x="5471353" y="2379427"/>
                  <a:pt x="5472316" y="2383932"/>
                  <a:pt x="5473278" y="2388435"/>
                </a:cubicBezTo>
                <a:cubicBezTo>
                  <a:pt x="5474240" y="2392940"/>
                  <a:pt x="5474240" y="2392940"/>
                  <a:pt x="5476165" y="2401947"/>
                </a:cubicBezTo>
                <a:cubicBezTo>
                  <a:pt x="5472623" y="2407414"/>
                  <a:pt x="5480014" y="2419964"/>
                  <a:pt x="5481938" y="2428972"/>
                </a:cubicBezTo>
                <a:cubicBezTo>
                  <a:pt x="5482900" y="2433476"/>
                  <a:pt x="5479358" y="2438942"/>
                  <a:pt x="5480321" y="2443447"/>
                </a:cubicBezTo>
                <a:cubicBezTo>
                  <a:pt x="5480321" y="2443447"/>
                  <a:pt x="5474855" y="2439905"/>
                  <a:pt x="5474855" y="2439905"/>
                </a:cubicBezTo>
                <a:cubicBezTo>
                  <a:pt x="5473893" y="2435400"/>
                  <a:pt x="5469388" y="2436363"/>
                  <a:pt x="5469388" y="2436363"/>
                </a:cubicBezTo>
                <a:cubicBezTo>
                  <a:pt x="5469388" y="2436363"/>
                  <a:pt x="5469388" y="2436363"/>
                  <a:pt x="5470351" y="2440867"/>
                </a:cubicBezTo>
                <a:cubicBezTo>
                  <a:pt x="5471313" y="2445371"/>
                  <a:pt x="5471313" y="2445371"/>
                  <a:pt x="5471313" y="2445371"/>
                </a:cubicBezTo>
                <a:cubicBezTo>
                  <a:pt x="5472275" y="2449875"/>
                  <a:pt x="5472275" y="2449875"/>
                  <a:pt x="5476780" y="2448912"/>
                </a:cubicBezTo>
                <a:cubicBezTo>
                  <a:pt x="5476780" y="2448912"/>
                  <a:pt x="5482245" y="2452454"/>
                  <a:pt x="5482245" y="2452454"/>
                </a:cubicBezTo>
                <a:cubicBezTo>
                  <a:pt x="5486750" y="2451492"/>
                  <a:pt x="5486750" y="2451492"/>
                  <a:pt x="5486750" y="2451492"/>
                </a:cubicBezTo>
                <a:cubicBezTo>
                  <a:pt x="5485787" y="2446988"/>
                  <a:pt x="5488367" y="2437018"/>
                  <a:pt x="5486443" y="2428009"/>
                </a:cubicBezTo>
                <a:cubicBezTo>
                  <a:pt x="5485480" y="2423506"/>
                  <a:pt x="5485480" y="2423506"/>
                  <a:pt x="5485480" y="2423506"/>
                </a:cubicBezTo>
                <a:cubicBezTo>
                  <a:pt x="5484518" y="2419002"/>
                  <a:pt x="5478089" y="2410956"/>
                  <a:pt x="5481631" y="2405489"/>
                </a:cubicBezTo>
                <a:cubicBezTo>
                  <a:pt x="5480669" y="2400985"/>
                  <a:pt x="5480669" y="2400985"/>
                  <a:pt x="5479707" y="2396482"/>
                </a:cubicBezTo>
                <a:cubicBezTo>
                  <a:pt x="5485172" y="2400023"/>
                  <a:pt x="5487097" y="2409031"/>
                  <a:pt x="5489021" y="2418039"/>
                </a:cubicBezTo>
                <a:cubicBezTo>
                  <a:pt x="5490946" y="2427047"/>
                  <a:pt x="5492871" y="2436056"/>
                  <a:pt x="5499299" y="2444101"/>
                </a:cubicBezTo>
                <a:cubicBezTo>
                  <a:pt x="5500262" y="2448605"/>
                  <a:pt x="5495757" y="2449568"/>
                  <a:pt x="5496720" y="2454072"/>
                </a:cubicBezTo>
                <a:cubicBezTo>
                  <a:pt x="5498644" y="2463080"/>
                  <a:pt x="5498644" y="2463080"/>
                  <a:pt x="5498644" y="2463080"/>
                </a:cubicBezTo>
                <a:cubicBezTo>
                  <a:pt x="5500569" y="2472087"/>
                  <a:pt x="5501531" y="2476592"/>
                  <a:pt x="5503455" y="2485600"/>
                </a:cubicBezTo>
                <a:cubicBezTo>
                  <a:pt x="5497990" y="2482058"/>
                  <a:pt x="5497990" y="2482058"/>
                  <a:pt x="5497990" y="2482058"/>
                </a:cubicBezTo>
                <a:cubicBezTo>
                  <a:pt x="5497028" y="2477554"/>
                  <a:pt x="5497028" y="2477554"/>
                  <a:pt x="5493486" y="2483021"/>
                </a:cubicBezTo>
                <a:cubicBezTo>
                  <a:pt x="5493486" y="2483021"/>
                  <a:pt x="5493486" y="2483021"/>
                  <a:pt x="5494448" y="2487524"/>
                </a:cubicBezTo>
                <a:cubicBezTo>
                  <a:pt x="5494448" y="2487524"/>
                  <a:pt x="5495410" y="2492028"/>
                  <a:pt x="5495410" y="2492028"/>
                </a:cubicBezTo>
                <a:cubicBezTo>
                  <a:pt x="5500877" y="2495570"/>
                  <a:pt x="5500877" y="2495570"/>
                  <a:pt x="5500877" y="2495570"/>
                </a:cubicBezTo>
                <a:cubicBezTo>
                  <a:pt x="5500877" y="2495570"/>
                  <a:pt x="5501839" y="2500075"/>
                  <a:pt x="5501839" y="2500075"/>
                </a:cubicBezTo>
                <a:cubicBezTo>
                  <a:pt x="5501839" y="2500075"/>
                  <a:pt x="5501839" y="2500075"/>
                  <a:pt x="5502801" y="2504578"/>
                </a:cubicBezTo>
                <a:cubicBezTo>
                  <a:pt x="5503763" y="2509082"/>
                  <a:pt x="5510191" y="2517128"/>
                  <a:pt x="5511154" y="2521632"/>
                </a:cubicBezTo>
                <a:cubicBezTo>
                  <a:pt x="5514040" y="2535144"/>
                  <a:pt x="5519507" y="2538686"/>
                  <a:pt x="5515965" y="2544153"/>
                </a:cubicBezTo>
                <a:cubicBezTo>
                  <a:pt x="5511462" y="2545115"/>
                  <a:pt x="5512424" y="2549619"/>
                  <a:pt x="5512424" y="2549619"/>
                </a:cubicBezTo>
                <a:cubicBezTo>
                  <a:pt x="5512424" y="2549619"/>
                  <a:pt x="5507919" y="2550581"/>
                  <a:pt x="5506957" y="2546078"/>
                </a:cubicBezTo>
                <a:cubicBezTo>
                  <a:pt x="5503108" y="2528061"/>
                  <a:pt x="5499259" y="2510045"/>
                  <a:pt x="5490906" y="2492991"/>
                </a:cubicBezTo>
                <a:cubicBezTo>
                  <a:pt x="5489943" y="2488486"/>
                  <a:pt x="5489943" y="2488486"/>
                  <a:pt x="5489943" y="2488486"/>
                </a:cubicBezTo>
                <a:cubicBezTo>
                  <a:pt x="5485440" y="2489448"/>
                  <a:pt x="5486402" y="2493953"/>
                  <a:pt x="5486402" y="2493953"/>
                </a:cubicBezTo>
                <a:cubicBezTo>
                  <a:pt x="5494755" y="2511007"/>
                  <a:pt x="5498604" y="2529024"/>
                  <a:pt x="5502453" y="2547040"/>
                </a:cubicBezTo>
                <a:cubicBezTo>
                  <a:pt x="5497950" y="2548002"/>
                  <a:pt x="5493445" y="2548964"/>
                  <a:pt x="5490865" y="2558934"/>
                </a:cubicBezTo>
                <a:cubicBezTo>
                  <a:pt x="5495677" y="2581454"/>
                  <a:pt x="5487631" y="2587883"/>
                  <a:pt x="5492443" y="2610404"/>
                </a:cubicBezTo>
                <a:cubicBezTo>
                  <a:pt x="5482431" y="2673768"/>
                  <a:pt x="5488820" y="2747757"/>
                  <a:pt x="5494900" y="2798263"/>
                </a:cubicBezTo>
                <a:cubicBezTo>
                  <a:pt x="5495863" y="2802768"/>
                  <a:pt x="5495863" y="2802768"/>
                  <a:pt x="5495863" y="2802768"/>
                </a:cubicBezTo>
                <a:cubicBezTo>
                  <a:pt x="5495863" y="2802768"/>
                  <a:pt x="5496825" y="2807272"/>
                  <a:pt x="5496825" y="2807272"/>
                </a:cubicBezTo>
                <a:cubicBezTo>
                  <a:pt x="5501329" y="2806310"/>
                  <a:pt x="5501329" y="2806310"/>
                  <a:pt x="5500367" y="2801805"/>
                </a:cubicBezTo>
                <a:cubicBezTo>
                  <a:pt x="5494285" y="2751298"/>
                  <a:pt x="5488860" y="2681813"/>
                  <a:pt x="5498871" y="2618449"/>
                </a:cubicBezTo>
                <a:cubicBezTo>
                  <a:pt x="5499833" y="2622954"/>
                  <a:pt x="5499833" y="2622954"/>
                  <a:pt x="5499833" y="2622954"/>
                </a:cubicBezTo>
                <a:cubicBezTo>
                  <a:pt x="5504337" y="2621991"/>
                  <a:pt x="5503375" y="2617487"/>
                  <a:pt x="5506917" y="2612020"/>
                </a:cubicBezTo>
                <a:cubicBezTo>
                  <a:pt x="5507879" y="2616525"/>
                  <a:pt x="5508842" y="2621029"/>
                  <a:pt x="5509804" y="2625532"/>
                </a:cubicBezTo>
                <a:cubicBezTo>
                  <a:pt x="5509804" y="2625532"/>
                  <a:pt x="5509804" y="2625532"/>
                  <a:pt x="5505299" y="2626495"/>
                </a:cubicBezTo>
                <a:cubicBezTo>
                  <a:pt x="5506262" y="2630999"/>
                  <a:pt x="5506262" y="2630999"/>
                  <a:pt x="5506262" y="2630999"/>
                </a:cubicBezTo>
                <a:cubicBezTo>
                  <a:pt x="5506262" y="2630999"/>
                  <a:pt x="5506262" y="2630999"/>
                  <a:pt x="5507224" y="2635503"/>
                </a:cubicBezTo>
                <a:cubicBezTo>
                  <a:pt x="5507224" y="2635503"/>
                  <a:pt x="5511728" y="2634541"/>
                  <a:pt x="5511728" y="2634541"/>
                </a:cubicBezTo>
                <a:cubicBezTo>
                  <a:pt x="5509148" y="2644511"/>
                  <a:pt x="5511073" y="2653519"/>
                  <a:pt x="5512035" y="2658023"/>
                </a:cubicBezTo>
                <a:cubicBezTo>
                  <a:pt x="5512998" y="2662528"/>
                  <a:pt x="5512998" y="2662528"/>
                  <a:pt x="5513960" y="2667032"/>
                </a:cubicBezTo>
                <a:cubicBezTo>
                  <a:pt x="5514922" y="2671535"/>
                  <a:pt x="5515884" y="2676040"/>
                  <a:pt x="5516847" y="2680544"/>
                </a:cubicBezTo>
                <a:lnTo>
                  <a:pt x="5517809" y="2685047"/>
                </a:lnTo>
                <a:cubicBezTo>
                  <a:pt x="5513304" y="2686010"/>
                  <a:pt x="5513304" y="2686010"/>
                  <a:pt x="5514267" y="2690514"/>
                </a:cubicBezTo>
                <a:cubicBezTo>
                  <a:pt x="5515229" y="2695018"/>
                  <a:pt x="5515229" y="2695018"/>
                  <a:pt x="5516191" y="2699522"/>
                </a:cubicBezTo>
                <a:cubicBezTo>
                  <a:pt x="5516191" y="2699522"/>
                  <a:pt x="5521658" y="2703064"/>
                  <a:pt x="5521658" y="2703064"/>
                </a:cubicBezTo>
                <a:cubicBezTo>
                  <a:pt x="5533861" y="2738134"/>
                  <a:pt x="5541559" y="2774166"/>
                  <a:pt x="5544752" y="2811161"/>
                </a:cubicBezTo>
                <a:cubicBezTo>
                  <a:pt x="5544097" y="2830139"/>
                  <a:pt x="5546984" y="2843652"/>
                  <a:pt x="5546330" y="2862630"/>
                </a:cubicBezTo>
                <a:cubicBezTo>
                  <a:pt x="5546330" y="2862630"/>
                  <a:pt x="5550833" y="2861668"/>
                  <a:pt x="5549871" y="2857164"/>
                </a:cubicBezTo>
                <a:cubicBezTo>
                  <a:pt x="5552103" y="2889654"/>
                  <a:pt x="5557877" y="2916679"/>
                  <a:pt x="5560108" y="2949169"/>
                </a:cubicBezTo>
                <a:cubicBezTo>
                  <a:pt x="5561071" y="2953673"/>
                  <a:pt x="5561071" y="2953673"/>
                  <a:pt x="5565575" y="2952711"/>
                </a:cubicBezTo>
                <a:cubicBezTo>
                  <a:pt x="5567500" y="2961719"/>
                  <a:pt x="5563957" y="2967185"/>
                  <a:pt x="5565882" y="2976194"/>
                </a:cubicBezTo>
                <a:cubicBezTo>
                  <a:pt x="5564920" y="2971690"/>
                  <a:pt x="5561378" y="2977156"/>
                  <a:pt x="5562340" y="2981660"/>
                </a:cubicBezTo>
                <a:cubicBezTo>
                  <a:pt x="5566844" y="2980697"/>
                  <a:pt x="5567807" y="2985202"/>
                  <a:pt x="5568769" y="2989706"/>
                </a:cubicBezTo>
                <a:cubicBezTo>
                  <a:pt x="5570693" y="2998714"/>
                  <a:pt x="5568113" y="3008684"/>
                  <a:pt x="5570038" y="3017692"/>
                </a:cubicBezTo>
                <a:cubicBezTo>
                  <a:pt x="5570038" y="3017692"/>
                  <a:pt x="5571000" y="3022197"/>
                  <a:pt x="5571000" y="3022197"/>
                </a:cubicBezTo>
                <a:cubicBezTo>
                  <a:pt x="5571963" y="3026700"/>
                  <a:pt x="5568422" y="3032167"/>
                  <a:pt x="5569384" y="3036671"/>
                </a:cubicBezTo>
                <a:cubicBezTo>
                  <a:pt x="5570346" y="3041174"/>
                  <a:pt x="5570346" y="3041174"/>
                  <a:pt x="5570346" y="3041174"/>
                </a:cubicBezTo>
                <a:cubicBezTo>
                  <a:pt x="5570346" y="3041174"/>
                  <a:pt x="5571308" y="3045679"/>
                  <a:pt x="5571308" y="3045679"/>
                </a:cubicBezTo>
                <a:cubicBezTo>
                  <a:pt x="5572578" y="3073665"/>
                  <a:pt x="5569342" y="3102614"/>
                  <a:pt x="5569650" y="3126097"/>
                </a:cubicBezTo>
                <a:cubicBezTo>
                  <a:pt x="5569650" y="3126097"/>
                  <a:pt x="5576078" y="3134142"/>
                  <a:pt x="5572537" y="3139609"/>
                </a:cubicBezTo>
                <a:cubicBezTo>
                  <a:pt x="5572537" y="3139609"/>
                  <a:pt x="5573500" y="3144113"/>
                  <a:pt x="5573500" y="3144113"/>
                </a:cubicBezTo>
                <a:cubicBezTo>
                  <a:pt x="5572537" y="3139609"/>
                  <a:pt x="5575424" y="3153121"/>
                  <a:pt x="5577349" y="3162129"/>
                </a:cubicBezTo>
                <a:cubicBezTo>
                  <a:pt x="5576693" y="3181107"/>
                  <a:pt x="5571534" y="3201048"/>
                  <a:pt x="5569917" y="3215523"/>
                </a:cubicBezTo>
                <a:cubicBezTo>
                  <a:pt x="5563755" y="3296903"/>
                  <a:pt x="5558248" y="3359305"/>
                  <a:pt x="5551779" y="3417202"/>
                </a:cubicBezTo>
                <a:cubicBezTo>
                  <a:pt x="5552741" y="3421707"/>
                  <a:pt x="5552741" y="3421707"/>
                  <a:pt x="5552741" y="3421707"/>
                </a:cubicBezTo>
                <a:cubicBezTo>
                  <a:pt x="5549200" y="3427172"/>
                  <a:pt x="5549200" y="3427172"/>
                  <a:pt x="5549200" y="3427172"/>
                </a:cubicBezTo>
                <a:cubicBezTo>
                  <a:pt x="5542269" y="3449847"/>
                  <a:pt x="5535099" y="3471394"/>
                  <a:pt x="5528169" y="3494068"/>
                </a:cubicBezTo>
                <a:lnTo>
                  <a:pt x="5510688" y="3559800"/>
                </a:lnTo>
                <a:lnTo>
                  <a:pt x="5510930" y="3558388"/>
                </a:lnTo>
                <a:cubicBezTo>
                  <a:pt x="5511768" y="3552322"/>
                  <a:pt x="5512375" y="3546894"/>
                  <a:pt x="5512778" y="3543275"/>
                </a:cubicBezTo>
                <a:cubicBezTo>
                  <a:pt x="5511816" y="3538772"/>
                  <a:pt x="5515358" y="3533305"/>
                  <a:pt x="5515358" y="3533305"/>
                </a:cubicBezTo>
                <a:cubicBezTo>
                  <a:pt x="5520517" y="3513364"/>
                  <a:pt x="5527601" y="3502432"/>
                  <a:pt x="5522135" y="3498890"/>
                </a:cubicBezTo>
                <a:cubicBezTo>
                  <a:pt x="5530181" y="3492461"/>
                  <a:pt x="5533415" y="3463512"/>
                  <a:pt x="5533108" y="3440030"/>
                </a:cubicBezTo>
                <a:cubicBezTo>
                  <a:pt x="5532146" y="3435526"/>
                  <a:pt x="5531183" y="3431021"/>
                  <a:pt x="5535687" y="3430059"/>
                </a:cubicBezTo>
                <a:cubicBezTo>
                  <a:pt x="5535687" y="3430059"/>
                  <a:pt x="5539229" y="3424593"/>
                  <a:pt x="5538267" y="3420089"/>
                </a:cubicBezTo>
                <a:cubicBezTo>
                  <a:pt x="5537304" y="3415585"/>
                  <a:pt x="5536342" y="3411081"/>
                  <a:pt x="5532800" y="3416547"/>
                </a:cubicBezTo>
                <a:cubicBezTo>
                  <a:pt x="5528297" y="3417509"/>
                  <a:pt x="5525717" y="3427480"/>
                  <a:pt x="5523137" y="3437450"/>
                </a:cubicBezTo>
                <a:cubicBezTo>
                  <a:pt x="5524099" y="3441955"/>
                  <a:pt x="5524099" y="3441955"/>
                  <a:pt x="5524099" y="3441955"/>
                </a:cubicBezTo>
                <a:cubicBezTo>
                  <a:pt x="5513781" y="3481836"/>
                  <a:pt x="5507660" y="3497272"/>
                  <a:pt x="5505387" y="3530725"/>
                </a:cubicBezTo>
                <a:cubicBezTo>
                  <a:pt x="5505387" y="3530725"/>
                  <a:pt x="5506350" y="3535230"/>
                  <a:pt x="5506350" y="3535230"/>
                </a:cubicBezTo>
                <a:cubicBezTo>
                  <a:pt x="5502809" y="3540696"/>
                  <a:pt x="5496687" y="3556133"/>
                  <a:pt x="5493145" y="3561598"/>
                </a:cubicBezTo>
                <a:cubicBezTo>
                  <a:pt x="5499574" y="3569645"/>
                  <a:pt x="5490566" y="3571569"/>
                  <a:pt x="5485406" y="3591510"/>
                </a:cubicBezTo>
                <a:cubicBezTo>
                  <a:pt x="5482018" y="3608717"/>
                  <a:pt x="5478226" y="3629544"/>
                  <a:pt x="5472745" y="3650731"/>
                </a:cubicBezTo>
                <a:lnTo>
                  <a:pt x="5453639" y="3702176"/>
                </a:lnTo>
                <a:lnTo>
                  <a:pt x="5451565" y="3697642"/>
                </a:lnTo>
                <a:cubicBezTo>
                  <a:pt x="5430929" y="3777405"/>
                  <a:pt x="5403864" y="3849122"/>
                  <a:pt x="5369715" y="3931772"/>
                </a:cubicBezTo>
                <a:cubicBezTo>
                  <a:pt x="5369715" y="3931772"/>
                  <a:pt x="5365212" y="3932734"/>
                  <a:pt x="5365212" y="3932734"/>
                </a:cubicBezTo>
                <a:cubicBezTo>
                  <a:pt x="5366174" y="3937239"/>
                  <a:pt x="5366174" y="3937239"/>
                  <a:pt x="5366174" y="3937239"/>
                </a:cubicBezTo>
                <a:cubicBezTo>
                  <a:pt x="5366174" y="3937239"/>
                  <a:pt x="5366174" y="3937239"/>
                  <a:pt x="5367136" y="3941742"/>
                </a:cubicBezTo>
                <a:cubicBezTo>
                  <a:pt x="5363594" y="3947209"/>
                  <a:pt x="5355549" y="3953638"/>
                  <a:pt x="5352006" y="3959103"/>
                </a:cubicBezTo>
                <a:cubicBezTo>
                  <a:pt x="5363901" y="3970692"/>
                  <a:pt x="5338146" y="4004452"/>
                  <a:pt x="5329445" y="4029858"/>
                </a:cubicBezTo>
                <a:cubicBezTo>
                  <a:pt x="5323979" y="4026316"/>
                  <a:pt x="5331063" y="4015384"/>
                  <a:pt x="5326559" y="4016346"/>
                </a:cubicBezTo>
                <a:cubicBezTo>
                  <a:pt x="5308849" y="4043679"/>
                  <a:pt x="5336530" y="4018926"/>
                  <a:pt x="5319782" y="4050762"/>
                </a:cubicBezTo>
                <a:cubicBezTo>
                  <a:pt x="5315278" y="4051724"/>
                  <a:pt x="5318820" y="4046257"/>
                  <a:pt x="5314316" y="4047220"/>
                </a:cubicBezTo>
                <a:cubicBezTo>
                  <a:pt x="5303035" y="4082597"/>
                  <a:pt x="5280823" y="4110892"/>
                  <a:pt x="5276625" y="4135336"/>
                </a:cubicBezTo>
                <a:cubicBezTo>
                  <a:pt x="5276625" y="4135336"/>
                  <a:pt x="5279205" y="4125366"/>
                  <a:pt x="5272122" y="4136298"/>
                </a:cubicBezTo>
                <a:cubicBezTo>
                  <a:pt x="5272429" y="4159781"/>
                  <a:pt x="5248292" y="4179067"/>
                  <a:pt x="5234124" y="4200931"/>
                </a:cubicBezTo>
                <a:cubicBezTo>
                  <a:pt x="5226386" y="4230843"/>
                  <a:pt x="5208676" y="4258175"/>
                  <a:pt x="5190005" y="4281002"/>
                </a:cubicBezTo>
                <a:cubicBezTo>
                  <a:pt x="5180669" y="4292416"/>
                  <a:pt x="5171334" y="4303830"/>
                  <a:pt x="5161796" y="4317053"/>
                </a:cubicBezTo>
                <a:lnTo>
                  <a:pt x="5135887" y="4358358"/>
                </a:lnTo>
                <a:lnTo>
                  <a:pt x="5134954" y="4353989"/>
                </a:lnTo>
                <a:cubicBezTo>
                  <a:pt x="5130449" y="4354951"/>
                  <a:pt x="5130449" y="4354951"/>
                  <a:pt x="5131412" y="4359456"/>
                </a:cubicBezTo>
                <a:cubicBezTo>
                  <a:pt x="5128832" y="4369426"/>
                  <a:pt x="5128832" y="4369426"/>
                  <a:pt x="5128832" y="4369426"/>
                </a:cubicBezTo>
                <a:cubicBezTo>
                  <a:pt x="5127869" y="4364921"/>
                  <a:pt x="5127869" y="4364921"/>
                  <a:pt x="5127869" y="4364921"/>
                </a:cubicBezTo>
                <a:cubicBezTo>
                  <a:pt x="5119824" y="4371350"/>
                  <a:pt x="5112740" y="4382283"/>
                  <a:pt x="5106619" y="4397719"/>
                </a:cubicBezTo>
                <a:cubicBezTo>
                  <a:pt x="5106619" y="4397719"/>
                  <a:pt x="5107581" y="4402224"/>
                  <a:pt x="5107581" y="4402224"/>
                </a:cubicBezTo>
                <a:cubicBezTo>
                  <a:pt x="5108544" y="4406728"/>
                  <a:pt x="5104039" y="4407690"/>
                  <a:pt x="5105001" y="4412194"/>
                </a:cubicBezTo>
                <a:cubicBezTo>
                  <a:pt x="5104039" y="4407690"/>
                  <a:pt x="5107581" y="4402224"/>
                  <a:pt x="5103077" y="4403186"/>
                </a:cubicBezTo>
                <a:cubicBezTo>
                  <a:pt x="5099535" y="4408653"/>
                  <a:pt x="5095994" y="4414118"/>
                  <a:pt x="5092452" y="4419585"/>
                </a:cubicBezTo>
                <a:cubicBezTo>
                  <a:pt x="5091489" y="4415080"/>
                  <a:pt x="5091489" y="4415080"/>
                  <a:pt x="5091489" y="4415080"/>
                </a:cubicBezTo>
                <a:cubicBezTo>
                  <a:pt x="5091489" y="4415080"/>
                  <a:pt x="5091489" y="4415080"/>
                  <a:pt x="5090527" y="4410577"/>
                </a:cubicBezTo>
                <a:cubicBezTo>
                  <a:pt x="5090527" y="4410577"/>
                  <a:pt x="5090527" y="4410577"/>
                  <a:pt x="5086023" y="4411539"/>
                </a:cubicBezTo>
                <a:cubicBezTo>
                  <a:pt x="5086985" y="4416043"/>
                  <a:pt x="5087947" y="4420547"/>
                  <a:pt x="5087947" y="4420547"/>
                </a:cubicBezTo>
                <a:cubicBezTo>
                  <a:pt x="5087947" y="4420547"/>
                  <a:pt x="5087947" y="4420547"/>
                  <a:pt x="5088910" y="4425051"/>
                </a:cubicBezTo>
                <a:cubicBezTo>
                  <a:pt x="5088910" y="4425051"/>
                  <a:pt x="5085368" y="4430518"/>
                  <a:pt x="5085368" y="4430518"/>
                </a:cubicBezTo>
                <a:cubicBezTo>
                  <a:pt x="5085368" y="4430518"/>
                  <a:pt x="5080864" y="4431480"/>
                  <a:pt x="5080864" y="4431480"/>
                </a:cubicBezTo>
                <a:cubicBezTo>
                  <a:pt x="5080864" y="4431480"/>
                  <a:pt x="5076360" y="4432443"/>
                  <a:pt x="5076360" y="4432443"/>
                </a:cubicBezTo>
                <a:cubicBezTo>
                  <a:pt x="5077322" y="4436946"/>
                  <a:pt x="5077322" y="4436946"/>
                  <a:pt x="5077322" y="4436946"/>
                </a:cubicBezTo>
                <a:cubicBezTo>
                  <a:pt x="5078284" y="4441450"/>
                  <a:pt x="5078284" y="4441450"/>
                  <a:pt x="5078284" y="4441450"/>
                </a:cubicBezTo>
                <a:cubicBezTo>
                  <a:pt x="5074742" y="4446917"/>
                  <a:pt x="5071201" y="4452382"/>
                  <a:pt x="5066697" y="4453345"/>
                </a:cubicBezTo>
                <a:cubicBezTo>
                  <a:pt x="5066697" y="4453345"/>
                  <a:pt x="5066697" y="4453345"/>
                  <a:pt x="5065735" y="4448841"/>
                </a:cubicBezTo>
                <a:cubicBezTo>
                  <a:pt x="5065735" y="4448841"/>
                  <a:pt x="5062192" y="4454307"/>
                  <a:pt x="5062192" y="4454307"/>
                </a:cubicBezTo>
                <a:cubicBezTo>
                  <a:pt x="5058650" y="4459774"/>
                  <a:pt x="5058650" y="4459774"/>
                  <a:pt x="5058650" y="4459774"/>
                </a:cubicBezTo>
                <a:cubicBezTo>
                  <a:pt x="5058650" y="4459774"/>
                  <a:pt x="5055109" y="4465240"/>
                  <a:pt x="5056071" y="4469744"/>
                </a:cubicBezTo>
                <a:cubicBezTo>
                  <a:pt x="5055109" y="4465240"/>
                  <a:pt x="5055109" y="4465240"/>
                  <a:pt x="5055109" y="4465240"/>
                </a:cubicBezTo>
                <a:cubicBezTo>
                  <a:pt x="5050605" y="4466203"/>
                  <a:pt x="5047063" y="4471668"/>
                  <a:pt x="5039017" y="4478097"/>
                </a:cubicBezTo>
                <a:cubicBezTo>
                  <a:pt x="5041596" y="4468127"/>
                  <a:pt x="5034513" y="4479059"/>
                  <a:pt x="5037093" y="4469089"/>
                </a:cubicBezTo>
                <a:cubicBezTo>
                  <a:pt x="5021963" y="4486451"/>
                  <a:pt x="5021963" y="4486451"/>
                  <a:pt x="5021963" y="4486451"/>
                </a:cubicBezTo>
                <a:cubicBezTo>
                  <a:pt x="5021963" y="4486451"/>
                  <a:pt x="5021001" y="4481946"/>
                  <a:pt x="5021001" y="4481946"/>
                </a:cubicBezTo>
                <a:cubicBezTo>
                  <a:pt x="5024543" y="4476480"/>
                  <a:pt x="5024543" y="4476480"/>
                  <a:pt x="5024543" y="4476480"/>
                </a:cubicBezTo>
                <a:cubicBezTo>
                  <a:pt x="5024543" y="4476480"/>
                  <a:pt x="5029046" y="4475517"/>
                  <a:pt x="5023581" y="4471976"/>
                </a:cubicBezTo>
                <a:cubicBezTo>
                  <a:pt x="5023581" y="4471976"/>
                  <a:pt x="5023581" y="4471976"/>
                  <a:pt x="5020039" y="4477442"/>
                </a:cubicBezTo>
                <a:cubicBezTo>
                  <a:pt x="5016497" y="4482909"/>
                  <a:pt x="5016497" y="4482909"/>
                  <a:pt x="5016497" y="4482909"/>
                </a:cubicBezTo>
                <a:cubicBezTo>
                  <a:pt x="5017459" y="4487413"/>
                  <a:pt x="5012955" y="4488375"/>
                  <a:pt x="5013917" y="4492879"/>
                </a:cubicBezTo>
                <a:cubicBezTo>
                  <a:pt x="5013917" y="4492879"/>
                  <a:pt x="5019383" y="4496421"/>
                  <a:pt x="5022925" y="4490954"/>
                </a:cubicBezTo>
                <a:cubicBezTo>
                  <a:pt x="5019383" y="4496421"/>
                  <a:pt x="5019383" y="4496421"/>
                  <a:pt x="5019383" y="4496421"/>
                </a:cubicBezTo>
                <a:cubicBezTo>
                  <a:pt x="5009720" y="4517324"/>
                  <a:pt x="5004254" y="4513782"/>
                  <a:pt x="5002636" y="4528256"/>
                </a:cubicBezTo>
                <a:cubicBezTo>
                  <a:pt x="5009720" y="4517324"/>
                  <a:pt x="5015187" y="4520866"/>
                  <a:pt x="5019690" y="4519904"/>
                </a:cubicBezTo>
                <a:cubicBezTo>
                  <a:pt x="5016149" y="4525369"/>
                  <a:pt x="5008103" y="4531798"/>
                  <a:pt x="5004561" y="4537265"/>
                </a:cubicBezTo>
                <a:cubicBezTo>
                  <a:pt x="5001020" y="4542730"/>
                  <a:pt x="4997478" y="4548197"/>
                  <a:pt x="4993936" y="4553664"/>
                </a:cubicBezTo>
                <a:cubicBezTo>
                  <a:pt x="4989432" y="4554626"/>
                  <a:pt x="4985890" y="4560092"/>
                  <a:pt x="4985890" y="4560092"/>
                </a:cubicBezTo>
                <a:cubicBezTo>
                  <a:pt x="4981386" y="4561054"/>
                  <a:pt x="4984928" y="4555588"/>
                  <a:pt x="4983966" y="4551084"/>
                </a:cubicBezTo>
                <a:cubicBezTo>
                  <a:pt x="4969798" y="4572949"/>
                  <a:pt x="4969798" y="4572949"/>
                  <a:pt x="4969798" y="4572949"/>
                </a:cubicBezTo>
                <a:cubicBezTo>
                  <a:pt x="4964332" y="4569407"/>
                  <a:pt x="4964332" y="4569407"/>
                  <a:pt x="4964332" y="4569407"/>
                </a:cubicBezTo>
                <a:cubicBezTo>
                  <a:pt x="4964332" y="4569407"/>
                  <a:pt x="4963369" y="4564903"/>
                  <a:pt x="4967874" y="4563941"/>
                </a:cubicBezTo>
                <a:cubicBezTo>
                  <a:pt x="4966911" y="4559437"/>
                  <a:pt x="4966911" y="4559437"/>
                  <a:pt x="4966911" y="4559437"/>
                </a:cubicBezTo>
                <a:cubicBezTo>
                  <a:pt x="4966911" y="4559437"/>
                  <a:pt x="4966911" y="4559437"/>
                  <a:pt x="4962407" y="4560400"/>
                </a:cubicBezTo>
                <a:cubicBezTo>
                  <a:pt x="4957904" y="4561362"/>
                  <a:pt x="4958866" y="4565865"/>
                  <a:pt x="4958866" y="4565865"/>
                </a:cubicBezTo>
                <a:cubicBezTo>
                  <a:pt x="4959828" y="4570370"/>
                  <a:pt x="4959828" y="4570370"/>
                  <a:pt x="4959828" y="4570370"/>
                </a:cubicBezTo>
                <a:cubicBezTo>
                  <a:pt x="4959828" y="4570370"/>
                  <a:pt x="4955324" y="4571332"/>
                  <a:pt x="4956286" y="4575836"/>
                </a:cubicBezTo>
                <a:cubicBezTo>
                  <a:pt x="4956286" y="4575836"/>
                  <a:pt x="4956286" y="4575836"/>
                  <a:pt x="4952744" y="4581303"/>
                </a:cubicBezTo>
                <a:cubicBezTo>
                  <a:pt x="4952744" y="4581303"/>
                  <a:pt x="4952744" y="4581303"/>
                  <a:pt x="4948240" y="4582265"/>
                </a:cubicBezTo>
                <a:cubicBezTo>
                  <a:pt x="4948240" y="4582265"/>
                  <a:pt x="4949202" y="4586769"/>
                  <a:pt x="4949202" y="4586769"/>
                </a:cubicBezTo>
                <a:cubicBezTo>
                  <a:pt x="4944698" y="4587731"/>
                  <a:pt x="4944698" y="4587731"/>
                  <a:pt x="4944698" y="4587731"/>
                </a:cubicBezTo>
                <a:cubicBezTo>
                  <a:pt x="4943735" y="4583228"/>
                  <a:pt x="4943735" y="4583228"/>
                  <a:pt x="4943735" y="4583228"/>
                </a:cubicBezTo>
                <a:cubicBezTo>
                  <a:pt x="4946315" y="4573257"/>
                  <a:pt x="4946315" y="4573257"/>
                  <a:pt x="4946315" y="4573257"/>
                </a:cubicBezTo>
                <a:cubicBezTo>
                  <a:pt x="4949857" y="4567790"/>
                  <a:pt x="4954362" y="4566827"/>
                  <a:pt x="4953399" y="4562324"/>
                </a:cubicBezTo>
                <a:cubicBezTo>
                  <a:pt x="4953399" y="4562324"/>
                  <a:pt x="4953399" y="4562324"/>
                  <a:pt x="4948895" y="4563286"/>
                </a:cubicBezTo>
                <a:cubicBezTo>
                  <a:pt x="4944391" y="4564249"/>
                  <a:pt x="4945353" y="4568752"/>
                  <a:pt x="4945353" y="4568752"/>
                </a:cubicBezTo>
                <a:cubicBezTo>
                  <a:pt x="4937307" y="4575181"/>
                  <a:pt x="4938270" y="4579685"/>
                  <a:pt x="4934728" y="4585152"/>
                </a:cubicBezTo>
                <a:cubicBezTo>
                  <a:pt x="4935690" y="4589655"/>
                  <a:pt x="4935690" y="4589655"/>
                  <a:pt x="4935690" y="4589655"/>
                </a:cubicBezTo>
                <a:cubicBezTo>
                  <a:pt x="4933110" y="4599626"/>
                  <a:pt x="4928607" y="4600589"/>
                  <a:pt x="4929569" y="4605092"/>
                </a:cubicBezTo>
                <a:cubicBezTo>
                  <a:pt x="4914439" y="4622453"/>
                  <a:pt x="4894805" y="4640777"/>
                  <a:pt x="4880638" y="4662642"/>
                </a:cubicBezTo>
                <a:cubicBezTo>
                  <a:pt x="4876134" y="4663604"/>
                  <a:pt x="4876134" y="4663604"/>
                  <a:pt x="4876134" y="4663604"/>
                </a:cubicBezTo>
                <a:cubicBezTo>
                  <a:pt x="4871630" y="4664567"/>
                  <a:pt x="4872593" y="4669071"/>
                  <a:pt x="4872593" y="4669071"/>
                </a:cubicBezTo>
                <a:cubicBezTo>
                  <a:pt x="4868088" y="4670033"/>
                  <a:pt x="4864546" y="4675500"/>
                  <a:pt x="4861005" y="4680965"/>
                </a:cubicBezTo>
                <a:cubicBezTo>
                  <a:pt x="4861005" y="4680965"/>
                  <a:pt x="4861005" y="4680965"/>
                  <a:pt x="4857463" y="4686432"/>
                </a:cubicBezTo>
                <a:cubicBezTo>
                  <a:pt x="4852959" y="4687394"/>
                  <a:pt x="4849417" y="4692861"/>
                  <a:pt x="4845875" y="4698327"/>
                </a:cubicBezTo>
                <a:cubicBezTo>
                  <a:pt x="4841371" y="4699289"/>
                  <a:pt x="4837829" y="4704756"/>
                  <a:pt x="4834288" y="4710222"/>
                </a:cubicBezTo>
                <a:cubicBezTo>
                  <a:pt x="4825279" y="4712147"/>
                  <a:pt x="4815616" y="4733050"/>
                  <a:pt x="4798562" y="4741402"/>
                </a:cubicBezTo>
                <a:cubicBezTo>
                  <a:pt x="4795982" y="4751374"/>
                  <a:pt x="4772807" y="4775163"/>
                  <a:pt x="4762182" y="4791561"/>
                </a:cubicBezTo>
                <a:cubicBezTo>
                  <a:pt x="4762182" y="4791561"/>
                  <a:pt x="4746090" y="4804419"/>
                  <a:pt x="4750594" y="4803457"/>
                </a:cubicBezTo>
                <a:cubicBezTo>
                  <a:pt x="4770227" y="4785134"/>
                  <a:pt x="4753481" y="4816969"/>
                  <a:pt x="4761527" y="4810540"/>
                </a:cubicBezTo>
                <a:cubicBezTo>
                  <a:pt x="4768610" y="4799608"/>
                  <a:pt x="4767648" y="4795104"/>
                  <a:pt x="4792748" y="4780322"/>
                </a:cubicBezTo>
                <a:cubicBezTo>
                  <a:pt x="4782777" y="4777742"/>
                  <a:pt x="4832015" y="4743675"/>
                  <a:pt x="4825586" y="4735629"/>
                </a:cubicBezTo>
                <a:cubicBezTo>
                  <a:pt x="4810457" y="4752990"/>
                  <a:pt x="4829128" y="4730163"/>
                  <a:pt x="4840716" y="4718268"/>
                </a:cubicBezTo>
                <a:cubicBezTo>
                  <a:pt x="4840716" y="4718268"/>
                  <a:pt x="4840716" y="4718268"/>
                  <a:pt x="4841678" y="4722772"/>
                </a:cubicBezTo>
                <a:cubicBezTo>
                  <a:pt x="4837175" y="4723734"/>
                  <a:pt x="4837175" y="4723734"/>
                  <a:pt x="4837175" y="4723734"/>
                </a:cubicBezTo>
                <a:cubicBezTo>
                  <a:pt x="4833633" y="4729201"/>
                  <a:pt x="4833633" y="4729201"/>
                  <a:pt x="4838137" y="4728239"/>
                </a:cubicBezTo>
                <a:cubicBezTo>
                  <a:pt x="4838137" y="4728239"/>
                  <a:pt x="4838137" y="4728239"/>
                  <a:pt x="4842641" y="4727276"/>
                </a:cubicBezTo>
                <a:cubicBezTo>
                  <a:pt x="4846183" y="4721810"/>
                  <a:pt x="4846183" y="4721810"/>
                  <a:pt x="4846183" y="4721810"/>
                </a:cubicBezTo>
                <a:cubicBezTo>
                  <a:pt x="4849725" y="4716343"/>
                  <a:pt x="4848762" y="4711839"/>
                  <a:pt x="4843296" y="4708298"/>
                </a:cubicBezTo>
                <a:cubicBezTo>
                  <a:pt x="4846838" y="4702831"/>
                  <a:pt x="4850379" y="4697365"/>
                  <a:pt x="4854883" y="4696402"/>
                </a:cubicBezTo>
                <a:cubicBezTo>
                  <a:pt x="4859387" y="4695440"/>
                  <a:pt x="4859387" y="4695440"/>
                  <a:pt x="4863892" y="4694478"/>
                </a:cubicBezTo>
                <a:cubicBezTo>
                  <a:pt x="4863892" y="4694478"/>
                  <a:pt x="4863892" y="4694478"/>
                  <a:pt x="4864854" y="4698982"/>
                </a:cubicBezTo>
                <a:cubicBezTo>
                  <a:pt x="4869358" y="4698020"/>
                  <a:pt x="4868395" y="4693515"/>
                  <a:pt x="4868395" y="4693515"/>
                </a:cubicBezTo>
                <a:cubicBezTo>
                  <a:pt x="4868395" y="4693515"/>
                  <a:pt x="4867433" y="4689012"/>
                  <a:pt x="4867433" y="4689012"/>
                </a:cubicBezTo>
                <a:cubicBezTo>
                  <a:pt x="4866471" y="4684508"/>
                  <a:pt x="4870975" y="4683545"/>
                  <a:pt x="4870013" y="4679041"/>
                </a:cubicBezTo>
                <a:cubicBezTo>
                  <a:pt x="4874517" y="4678079"/>
                  <a:pt x="4878058" y="4672613"/>
                  <a:pt x="4878058" y="4672613"/>
                </a:cubicBezTo>
                <a:cubicBezTo>
                  <a:pt x="4878058" y="4672613"/>
                  <a:pt x="4878058" y="4672613"/>
                  <a:pt x="4882563" y="4671651"/>
                </a:cubicBezTo>
                <a:cubicBezTo>
                  <a:pt x="4881600" y="4667146"/>
                  <a:pt x="4881600" y="4667146"/>
                  <a:pt x="4881600" y="4667146"/>
                </a:cubicBezTo>
                <a:cubicBezTo>
                  <a:pt x="4881600" y="4667146"/>
                  <a:pt x="4886105" y="4666184"/>
                  <a:pt x="4885142" y="4661680"/>
                </a:cubicBezTo>
                <a:cubicBezTo>
                  <a:pt x="4900272" y="4644319"/>
                  <a:pt x="4914439" y="4622453"/>
                  <a:pt x="4935035" y="4608634"/>
                </a:cubicBezTo>
                <a:cubicBezTo>
                  <a:pt x="4938577" y="4603167"/>
                  <a:pt x="4938577" y="4603167"/>
                  <a:pt x="4938577" y="4603167"/>
                </a:cubicBezTo>
                <a:cubicBezTo>
                  <a:pt x="4938577" y="4603167"/>
                  <a:pt x="4937615" y="4598664"/>
                  <a:pt x="4937615" y="4598664"/>
                </a:cubicBezTo>
                <a:cubicBezTo>
                  <a:pt x="4937615" y="4598664"/>
                  <a:pt x="4942119" y="4597702"/>
                  <a:pt x="4942119" y="4597702"/>
                </a:cubicBezTo>
                <a:cubicBezTo>
                  <a:pt x="4942119" y="4597702"/>
                  <a:pt x="4943081" y="4602205"/>
                  <a:pt x="4943081" y="4602205"/>
                </a:cubicBezTo>
                <a:cubicBezTo>
                  <a:pt x="4952089" y="4600281"/>
                  <a:pt x="4955631" y="4594815"/>
                  <a:pt x="4963677" y="4588386"/>
                </a:cubicBezTo>
                <a:cubicBezTo>
                  <a:pt x="4962715" y="4583882"/>
                  <a:pt x="4962715" y="4583882"/>
                  <a:pt x="4962715" y="4583882"/>
                </a:cubicBezTo>
                <a:cubicBezTo>
                  <a:pt x="4977189" y="4585499"/>
                  <a:pt x="4955631" y="4594815"/>
                  <a:pt x="4961097" y="4598356"/>
                </a:cubicBezTo>
                <a:cubicBezTo>
                  <a:pt x="4964640" y="4592890"/>
                  <a:pt x="4980730" y="4580033"/>
                  <a:pt x="4991357" y="4563634"/>
                </a:cubicBezTo>
                <a:cubicBezTo>
                  <a:pt x="4994898" y="4558167"/>
                  <a:pt x="5001982" y="4547235"/>
                  <a:pt x="5010027" y="4540806"/>
                </a:cubicBezTo>
                <a:cubicBezTo>
                  <a:pt x="5013570" y="4535340"/>
                  <a:pt x="5020653" y="4524407"/>
                  <a:pt x="5028699" y="4517979"/>
                </a:cubicBezTo>
                <a:cubicBezTo>
                  <a:pt x="5039324" y="4501580"/>
                  <a:pt x="5051874" y="4494189"/>
                  <a:pt x="5061537" y="4473286"/>
                </a:cubicBezTo>
                <a:cubicBezTo>
                  <a:pt x="5065079" y="4467819"/>
                  <a:pt x="5073126" y="4461391"/>
                  <a:pt x="5073126" y="4461391"/>
                </a:cubicBezTo>
                <a:cubicBezTo>
                  <a:pt x="5076667" y="4455925"/>
                  <a:pt x="5081171" y="4454962"/>
                  <a:pt x="5080209" y="4450458"/>
                </a:cubicBezTo>
                <a:cubicBezTo>
                  <a:pt x="5084713" y="4449496"/>
                  <a:pt x="5084713" y="4449496"/>
                  <a:pt x="5088254" y="4444030"/>
                </a:cubicBezTo>
                <a:cubicBezTo>
                  <a:pt x="5087292" y="4439526"/>
                  <a:pt x="5095338" y="4433097"/>
                  <a:pt x="5098881" y="4427631"/>
                </a:cubicBezTo>
                <a:cubicBezTo>
                  <a:pt x="5099843" y="4432134"/>
                  <a:pt x="5110468" y="4415736"/>
                  <a:pt x="5110468" y="4415736"/>
                </a:cubicBezTo>
                <a:cubicBezTo>
                  <a:pt x="5114009" y="4410269"/>
                  <a:pt x="5117551" y="4404803"/>
                  <a:pt x="5116589" y="4400299"/>
                </a:cubicBezTo>
                <a:cubicBezTo>
                  <a:pt x="5121093" y="4399337"/>
                  <a:pt x="5121093" y="4399337"/>
                  <a:pt x="5121093" y="4399337"/>
                </a:cubicBezTo>
                <a:cubicBezTo>
                  <a:pt x="5159398" y="4358185"/>
                  <a:pt x="5202862" y="4297094"/>
                  <a:pt x="5231197" y="4253363"/>
                </a:cubicBezTo>
                <a:cubicBezTo>
                  <a:pt x="5235700" y="4252401"/>
                  <a:pt x="5235700" y="4252401"/>
                  <a:pt x="5235700" y="4252401"/>
                </a:cubicBezTo>
                <a:cubicBezTo>
                  <a:pt x="5235700" y="4252401"/>
                  <a:pt x="5235700" y="4252401"/>
                  <a:pt x="5240205" y="4251439"/>
                </a:cubicBezTo>
                <a:cubicBezTo>
                  <a:pt x="5236663" y="4256905"/>
                  <a:pt x="5236663" y="4256905"/>
                  <a:pt x="5233121" y="4262371"/>
                </a:cubicBezTo>
                <a:cubicBezTo>
                  <a:pt x="5233121" y="4262371"/>
                  <a:pt x="5229579" y="4267837"/>
                  <a:pt x="5226037" y="4273304"/>
                </a:cubicBezTo>
                <a:cubicBezTo>
                  <a:pt x="5222495" y="4278771"/>
                  <a:pt x="5222495" y="4278771"/>
                  <a:pt x="5218954" y="4284236"/>
                </a:cubicBezTo>
                <a:cubicBezTo>
                  <a:pt x="5218954" y="4284236"/>
                  <a:pt x="5218954" y="4284236"/>
                  <a:pt x="5219916" y="4288741"/>
                </a:cubicBezTo>
                <a:cubicBezTo>
                  <a:pt x="5211870" y="4295170"/>
                  <a:pt x="5209291" y="4305140"/>
                  <a:pt x="5202207" y="4316072"/>
                </a:cubicBezTo>
                <a:cubicBezTo>
                  <a:pt x="5202207" y="4316072"/>
                  <a:pt x="5198665" y="4321539"/>
                  <a:pt x="5203169" y="4320576"/>
                </a:cubicBezTo>
                <a:cubicBezTo>
                  <a:pt x="5204132" y="4325081"/>
                  <a:pt x="5207674" y="4319614"/>
                  <a:pt x="5207674" y="4319614"/>
                </a:cubicBezTo>
                <a:cubicBezTo>
                  <a:pt x="5211216" y="4314147"/>
                  <a:pt x="5211216" y="4314147"/>
                  <a:pt x="5211216" y="4314147"/>
                </a:cubicBezTo>
                <a:cubicBezTo>
                  <a:pt x="5211216" y="4314147"/>
                  <a:pt x="5215719" y="4313185"/>
                  <a:pt x="5214757" y="4308682"/>
                </a:cubicBezTo>
                <a:cubicBezTo>
                  <a:pt x="5218299" y="4303215"/>
                  <a:pt x="5218299" y="4303215"/>
                  <a:pt x="5218299" y="4303215"/>
                </a:cubicBezTo>
                <a:cubicBezTo>
                  <a:pt x="5217337" y="4298711"/>
                  <a:pt x="5221841" y="4297748"/>
                  <a:pt x="5225382" y="4292283"/>
                </a:cubicBezTo>
                <a:cubicBezTo>
                  <a:pt x="5221841" y="4297748"/>
                  <a:pt x="5217916" y="4304180"/>
                  <a:pt x="5214073" y="4310299"/>
                </a:cubicBezTo>
                <a:lnTo>
                  <a:pt x="5204204" y="4325020"/>
                </a:lnTo>
                <a:lnTo>
                  <a:pt x="5204132" y="4325081"/>
                </a:lnTo>
                <a:lnTo>
                  <a:pt x="5204128" y="4325131"/>
                </a:lnTo>
                <a:lnTo>
                  <a:pt x="5203246" y="4326447"/>
                </a:lnTo>
                <a:cubicBezTo>
                  <a:pt x="5196808" y="4334887"/>
                  <a:pt x="5192544" y="4336975"/>
                  <a:pt x="5194162" y="4322501"/>
                </a:cubicBezTo>
                <a:cubicBezTo>
                  <a:pt x="5181919" y="4353374"/>
                  <a:pt x="5173872" y="4359803"/>
                  <a:pt x="5159705" y="4381669"/>
                </a:cubicBezTo>
                <a:cubicBezTo>
                  <a:pt x="5164209" y="4380706"/>
                  <a:pt x="5164209" y="4380706"/>
                  <a:pt x="5164209" y="4380706"/>
                </a:cubicBezTo>
                <a:cubicBezTo>
                  <a:pt x="5153584" y="4397105"/>
                  <a:pt x="5153584" y="4397105"/>
                  <a:pt x="5153584" y="4397105"/>
                </a:cubicBezTo>
                <a:cubicBezTo>
                  <a:pt x="5149080" y="4398068"/>
                  <a:pt x="5149080" y="4398068"/>
                  <a:pt x="5149080" y="4398068"/>
                </a:cubicBezTo>
                <a:cubicBezTo>
                  <a:pt x="5150042" y="4402571"/>
                  <a:pt x="5150042" y="4402571"/>
                  <a:pt x="5150042" y="4402571"/>
                </a:cubicBezTo>
                <a:cubicBezTo>
                  <a:pt x="5145539" y="4403533"/>
                  <a:pt x="5145539" y="4403533"/>
                  <a:pt x="5145539" y="4403533"/>
                </a:cubicBezTo>
                <a:cubicBezTo>
                  <a:pt x="5141997" y="4409000"/>
                  <a:pt x="5142959" y="4413504"/>
                  <a:pt x="5138455" y="4414466"/>
                </a:cubicBezTo>
                <a:cubicBezTo>
                  <a:pt x="5139417" y="4418971"/>
                  <a:pt x="5134912" y="4419933"/>
                  <a:pt x="5135875" y="4424436"/>
                </a:cubicBezTo>
                <a:cubicBezTo>
                  <a:pt x="5131371" y="4425399"/>
                  <a:pt x="5132334" y="4429903"/>
                  <a:pt x="5132334" y="4429903"/>
                </a:cubicBezTo>
                <a:cubicBezTo>
                  <a:pt x="5128792" y="4435370"/>
                  <a:pt x="5125249" y="4440835"/>
                  <a:pt x="5121707" y="4446302"/>
                </a:cubicBezTo>
                <a:cubicBezTo>
                  <a:pt x="5122670" y="4450806"/>
                  <a:pt x="5122670" y="4450806"/>
                  <a:pt x="5122670" y="4450806"/>
                </a:cubicBezTo>
                <a:cubicBezTo>
                  <a:pt x="5122670" y="4450806"/>
                  <a:pt x="5118166" y="4451768"/>
                  <a:pt x="5119128" y="4456272"/>
                </a:cubicBezTo>
                <a:cubicBezTo>
                  <a:pt x="5107541" y="4468167"/>
                  <a:pt x="5096915" y="4484566"/>
                  <a:pt x="5086289" y="4500965"/>
                </a:cubicBezTo>
                <a:cubicBezTo>
                  <a:pt x="5085327" y="4496461"/>
                  <a:pt x="5085327" y="4496461"/>
                  <a:pt x="5080824" y="4497423"/>
                </a:cubicBezTo>
                <a:cubicBezTo>
                  <a:pt x="5084365" y="4491957"/>
                  <a:pt x="5084365" y="4491957"/>
                  <a:pt x="5084365" y="4491957"/>
                </a:cubicBezTo>
                <a:cubicBezTo>
                  <a:pt x="5088869" y="4490995"/>
                  <a:pt x="5087907" y="4486491"/>
                  <a:pt x="5087907" y="4486491"/>
                </a:cubicBezTo>
                <a:cubicBezTo>
                  <a:pt x="5087907" y="4486491"/>
                  <a:pt x="5083403" y="4487453"/>
                  <a:pt x="5083403" y="4487453"/>
                </a:cubicBezTo>
                <a:cubicBezTo>
                  <a:pt x="5079862" y="4492920"/>
                  <a:pt x="5079862" y="4492920"/>
                  <a:pt x="5079862" y="4492920"/>
                </a:cubicBezTo>
                <a:cubicBezTo>
                  <a:pt x="5079862" y="4492920"/>
                  <a:pt x="5076319" y="4498385"/>
                  <a:pt x="5076319" y="4498385"/>
                </a:cubicBezTo>
                <a:cubicBezTo>
                  <a:pt x="5077282" y="4502890"/>
                  <a:pt x="5077282" y="4502890"/>
                  <a:pt x="5077282" y="4502890"/>
                </a:cubicBezTo>
                <a:cubicBezTo>
                  <a:pt x="5077282" y="4502890"/>
                  <a:pt x="5077282" y="4502890"/>
                  <a:pt x="5078244" y="4507394"/>
                </a:cubicBezTo>
                <a:cubicBezTo>
                  <a:pt x="5066656" y="4519289"/>
                  <a:pt x="5056030" y="4535688"/>
                  <a:pt x="5044443" y="4547582"/>
                </a:cubicBezTo>
                <a:cubicBezTo>
                  <a:pt x="5044443" y="4547582"/>
                  <a:pt x="5044443" y="4547582"/>
                  <a:pt x="5045405" y="4552086"/>
                </a:cubicBezTo>
                <a:cubicBezTo>
                  <a:pt x="5018688" y="4581343"/>
                  <a:pt x="4996475" y="4609636"/>
                  <a:pt x="4968796" y="4634389"/>
                </a:cubicBezTo>
                <a:cubicBezTo>
                  <a:pt x="4934994" y="4674578"/>
                  <a:pt x="4900232" y="4710262"/>
                  <a:pt x="4860964" y="4746909"/>
                </a:cubicBezTo>
                <a:cubicBezTo>
                  <a:pt x="4852918" y="4753338"/>
                  <a:pt x="4835864" y="4761691"/>
                  <a:pt x="4837789" y="4770699"/>
                </a:cubicBezTo>
                <a:cubicBezTo>
                  <a:pt x="4837789" y="4770699"/>
                  <a:pt x="4837789" y="4770699"/>
                  <a:pt x="4833284" y="4771662"/>
                </a:cubicBezTo>
                <a:cubicBezTo>
                  <a:pt x="4828781" y="4772624"/>
                  <a:pt x="4825239" y="4778090"/>
                  <a:pt x="4820735" y="4779052"/>
                </a:cubicBezTo>
                <a:cubicBezTo>
                  <a:pt x="4820735" y="4779052"/>
                  <a:pt x="4817192" y="4784519"/>
                  <a:pt x="4817192" y="4784519"/>
                </a:cubicBezTo>
                <a:cubicBezTo>
                  <a:pt x="4817192" y="4784519"/>
                  <a:pt x="4821697" y="4783556"/>
                  <a:pt x="4821697" y="4783556"/>
                </a:cubicBezTo>
                <a:cubicBezTo>
                  <a:pt x="4802064" y="4801880"/>
                  <a:pt x="4782430" y="4820203"/>
                  <a:pt x="4762796" y="4838527"/>
                </a:cubicBezTo>
                <a:cubicBezTo>
                  <a:pt x="4715484" y="4881602"/>
                  <a:pt x="4715484" y="4881602"/>
                  <a:pt x="4715484" y="4881602"/>
                </a:cubicBezTo>
                <a:cubicBezTo>
                  <a:pt x="4699392" y="4894460"/>
                  <a:pt x="4699392" y="4894460"/>
                  <a:pt x="4699392" y="4894460"/>
                </a:cubicBezTo>
                <a:cubicBezTo>
                  <a:pt x="4691345" y="4900888"/>
                  <a:pt x="4670750" y="4914708"/>
                  <a:pt x="4654658" y="4927565"/>
                </a:cubicBezTo>
                <a:cubicBezTo>
                  <a:pt x="4635024" y="4945888"/>
                  <a:pt x="4618932" y="4958746"/>
                  <a:pt x="4623437" y="4957784"/>
                </a:cubicBezTo>
                <a:cubicBezTo>
                  <a:pt x="4567115" y="5002783"/>
                  <a:pt x="4510794" y="5047783"/>
                  <a:pt x="4440960" y="5095671"/>
                </a:cubicBezTo>
                <a:cubicBezTo>
                  <a:pt x="4403311" y="5117843"/>
                  <a:pt x="4336057" y="5155760"/>
                  <a:pt x="4291323" y="5188865"/>
                </a:cubicBezTo>
                <a:cubicBezTo>
                  <a:pt x="4239199" y="5209421"/>
                  <a:pt x="4189961" y="5243488"/>
                  <a:pt x="4134296" y="5269510"/>
                </a:cubicBezTo>
                <a:cubicBezTo>
                  <a:pt x="4126249" y="5275939"/>
                  <a:pt x="4125287" y="5271434"/>
                  <a:pt x="4117242" y="5277863"/>
                </a:cubicBezTo>
                <a:cubicBezTo>
                  <a:pt x="4013954" y="5323478"/>
                  <a:pt x="3908744" y="5360084"/>
                  <a:pt x="3802571" y="5392188"/>
                </a:cubicBezTo>
                <a:cubicBezTo>
                  <a:pt x="3747232" y="5408720"/>
                  <a:pt x="3692538" y="5422760"/>
                  <a:pt x="3637806" y="5433865"/>
                </a:cubicBezTo>
                <a:lnTo>
                  <a:pt x="3560810" y="5445094"/>
                </a:lnTo>
                <a:lnTo>
                  <a:pt x="3576039" y="5442351"/>
                </a:lnTo>
                <a:cubicBezTo>
                  <a:pt x="3593372" y="5438059"/>
                  <a:pt x="3608895" y="5433565"/>
                  <a:pt x="3617903" y="5431641"/>
                </a:cubicBezTo>
                <a:cubicBezTo>
                  <a:pt x="3617903" y="5431641"/>
                  <a:pt x="3622408" y="5430679"/>
                  <a:pt x="3622408" y="5430679"/>
                </a:cubicBezTo>
                <a:cubicBezTo>
                  <a:pt x="3671952" y="5420094"/>
                  <a:pt x="3707984" y="5412396"/>
                  <a:pt x="3756567" y="5397306"/>
                </a:cubicBezTo>
                <a:cubicBezTo>
                  <a:pt x="3761071" y="5396344"/>
                  <a:pt x="3761071" y="5396344"/>
                  <a:pt x="3761071" y="5396344"/>
                </a:cubicBezTo>
                <a:cubicBezTo>
                  <a:pt x="3765576" y="5395381"/>
                  <a:pt x="3765576" y="5395381"/>
                  <a:pt x="3764613" y="5390877"/>
                </a:cubicBezTo>
                <a:cubicBezTo>
                  <a:pt x="3760109" y="5391839"/>
                  <a:pt x="3755605" y="5392802"/>
                  <a:pt x="3755605" y="5392802"/>
                </a:cubicBezTo>
                <a:cubicBezTo>
                  <a:pt x="3756567" y="5397306"/>
                  <a:pt x="3756567" y="5397306"/>
                  <a:pt x="3756567" y="5397306"/>
                </a:cubicBezTo>
                <a:cubicBezTo>
                  <a:pt x="3702519" y="5408853"/>
                  <a:pt x="3670990" y="5415589"/>
                  <a:pt x="3621445" y="5426174"/>
                </a:cubicBezTo>
                <a:cubicBezTo>
                  <a:pt x="3624986" y="5420708"/>
                  <a:pt x="3620483" y="5421670"/>
                  <a:pt x="3615016" y="5418129"/>
                </a:cubicBezTo>
                <a:cubicBezTo>
                  <a:pt x="3610512" y="5419091"/>
                  <a:pt x="3610512" y="5419091"/>
                  <a:pt x="3610512" y="5419091"/>
                </a:cubicBezTo>
                <a:cubicBezTo>
                  <a:pt x="3611474" y="5423595"/>
                  <a:pt x="3611474" y="5423595"/>
                  <a:pt x="3611474" y="5423595"/>
                </a:cubicBezTo>
                <a:cubicBezTo>
                  <a:pt x="3571900" y="5436759"/>
                  <a:pt x="3527514" y="5427403"/>
                  <a:pt x="3516889" y="5443802"/>
                </a:cubicBezTo>
                <a:cubicBezTo>
                  <a:pt x="3517851" y="5448307"/>
                  <a:pt x="3517851" y="5448307"/>
                  <a:pt x="3517851" y="5448307"/>
                </a:cubicBezTo>
                <a:cubicBezTo>
                  <a:pt x="3512384" y="5444765"/>
                  <a:pt x="3503377" y="5446689"/>
                  <a:pt x="3498872" y="5447651"/>
                </a:cubicBezTo>
                <a:cubicBezTo>
                  <a:pt x="3494368" y="5448614"/>
                  <a:pt x="3489865" y="5449576"/>
                  <a:pt x="3489865" y="5449576"/>
                </a:cubicBezTo>
                <a:cubicBezTo>
                  <a:pt x="3488902" y="5445073"/>
                  <a:pt x="3486978" y="5436064"/>
                  <a:pt x="3490519" y="5430598"/>
                </a:cubicBezTo>
                <a:cubicBezTo>
                  <a:pt x="3495023" y="5429636"/>
                  <a:pt x="3504032" y="5427711"/>
                  <a:pt x="3508535" y="5426749"/>
                </a:cubicBezTo>
                <a:cubicBezTo>
                  <a:pt x="3517544" y="5424825"/>
                  <a:pt x="3527514" y="5427403"/>
                  <a:pt x="3535561" y="5420975"/>
                </a:cubicBezTo>
                <a:cubicBezTo>
                  <a:pt x="3535561" y="5420975"/>
                  <a:pt x="3540064" y="5420013"/>
                  <a:pt x="3540064" y="5420013"/>
                </a:cubicBezTo>
                <a:cubicBezTo>
                  <a:pt x="3540064" y="5420013"/>
                  <a:pt x="3540064" y="5420013"/>
                  <a:pt x="3544568" y="5419051"/>
                </a:cubicBezTo>
                <a:cubicBezTo>
                  <a:pt x="3549073" y="5418089"/>
                  <a:pt x="3549073" y="5418089"/>
                  <a:pt x="3553577" y="5417126"/>
                </a:cubicBezTo>
                <a:cubicBezTo>
                  <a:pt x="3558080" y="5416164"/>
                  <a:pt x="3558080" y="5416164"/>
                  <a:pt x="3558080" y="5416164"/>
                </a:cubicBezTo>
                <a:cubicBezTo>
                  <a:pt x="3558080" y="5416164"/>
                  <a:pt x="3557118" y="5411660"/>
                  <a:pt x="3552615" y="5412622"/>
                </a:cubicBezTo>
                <a:cubicBezTo>
                  <a:pt x="3548110" y="5413584"/>
                  <a:pt x="3543606" y="5414547"/>
                  <a:pt x="3543606" y="5414547"/>
                </a:cubicBezTo>
                <a:cubicBezTo>
                  <a:pt x="3539102" y="5415509"/>
                  <a:pt x="3539102" y="5415509"/>
                  <a:pt x="3539102" y="5415509"/>
                </a:cubicBezTo>
                <a:cubicBezTo>
                  <a:pt x="3542644" y="5410042"/>
                  <a:pt x="3538139" y="5411005"/>
                  <a:pt x="3538139" y="5411005"/>
                </a:cubicBezTo>
                <a:cubicBezTo>
                  <a:pt x="3533636" y="5411967"/>
                  <a:pt x="3533636" y="5411967"/>
                  <a:pt x="3533636" y="5411967"/>
                </a:cubicBezTo>
                <a:cubicBezTo>
                  <a:pt x="3533636" y="5411967"/>
                  <a:pt x="3529132" y="5412929"/>
                  <a:pt x="3529132" y="5412929"/>
                </a:cubicBezTo>
                <a:cubicBezTo>
                  <a:pt x="3530094" y="5417433"/>
                  <a:pt x="3530094" y="5417433"/>
                  <a:pt x="3530094" y="5417433"/>
                </a:cubicBezTo>
                <a:cubicBezTo>
                  <a:pt x="3526552" y="5422900"/>
                  <a:pt x="3516582" y="5420320"/>
                  <a:pt x="3507573" y="5422245"/>
                </a:cubicBezTo>
                <a:cubicBezTo>
                  <a:pt x="3503070" y="5423207"/>
                  <a:pt x="3498565" y="5424169"/>
                  <a:pt x="3489557" y="5426094"/>
                </a:cubicBezTo>
                <a:cubicBezTo>
                  <a:pt x="3462533" y="5431868"/>
                  <a:pt x="3462533" y="5431868"/>
                  <a:pt x="3462533" y="5431868"/>
                </a:cubicBezTo>
                <a:cubicBezTo>
                  <a:pt x="3457066" y="5428326"/>
                  <a:pt x="3458028" y="5432830"/>
                  <a:pt x="3458028" y="5432830"/>
                </a:cubicBezTo>
                <a:cubicBezTo>
                  <a:pt x="3458028" y="5432830"/>
                  <a:pt x="3458991" y="5437334"/>
                  <a:pt x="3463495" y="5436372"/>
                </a:cubicBezTo>
                <a:cubicBezTo>
                  <a:pt x="3481511" y="5432523"/>
                  <a:pt x="3481511" y="5432523"/>
                  <a:pt x="3481511" y="5432523"/>
                </a:cubicBezTo>
                <a:cubicBezTo>
                  <a:pt x="3477969" y="5437988"/>
                  <a:pt x="3475389" y="5447960"/>
                  <a:pt x="3476352" y="5452463"/>
                </a:cubicBezTo>
                <a:cubicBezTo>
                  <a:pt x="3471848" y="5453425"/>
                  <a:pt x="3467344" y="5454387"/>
                  <a:pt x="3467344" y="5454387"/>
                </a:cubicBezTo>
                <a:cubicBezTo>
                  <a:pt x="3462839" y="5455350"/>
                  <a:pt x="3462839" y="5455350"/>
                  <a:pt x="3462839" y="5455350"/>
                </a:cubicBezTo>
                <a:cubicBezTo>
                  <a:pt x="3466382" y="5449884"/>
                  <a:pt x="3466382" y="5449884"/>
                  <a:pt x="3466382" y="5449884"/>
                </a:cubicBezTo>
                <a:cubicBezTo>
                  <a:pt x="3466382" y="5449884"/>
                  <a:pt x="3461877" y="5450846"/>
                  <a:pt x="3460915" y="5446342"/>
                </a:cubicBezTo>
                <a:cubicBezTo>
                  <a:pt x="3456412" y="5447304"/>
                  <a:pt x="3457374" y="5451808"/>
                  <a:pt x="3452870" y="5452771"/>
                </a:cubicBezTo>
                <a:cubicBezTo>
                  <a:pt x="3452870" y="5452771"/>
                  <a:pt x="3448365" y="5453733"/>
                  <a:pt x="3448365" y="5453733"/>
                </a:cubicBezTo>
                <a:cubicBezTo>
                  <a:pt x="3443861" y="5454695"/>
                  <a:pt x="3438395" y="5451153"/>
                  <a:pt x="3429387" y="5453078"/>
                </a:cubicBezTo>
                <a:cubicBezTo>
                  <a:pt x="3411370" y="5456927"/>
                  <a:pt x="3432929" y="5447611"/>
                  <a:pt x="3418454" y="5445995"/>
                </a:cubicBezTo>
                <a:cubicBezTo>
                  <a:pt x="3411370" y="5456927"/>
                  <a:pt x="3395934" y="5450806"/>
                  <a:pt x="3385964" y="5448226"/>
                </a:cubicBezTo>
                <a:cubicBezTo>
                  <a:pt x="3386926" y="5452731"/>
                  <a:pt x="3387888" y="5457234"/>
                  <a:pt x="3383384" y="5458196"/>
                </a:cubicBezTo>
                <a:cubicBezTo>
                  <a:pt x="3382422" y="5453693"/>
                  <a:pt x="3381459" y="5449188"/>
                  <a:pt x="3376955" y="5450151"/>
                </a:cubicBezTo>
                <a:cubicBezTo>
                  <a:pt x="3373414" y="5455617"/>
                  <a:pt x="3359901" y="5458504"/>
                  <a:pt x="3350893" y="5460429"/>
                </a:cubicBezTo>
                <a:cubicBezTo>
                  <a:pt x="3353473" y="5450458"/>
                  <a:pt x="3321944" y="5457194"/>
                  <a:pt x="3318402" y="5462660"/>
                </a:cubicBezTo>
                <a:cubicBezTo>
                  <a:pt x="3313898" y="5463623"/>
                  <a:pt x="3313898" y="5463623"/>
                  <a:pt x="3313898" y="5463623"/>
                </a:cubicBezTo>
                <a:cubicBezTo>
                  <a:pt x="3300386" y="5466509"/>
                  <a:pt x="3311973" y="5454614"/>
                  <a:pt x="3298461" y="5457501"/>
                </a:cubicBezTo>
                <a:cubicBezTo>
                  <a:pt x="3290416" y="5463930"/>
                  <a:pt x="3286874" y="5469396"/>
                  <a:pt x="3263391" y="5469703"/>
                </a:cubicBezTo>
                <a:cubicBezTo>
                  <a:pt x="3253421" y="5467123"/>
                  <a:pt x="3238946" y="5465507"/>
                  <a:pt x="3225433" y="5468394"/>
                </a:cubicBezTo>
                <a:cubicBezTo>
                  <a:pt x="3220930" y="5469356"/>
                  <a:pt x="3211921" y="5471281"/>
                  <a:pt x="3206456" y="5467738"/>
                </a:cubicBezTo>
                <a:cubicBezTo>
                  <a:pt x="3178468" y="5469008"/>
                  <a:pt x="3200989" y="5464196"/>
                  <a:pt x="3181048" y="5459038"/>
                </a:cubicBezTo>
                <a:cubicBezTo>
                  <a:pt x="3164956" y="5471895"/>
                  <a:pt x="3105133" y="5456418"/>
                  <a:pt x="3088079" y="5464771"/>
                </a:cubicBezTo>
                <a:cubicBezTo>
                  <a:pt x="3108020" y="5469930"/>
                  <a:pt x="3070064" y="5468620"/>
                  <a:pt x="3070064" y="5468620"/>
                </a:cubicBezTo>
                <a:cubicBezTo>
                  <a:pt x="3065559" y="5469583"/>
                  <a:pt x="3061055" y="5470545"/>
                  <a:pt x="3056551" y="5471507"/>
                </a:cubicBezTo>
                <a:cubicBezTo>
                  <a:pt x="2999616" y="5469542"/>
                  <a:pt x="2967125" y="5471774"/>
                  <a:pt x="2934326" y="5450524"/>
                </a:cubicBezTo>
                <a:cubicBezTo>
                  <a:pt x="2931747" y="5460493"/>
                  <a:pt x="2895408" y="5444710"/>
                  <a:pt x="2882857" y="5452101"/>
                </a:cubicBezTo>
                <a:cubicBezTo>
                  <a:pt x="2892828" y="5454680"/>
                  <a:pt x="2858412" y="5447903"/>
                  <a:pt x="2853908" y="5448866"/>
                </a:cubicBezTo>
                <a:cubicBezTo>
                  <a:pt x="2853908" y="5448866"/>
                  <a:pt x="2858412" y="5447903"/>
                  <a:pt x="2858412" y="5447903"/>
                </a:cubicBezTo>
                <a:cubicBezTo>
                  <a:pt x="2821417" y="5451098"/>
                  <a:pt x="2791506" y="5443359"/>
                  <a:pt x="2748082" y="5438507"/>
                </a:cubicBezTo>
                <a:cubicBezTo>
                  <a:pt x="2759016" y="5445591"/>
                  <a:pt x="2732646" y="5432386"/>
                  <a:pt x="2730066" y="5442356"/>
                </a:cubicBezTo>
                <a:cubicBezTo>
                  <a:pt x="2728141" y="5433349"/>
                  <a:pt x="2711087" y="5441702"/>
                  <a:pt x="2695651" y="5435580"/>
                </a:cubicBezTo>
                <a:cubicBezTo>
                  <a:pt x="2714629" y="5436236"/>
                  <a:pt x="2700810" y="5415640"/>
                  <a:pt x="2699193" y="5430115"/>
                </a:cubicBezTo>
                <a:cubicBezTo>
                  <a:pt x="2671206" y="5431384"/>
                  <a:pt x="2644837" y="5418179"/>
                  <a:pt x="2625858" y="5417524"/>
                </a:cubicBezTo>
                <a:cubicBezTo>
                  <a:pt x="2636790" y="5424608"/>
                  <a:pt x="2606879" y="5416869"/>
                  <a:pt x="2592405" y="5415252"/>
                </a:cubicBezTo>
                <a:cubicBezTo>
                  <a:pt x="2592405" y="5415252"/>
                  <a:pt x="2596909" y="5414289"/>
                  <a:pt x="2601413" y="5413327"/>
                </a:cubicBezTo>
                <a:cubicBezTo>
                  <a:pt x="2566997" y="5406551"/>
                  <a:pt x="2548018" y="5405896"/>
                  <a:pt x="2528079" y="5400737"/>
                </a:cubicBezTo>
                <a:cubicBezTo>
                  <a:pt x="2508137" y="5395578"/>
                  <a:pt x="2489159" y="5394923"/>
                  <a:pt x="2448315" y="5380101"/>
                </a:cubicBezTo>
                <a:cubicBezTo>
                  <a:pt x="2448315" y="5380101"/>
                  <a:pt x="2457322" y="5378176"/>
                  <a:pt x="2442848" y="5376560"/>
                </a:cubicBezTo>
                <a:cubicBezTo>
                  <a:pt x="2428374" y="5374942"/>
                  <a:pt x="2449277" y="5384605"/>
                  <a:pt x="2429336" y="5379447"/>
                </a:cubicBezTo>
                <a:cubicBezTo>
                  <a:pt x="2412937" y="5368821"/>
                  <a:pt x="2398463" y="5367204"/>
                  <a:pt x="2384951" y="5370091"/>
                </a:cubicBezTo>
                <a:cubicBezTo>
                  <a:pt x="2373055" y="5358503"/>
                  <a:pt x="2374017" y="5363006"/>
                  <a:pt x="2372093" y="5353999"/>
                </a:cubicBezTo>
                <a:cubicBezTo>
                  <a:pt x="2363085" y="5355923"/>
                  <a:pt x="2358581" y="5356886"/>
                  <a:pt x="2344107" y="5355268"/>
                </a:cubicBezTo>
                <a:cubicBezTo>
                  <a:pt x="2343144" y="5350765"/>
                  <a:pt x="2353114" y="5353344"/>
                  <a:pt x="2343144" y="5350765"/>
                </a:cubicBezTo>
                <a:cubicBezTo>
                  <a:pt x="2324166" y="5350109"/>
                  <a:pt x="2301338" y="5331439"/>
                  <a:pt x="2273352" y="5332708"/>
                </a:cubicBezTo>
                <a:cubicBezTo>
                  <a:pt x="2271427" y="5323699"/>
                  <a:pt x="2287826" y="5334326"/>
                  <a:pt x="2292330" y="5333363"/>
                </a:cubicBezTo>
                <a:cubicBezTo>
                  <a:pt x="2270465" y="5319196"/>
                  <a:pt x="2247944" y="5324007"/>
                  <a:pt x="2235087" y="5307915"/>
                </a:cubicBezTo>
                <a:cubicBezTo>
                  <a:pt x="2226078" y="5309840"/>
                  <a:pt x="2246982" y="5319503"/>
                  <a:pt x="2231545" y="5313382"/>
                </a:cubicBezTo>
                <a:cubicBezTo>
                  <a:pt x="2236049" y="5312420"/>
                  <a:pt x="2229620" y="5304373"/>
                  <a:pt x="2215146" y="5302757"/>
                </a:cubicBezTo>
                <a:cubicBezTo>
                  <a:pt x="2202596" y="5310147"/>
                  <a:pt x="2178806" y="5286972"/>
                  <a:pt x="2180731" y="5295981"/>
                </a:cubicBezTo>
                <a:cubicBezTo>
                  <a:pt x="2175264" y="5292439"/>
                  <a:pt x="2169798" y="5288897"/>
                  <a:pt x="2164331" y="5285355"/>
                </a:cubicBezTo>
                <a:cubicBezTo>
                  <a:pt x="2164331" y="5285355"/>
                  <a:pt x="2164331" y="5285355"/>
                  <a:pt x="2159828" y="5286317"/>
                </a:cubicBezTo>
                <a:cubicBezTo>
                  <a:pt x="2165293" y="5289859"/>
                  <a:pt x="2170760" y="5293401"/>
                  <a:pt x="2170760" y="5293401"/>
                </a:cubicBezTo>
                <a:cubicBezTo>
                  <a:pt x="2156286" y="5291783"/>
                  <a:pt x="2144391" y="5280196"/>
                  <a:pt x="2132496" y="5268608"/>
                </a:cubicBezTo>
                <a:cubicBezTo>
                  <a:pt x="2128954" y="5274075"/>
                  <a:pt x="2123488" y="5270533"/>
                  <a:pt x="2117059" y="5262487"/>
                </a:cubicBezTo>
                <a:cubicBezTo>
                  <a:pt x="2108050" y="5264412"/>
                  <a:pt x="2114479" y="5272458"/>
                  <a:pt x="2119946" y="5276000"/>
                </a:cubicBezTo>
                <a:cubicBezTo>
                  <a:pt x="2115441" y="5276962"/>
                  <a:pt x="2115441" y="5276962"/>
                  <a:pt x="2115441" y="5276962"/>
                </a:cubicBezTo>
                <a:cubicBezTo>
                  <a:pt x="2109012" y="5268916"/>
                  <a:pt x="2084568" y="5264719"/>
                  <a:pt x="2083606" y="5260215"/>
                </a:cubicBezTo>
                <a:cubicBezTo>
                  <a:pt x="2082644" y="5255711"/>
                  <a:pt x="2082644" y="5255711"/>
                  <a:pt x="2082644" y="5255711"/>
                </a:cubicBezTo>
                <a:cubicBezTo>
                  <a:pt x="2088110" y="5259252"/>
                  <a:pt x="2092614" y="5258290"/>
                  <a:pt x="2092614" y="5258290"/>
                </a:cubicBezTo>
                <a:cubicBezTo>
                  <a:pt x="2098080" y="5261832"/>
                  <a:pt x="2098080" y="5261832"/>
                  <a:pt x="2098080" y="5261832"/>
                </a:cubicBezTo>
                <a:cubicBezTo>
                  <a:pt x="2102585" y="5260870"/>
                  <a:pt x="2097118" y="5257328"/>
                  <a:pt x="2097118" y="5257328"/>
                </a:cubicBezTo>
                <a:cubicBezTo>
                  <a:pt x="2091652" y="5253787"/>
                  <a:pt x="2086186" y="5250245"/>
                  <a:pt x="2081681" y="5251207"/>
                </a:cubicBezTo>
                <a:cubicBezTo>
                  <a:pt x="2085223" y="5245740"/>
                  <a:pt x="2037295" y="5241851"/>
                  <a:pt x="2059816" y="5237040"/>
                </a:cubicBezTo>
                <a:cubicBezTo>
                  <a:pt x="2045342" y="5235422"/>
                  <a:pt x="2029905" y="5229301"/>
                  <a:pt x="2014467" y="5223180"/>
                </a:cubicBezTo>
                <a:cubicBezTo>
                  <a:pt x="2003535" y="5216096"/>
                  <a:pt x="1992603" y="5209013"/>
                  <a:pt x="1987136" y="5205471"/>
                </a:cubicBezTo>
                <a:cubicBezTo>
                  <a:pt x="1986174" y="5200967"/>
                  <a:pt x="1986174" y="5200967"/>
                  <a:pt x="1981670" y="5201929"/>
                </a:cubicBezTo>
                <a:cubicBezTo>
                  <a:pt x="1981670" y="5201929"/>
                  <a:pt x="1980707" y="5197426"/>
                  <a:pt x="1977165" y="5202891"/>
                </a:cubicBezTo>
                <a:cubicBezTo>
                  <a:pt x="1955300" y="5188725"/>
                  <a:pt x="1917036" y="5163932"/>
                  <a:pt x="1895171" y="5149765"/>
                </a:cubicBezTo>
                <a:cubicBezTo>
                  <a:pt x="1884238" y="5142682"/>
                  <a:pt x="1876847" y="5130132"/>
                  <a:pt x="1865914" y="5123048"/>
                </a:cubicBezTo>
                <a:cubicBezTo>
                  <a:pt x="1815754" y="5086668"/>
                  <a:pt x="1758511" y="5061221"/>
                  <a:pt x="1715436" y="5013908"/>
                </a:cubicBezTo>
                <a:cubicBezTo>
                  <a:pt x="1663659" y="4992003"/>
                  <a:pt x="1636982" y="4955315"/>
                  <a:pt x="1588748" y="4927943"/>
                </a:cubicBezTo>
                <a:cubicBezTo>
                  <a:pt x="1595177" y="4935989"/>
                  <a:pt x="1601605" y="4944035"/>
                  <a:pt x="1598064" y="4949501"/>
                </a:cubicBezTo>
                <a:cubicBezTo>
                  <a:pt x="1581664" y="4938876"/>
                  <a:pt x="1576198" y="4935335"/>
                  <a:pt x="1564303" y="4923746"/>
                </a:cubicBezTo>
                <a:cubicBezTo>
                  <a:pt x="1558836" y="4920205"/>
                  <a:pt x="1553371" y="4916663"/>
                  <a:pt x="1547904" y="4913121"/>
                </a:cubicBezTo>
                <a:cubicBezTo>
                  <a:pt x="1546942" y="4908617"/>
                  <a:pt x="1545017" y="4899609"/>
                  <a:pt x="1545979" y="4904113"/>
                </a:cubicBezTo>
                <a:cubicBezTo>
                  <a:pt x="1539551" y="4896067"/>
                  <a:pt x="1540513" y="4900571"/>
                  <a:pt x="1541475" y="4905075"/>
                </a:cubicBezTo>
                <a:cubicBezTo>
                  <a:pt x="1507715" y="4879321"/>
                  <a:pt x="1520265" y="4871929"/>
                  <a:pt x="1523807" y="4866464"/>
                </a:cubicBezTo>
                <a:cubicBezTo>
                  <a:pt x="1522845" y="4861959"/>
                  <a:pt x="1522845" y="4861959"/>
                  <a:pt x="1517378" y="4858417"/>
                </a:cubicBezTo>
                <a:cubicBezTo>
                  <a:pt x="1517378" y="4858417"/>
                  <a:pt x="1515454" y="4849410"/>
                  <a:pt x="1511912" y="4854876"/>
                </a:cubicBezTo>
                <a:cubicBezTo>
                  <a:pt x="1511912" y="4854876"/>
                  <a:pt x="1510949" y="4850372"/>
                  <a:pt x="1506446" y="4851334"/>
                </a:cubicBezTo>
                <a:cubicBezTo>
                  <a:pt x="1513529" y="4840401"/>
                  <a:pt x="1492626" y="4830738"/>
                  <a:pt x="1483618" y="4832662"/>
                </a:cubicBezTo>
                <a:cubicBezTo>
                  <a:pt x="1482656" y="4828159"/>
                  <a:pt x="1478151" y="4829121"/>
                  <a:pt x="1478151" y="4829121"/>
                </a:cubicBezTo>
                <a:cubicBezTo>
                  <a:pt x="1473647" y="4830084"/>
                  <a:pt x="1473647" y="4830084"/>
                  <a:pt x="1479114" y="4833625"/>
                </a:cubicBezTo>
                <a:cubicBezTo>
                  <a:pt x="1480076" y="4838129"/>
                  <a:pt x="1485543" y="4841671"/>
                  <a:pt x="1485543" y="4841671"/>
                </a:cubicBezTo>
                <a:cubicBezTo>
                  <a:pt x="1482000" y="4847137"/>
                  <a:pt x="1458210" y="4823962"/>
                  <a:pt x="1462060" y="4841978"/>
                </a:cubicBezTo>
                <a:cubicBezTo>
                  <a:pt x="1461097" y="4837474"/>
                  <a:pt x="1461097" y="4837474"/>
                  <a:pt x="1461097" y="4837474"/>
                </a:cubicBezTo>
                <a:cubicBezTo>
                  <a:pt x="1442774" y="4817841"/>
                  <a:pt x="1394232" y="4766987"/>
                  <a:pt x="1435076" y="4781808"/>
                </a:cubicBezTo>
                <a:cubicBezTo>
                  <a:pt x="1434114" y="4777305"/>
                  <a:pt x="1434114" y="4777305"/>
                  <a:pt x="1429609" y="4778267"/>
                </a:cubicBezTo>
                <a:cubicBezTo>
                  <a:pt x="1428647" y="4773763"/>
                  <a:pt x="1428647" y="4773763"/>
                  <a:pt x="1428647" y="4773763"/>
                </a:cubicBezTo>
                <a:cubicBezTo>
                  <a:pt x="1415790" y="4757671"/>
                  <a:pt x="1404857" y="4750588"/>
                  <a:pt x="1391038" y="4729991"/>
                </a:cubicBezTo>
                <a:cubicBezTo>
                  <a:pt x="1388458" y="4739962"/>
                  <a:pt x="1369172" y="4715825"/>
                  <a:pt x="1363706" y="4712283"/>
                </a:cubicBezTo>
                <a:cubicBezTo>
                  <a:pt x="1363706" y="4712283"/>
                  <a:pt x="1363706" y="4712283"/>
                  <a:pt x="1362744" y="4707779"/>
                </a:cubicBezTo>
                <a:cubicBezTo>
                  <a:pt x="1362744" y="4707779"/>
                  <a:pt x="1358239" y="4708741"/>
                  <a:pt x="1358239" y="4708741"/>
                </a:cubicBezTo>
                <a:cubicBezTo>
                  <a:pt x="1352773" y="4705200"/>
                  <a:pt x="1352773" y="4705200"/>
                  <a:pt x="1347307" y="4701658"/>
                </a:cubicBezTo>
                <a:cubicBezTo>
                  <a:pt x="1348269" y="4706162"/>
                  <a:pt x="1348269" y="4706162"/>
                  <a:pt x="1348269" y="4706162"/>
                </a:cubicBezTo>
                <a:cubicBezTo>
                  <a:pt x="1353736" y="4709703"/>
                  <a:pt x="1353736" y="4709703"/>
                  <a:pt x="1354698" y="4714207"/>
                </a:cubicBezTo>
                <a:cubicBezTo>
                  <a:pt x="1354698" y="4714207"/>
                  <a:pt x="1344727" y="4711628"/>
                  <a:pt x="1338299" y="4703582"/>
                </a:cubicBezTo>
                <a:cubicBezTo>
                  <a:pt x="1332832" y="4700040"/>
                  <a:pt x="1321899" y="4692957"/>
                  <a:pt x="1318358" y="4698423"/>
                </a:cubicBezTo>
                <a:cubicBezTo>
                  <a:pt x="1316434" y="4689415"/>
                  <a:pt x="1310005" y="4681370"/>
                  <a:pt x="1303576" y="4673323"/>
                </a:cubicBezTo>
                <a:cubicBezTo>
                  <a:pt x="1308080" y="4672361"/>
                  <a:pt x="1308080" y="4672361"/>
                  <a:pt x="1308080" y="4672361"/>
                </a:cubicBezTo>
                <a:cubicBezTo>
                  <a:pt x="1307118" y="4667857"/>
                  <a:pt x="1307118" y="4667857"/>
                  <a:pt x="1307118" y="4667857"/>
                </a:cubicBezTo>
                <a:cubicBezTo>
                  <a:pt x="1307118" y="4667857"/>
                  <a:pt x="1306156" y="4663353"/>
                  <a:pt x="1301651" y="4664315"/>
                </a:cubicBezTo>
                <a:cubicBezTo>
                  <a:pt x="1300689" y="4659811"/>
                  <a:pt x="1295223" y="4656270"/>
                  <a:pt x="1294261" y="4651766"/>
                </a:cubicBezTo>
                <a:cubicBezTo>
                  <a:pt x="1289757" y="4652728"/>
                  <a:pt x="1288794" y="4648223"/>
                  <a:pt x="1288794" y="4648223"/>
                </a:cubicBezTo>
                <a:cubicBezTo>
                  <a:pt x="1282366" y="4640178"/>
                  <a:pt x="1281403" y="4635674"/>
                  <a:pt x="1284945" y="4630207"/>
                </a:cubicBezTo>
                <a:cubicBezTo>
                  <a:pt x="1292336" y="4642757"/>
                  <a:pt x="1298764" y="4650803"/>
                  <a:pt x="1303269" y="4649841"/>
                </a:cubicBezTo>
                <a:cubicBezTo>
                  <a:pt x="1296840" y="4641795"/>
                  <a:pt x="1301344" y="4640832"/>
                  <a:pt x="1300382" y="4636329"/>
                </a:cubicBezTo>
                <a:cubicBezTo>
                  <a:pt x="1294915" y="4632787"/>
                  <a:pt x="1293953" y="4628283"/>
                  <a:pt x="1288488" y="4624741"/>
                </a:cubicBezTo>
                <a:cubicBezTo>
                  <a:pt x="1272743" y="4595138"/>
                  <a:pt x="1250571" y="4557488"/>
                  <a:pt x="1225818" y="4529809"/>
                </a:cubicBezTo>
                <a:cubicBezTo>
                  <a:pt x="1213924" y="4518221"/>
                  <a:pt x="1196561" y="4503092"/>
                  <a:pt x="1185629" y="4496009"/>
                </a:cubicBezTo>
                <a:cubicBezTo>
                  <a:pt x="1184667" y="4491504"/>
                  <a:pt x="1184667" y="4491504"/>
                  <a:pt x="1189171" y="4490542"/>
                </a:cubicBezTo>
                <a:cubicBezTo>
                  <a:pt x="1188209" y="4486037"/>
                  <a:pt x="1188209" y="4486037"/>
                  <a:pt x="1182742" y="4482495"/>
                </a:cubicBezTo>
                <a:cubicBezTo>
                  <a:pt x="1181780" y="4477992"/>
                  <a:pt x="1177276" y="4478954"/>
                  <a:pt x="1177276" y="4478954"/>
                </a:cubicBezTo>
                <a:cubicBezTo>
                  <a:pt x="1177276" y="4478954"/>
                  <a:pt x="1178238" y="4483458"/>
                  <a:pt x="1178238" y="4483458"/>
                </a:cubicBezTo>
                <a:cubicBezTo>
                  <a:pt x="1172772" y="4479917"/>
                  <a:pt x="1171809" y="4475412"/>
                  <a:pt x="1166343" y="4471870"/>
                </a:cubicBezTo>
                <a:cubicBezTo>
                  <a:pt x="1166343" y="4471870"/>
                  <a:pt x="1165381" y="4467367"/>
                  <a:pt x="1169885" y="4466405"/>
                </a:cubicBezTo>
                <a:cubicBezTo>
                  <a:pt x="1157990" y="4454817"/>
                  <a:pt x="1146096" y="4443229"/>
                  <a:pt x="1139667" y="4435183"/>
                </a:cubicBezTo>
                <a:cubicBezTo>
                  <a:pt x="1139667" y="4435183"/>
                  <a:pt x="1139667" y="4435183"/>
                  <a:pt x="1138704" y="4430679"/>
                </a:cubicBezTo>
                <a:cubicBezTo>
                  <a:pt x="1138704" y="4430679"/>
                  <a:pt x="1134200" y="4431641"/>
                  <a:pt x="1134200" y="4431641"/>
                </a:cubicBezTo>
                <a:cubicBezTo>
                  <a:pt x="1129696" y="4432603"/>
                  <a:pt x="1129696" y="4432603"/>
                  <a:pt x="1129696" y="4432603"/>
                </a:cubicBezTo>
                <a:cubicBezTo>
                  <a:pt x="1129696" y="4432603"/>
                  <a:pt x="1129696" y="4432603"/>
                  <a:pt x="1128734" y="4428100"/>
                </a:cubicBezTo>
                <a:cubicBezTo>
                  <a:pt x="1123268" y="4424558"/>
                  <a:pt x="1118764" y="4425520"/>
                  <a:pt x="1118764" y="4425520"/>
                </a:cubicBezTo>
                <a:lnTo>
                  <a:pt x="1120688" y="4434529"/>
                </a:lnTo>
                <a:lnTo>
                  <a:pt x="1115221" y="4430987"/>
                </a:lnTo>
                <a:cubicBezTo>
                  <a:pt x="1108794" y="4422940"/>
                  <a:pt x="1095936" y="4406849"/>
                  <a:pt x="1091431" y="4407812"/>
                </a:cubicBezTo>
                <a:cubicBezTo>
                  <a:pt x="1070221" y="4374666"/>
                  <a:pt x="1076650" y="4382711"/>
                  <a:pt x="1073763" y="4369199"/>
                </a:cubicBezTo>
                <a:cubicBezTo>
                  <a:pt x="1059943" y="4348604"/>
                  <a:pt x="1072146" y="4383673"/>
                  <a:pt x="1063792" y="4366620"/>
                </a:cubicBezTo>
                <a:cubicBezTo>
                  <a:pt x="1062830" y="4362116"/>
                  <a:pt x="1069915" y="4351183"/>
                  <a:pt x="1058981" y="4344100"/>
                </a:cubicBezTo>
                <a:cubicBezTo>
                  <a:pt x="1060906" y="4353108"/>
                  <a:pt x="1057364" y="4358574"/>
                  <a:pt x="1050936" y="4350528"/>
                </a:cubicBezTo>
                <a:cubicBezTo>
                  <a:pt x="1056402" y="4354070"/>
                  <a:pt x="1052553" y="4336054"/>
                  <a:pt x="1048049" y="4337016"/>
                </a:cubicBezTo>
                <a:cubicBezTo>
                  <a:pt x="1031650" y="4326391"/>
                  <a:pt x="1013674" y="4264296"/>
                  <a:pt x="988922" y="4236617"/>
                </a:cubicBezTo>
                <a:cubicBezTo>
                  <a:pt x="996006" y="4225685"/>
                  <a:pt x="979606" y="4215060"/>
                  <a:pt x="981224" y="4200585"/>
                </a:cubicBezTo>
                <a:cubicBezTo>
                  <a:pt x="974140" y="4211517"/>
                  <a:pt x="955509" y="4168401"/>
                  <a:pt x="970291" y="4193501"/>
                </a:cubicBezTo>
                <a:cubicBezTo>
                  <a:pt x="962900" y="4180951"/>
                  <a:pt x="956471" y="4172906"/>
                  <a:pt x="953584" y="4159394"/>
                </a:cubicBezTo>
                <a:cubicBezTo>
                  <a:pt x="950043" y="4164859"/>
                  <a:pt x="951968" y="4173868"/>
                  <a:pt x="943614" y="4156814"/>
                </a:cubicBezTo>
                <a:cubicBezTo>
                  <a:pt x="943614" y="4156814"/>
                  <a:pt x="948119" y="4155851"/>
                  <a:pt x="947156" y="4151347"/>
                </a:cubicBezTo>
                <a:cubicBezTo>
                  <a:pt x="932681" y="4149731"/>
                  <a:pt x="938496" y="4110811"/>
                  <a:pt x="918555" y="4105652"/>
                </a:cubicBezTo>
                <a:cubicBezTo>
                  <a:pt x="925638" y="4094719"/>
                  <a:pt x="903773" y="4080553"/>
                  <a:pt x="910857" y="4069620"/>
                </a:cubicBezTo>
                <a:cubicBezTo>
                  <a:pt x="904428" y="4061574"/>
                  <a:pt x="899924" y="4062536"/>
                  <a:pt x="892533" y="4049987"/>
                </a:cubicBezTo>
                <a:cubicBezTo>
                  <a:pt x="908932" y="4060612"/>
                  <a:pt x="888684" y="4031970"/>
                  <a:pt x="891263" y="4022000"/>
                </a:cubicBezTo>
                <a:cubicBezTo>
                  <a:pt x="875826" y="4015878"/>
                  <a:pt x="878099" y="3982425"/>
                  <a:pt x="869091" y="3984350"/>
                </a:cubicBezTo>
                <a:cubicBezTo>
                  <a:pt x="866204" y="3970838"/>
                  <a:pt x="866204" y="3970838"/>
                  <a:pt x="873595" y="3983387"/>
                </a:cubicBezTo>
                <a:cubicBezTo>
                  <a:pt x="865242" y="3966334"/>
                  <a:pt x="855926" y="3944776"/>
                  <a:pt x="852077" y="3926760"/>
                </a:cubicBezTo>
                <a:cubicBezTo>
                  <a:pt x="857543" y="3930302"/>
                  <a:pt x="858506" y="3934806"/>
                  <a:pt x="863010" y="3933844"/>
                </a:cubicBezTo>
                <a:lnTo>
                  <a:pt x="869247" y="3944432"/>
                </a:lnTo>
                <a:lnTo>
                  <a:pt x="868668" y="3952062"/>
                </a:lnTo>
                <a:cubicBezTo>
                  <a:pt x="868706" y="3954997"/>
                  <a:pt x="867822" y="3956363"/>
                  <a:pt x="862355" y="3952821"/>
                </a:cubicBezTo>
                <a:cubicBezTo>
                  <a:pt x="868784" y="3960868"/>
                  <a:pt x="870708" y="3969875"/>
                  <a:pt x="875212" y="3968913"/>
                </a:cubicBezTo>
                <a:cubicBezTo>
                  <a:pt x="877137" y="3977922"/>
                  <a:pt x="884528" y="3990472"/>
                  <a:pt x="890956" y="3998517"/>
                </a:cubicBezTo>
                <a:cubicBezTo>
                  <a:pt x="891918" y="4003022"/>
                  <a:pt x="891918" y="4003022"/>
                  <a:pt x="891918" y="4003022"/>
                </a:cubicBezTo>
                <a:cubicBezTo>
                  <a:pt x="892881" y="4007525"/>
                  <a:pt x="892881" y="4007525"/>
                  <a:pt x="892881" y="4007525"/>
                </a:cubicBezTo>
                <a:cubicBezTo>
                  <a:pt x="897385" y="4006563"/>
                  <a:pt x="897385" y="4006563"/>
                  <a:pt x="897385" y="4006563"/>
                </a:cubicBezTo>
                <a:cubicBezTo>
                  <a:pt x="897385" y="4006563"/>
                  <a:pt x="899964" y="3996593"/>
                  <a:pt x="897077" y="3983081"/>
                </a:cubicBezTo>
                <a:cubicBezTo>
                  <a:pt x="891611" y="3979538"/>
                  <a:pt x="891611" y="3979538"/>
                  <a:pt x="891611" y="3979538"/>
                </a:cubicBezTo>
                <a:cubicBezTo>
                  <a:pt x="890649" y="3975035"/>
                  <a:pt x="890649" y="3975035"/>
                  <a:pt x="890649" y="3975035"/>
                </a:cubicBezTo>
                <a:cubicBezTo>
                  <a:pt x="890649" y="3975035"/>
                  <a:pt x="889687" y="3970531"/>
                  <a:pt x="885183" y="3971493"/>
                </a:cubicBezTo>
                <a:cubicBezTo>
                  <a:pt x="886800" y="3957019"/>
                  <a:pt x="887762" y="3961523"/>
                  <a:pt x="878447" y="3939965"/>
                </a:cubicBezTo>
                <a:cubicBezTo>
                  <a:pt x="882951" y="3939002"/>
                  <a:pt x="887454" y="3938040"/>
                  <a:pt x="890034" y="3928070"/>
                </a:cubicBezTo>
                <a:cubicBezTo>
                  <a:pt x="880718" y="3906512"/>
                  <a:pt x="887803" y="3895579"/>
                  <a:pt x="879449" y="3878525"/>
                </a:cubicBezTo>
                <a:cubicBezTo>
                  <a:pt x="879490" y="3812581"/>
                  <a:pt x="864093" y="3740517"/>
                  <a:pt x="852546" y="3686468"/>
                </a:cubicBezTo>
                <a:cubicBezTo>
                  <a:pt x="851584" y="3681964"/>
                  <a:pt x="847081" y="3682926"/>
                  <a:pt x="847081" y="3682926"/>
                </a:cubicBezTo>
                <a:cubicBezTo>
                  <a:pt x="847081" y="3682926"/>
                  <a:pt x="842576" y="3683888"/>
                  <a:pt x="843539" y="3688393"/>
                </a:cubicBezTo>
                <a:cubicBezTo>
                  <a:pt x="858628" y="3736975"/>
                  <a:pt x="874024" y="3809040"/>
                  <a:pt x="872058" y="3865975"/>
                </a:cubicBezTo>
                <a:cubicBezTo>
                  <a:pt x="872058" y="3865975"/>
                  <a:pt x="872058" y="3865975"/>
                  <a:pt x="867555" y="3866938"/>
                </a:cubicBezTo>
                <a:cubicBezTo>
                  <a:pt x="866592" y="3862433"/>
                  <a:pt x="866592" y="3862433"/>
                  <a:pt x="861126" y="3858892"/>
                </a:cubicBezTo>
                <a:cubicBezTo>
                  <a:pt x="866592" y="3862433"/>
                  <a:pt x="867555" y="3866938"/>
                  <a:pt x="868517" y="3871442"/>
                </a:cubicBezTo>
                <a:cubicBezTo>
                  <a:pt x="868517" y="3871442"/>
                  <a:pt x="868517" y="3871442"/>
                  <a:pt x="864975" y="3876908"/>
                </a:cubicBezTo>
                <a:cubicBezTo>
                  <a:pt x="861126" y="3858892"/>
                  <a:pt x="854390" y="3827364"/>
                  <a:pt x="849886" y="3828326"/>
                </a:cubicBezTo>
                <a:cubicBezTo>
                  <a:pt x="856314" y="3836371"/>
                  <a:pt x="852773" y="3841838"/>
                  <a:pt x="848269" y="3842800"/>
                </a:cubicBezTo>
                <a:cubicBezTo>
                  <a:pt x="841840" y="3834754"/>
                  <a:pt x="839916" y="3825746"/>
                  <a:pt x="832524" y="3813196"/>
                </a:cubicBezTo>
                <a:cubicBezTo>
                  <a:pt x="830600" y="3804189"/>
                  <a:pt x="831255" y="3785210"/>
                  <a:pt x="822902" y="3768156"/>
                </a:cubicBezTo>
                <a:cubicBezTo>
                  <a:pt x="820977" y="3759148"/>
                  <a:pt x="819053" y="3750139"/>
                  <a:pt x="812624" y="3742094"/>
                </a:cubicBezTo>
                <a:cubicBezTo>
                  <a:pt x="804926" y="3706061"/>
                  <a:pt x="798190" y="3674534"/>
                  <a:pt x="789529" y="3633997"/>
                </a:cubicBezTo>
                <a:cubicBezTo>
                  <a:pt x="789529" y="3633997"/>
                  <a:pt x="785988" y="3639463"/>
                  <a:pt x="786951" y="3643967"/>
                </a:cubicBezTo>
                <a:cubicBezTo>
                  <a:pt x="786951" y="3643967"/>
                  <a:pt x="785988" y="3639463"/>
                  <a:pt x="785988" y="3639463"/>
                </a:cubicBezTo>
                <a:cubicBezTo>
                  <a:pt x="785026" y="3634959"/>
                  <a:pt x="785026" y="3634959"/>
                  <a:pt x="785026" y="3634959"/>
                </a:cubicBezTo>
                <a:cubicBezTo>
                  <a:pt x="784064" y="3630455"/>
                  <a:pt x="784064" y="3630455"/>
                  <a:pt x="783101" y="3625951"/>
                </a:cubicBezTo>
                <a:cubicBezTo>
                  <a:pt x="778290" y="3603430"/>
                  <a:pt x="768975" y="3581873"/>
                  <a:pt x="765126" y="3563856"/>
                </a:cubicBezTo>
                <a:cubicBezTo>
                  <a:pt x="764163" y="3559353"/>
                  <a:pt x="764163" y="3559353"/>
                  <a:pt x="763201" y="3554849"/>
                </a:cubicBezTo>
                <a:cubicBezTo>
                  <a:pt x="762239" y="3550344"/>
                  <a:pt x="761276" y="3545840"/>
                  <a:pt x="760314" y="3541336"/>
                </a:cubicBezTo>
                <a:cubicBezTo>
                  <a:pt x="758390" y="3532328"/>
                  <a:pt x="756465" y="3523320"/>
                  <a:pt x="754541" y="3514312"/>
                </a:cubicBezTo>
                <a:cubicBezTo>
                  <a:pt x="753578" y="3509808"/>
                  <a:pt x="753578" y="3509808"/>
                  <a:pt x="753578" y="3509808"/>
                </a:cubicBezTo>
                <a:cubicBezTo>
                  <a:pt x="752616" y="3505304"/>
                  <a:pt x="752616" y="3505304"/>
                  <a:pt x="752616" y="3505304"/>
                </a:cubicBezTo>
                <a:cubicBezTo>
                  <a:pt x="752616" y="3505304"/>
                  <a:pt x="752616" y="3505304"/>
                  <a:pt x="748111" y="3506266"/>
                </a:cubicBezTo>
                <a:cubicBezTo>
                  <a:pt x="751654" y="3500799"/>
                  <a:pt x="751654" y="3500799"/>
                  <a:pt x="756158" y="3499837"/>
                </a:cubicBezTo>
                <a:cubicBezTo>
                  <a:pt x="748767" y="3487287"/>
                  <a:pt x="748767" y="3487287"/>
                  <a:pt x="748767" y="3487287"/>
                </a:cubicBezTo>
                <a:cubicBezTo>
                  <a:pt x="748767" y="3487287"/>
                  <a:pt x="748767" y="3487287"/>
                  <a:pt x="745225" y="3492754"/>
                </a:cubicBezTo>
                <a:cubicBezTo>
                  <a:pt x="744262" y="3488250"/>
                  <a:pt x="744262" y="3488250"/>
                  <a:pt x="743300" y="3483746"/>
                </a:cubicBezTo>
                <a:cubicBezTo>
                  <a:pt x="743956" y="3464767"/>
                  <a:pt x="739144" y="3442247"/>
                  <a:pt x="735295" y="3424231"/>
                </a:cubicBezTo>
                <a:cubicBezTo>
                  <a:pt x="738837" y="3418765"/>
                  <a:pt x="736913" y="3409757"/>
                  <a:pt x="735950" y="3405253"/>
                </a:cubicBezTo>
                <a:cubicBezTo>
                  <a:pt x="734988" y="3400748"/>
                  <a:pt x="734988" y="3400748"/>
                  <a:pt x="734026" y="3396245"/>
                </a:cubicBezTo>
                <a:cubicBezTo>
                  <a:pt x="733064" y="3391740"/>
                  <a:pt x="736605" y="3386274"/>
                  <a:pt x="736605" y="3386274"/>
                </a:cubicBezTo>
                <a:cubicBezTo>
                  <a:pt x="741109" y="3385312"/>
                  <a:pt x="741109" y="3385312"/>
                  <a:pt x="742071" y="3389816"/>
                </a:cubicBezTo>
                <a:cubicBezTo>
                  <a:pt x="742071" y="3389816"/>
                  <a:pt x="746576" y="3388854"/>
                  <a:pt x="747538" y="3393358"/>
                </a:cubicBezTo>
                <a:cubicBezTo>
                  <a:pt x="747538" y="3393358"/>
                  <a:pt x="747538" y="3393358"/>
                  <a:pt x="746576" y="3388854"/>
                </a:cubicBezTo>
                <a:cubicBezTo>
                  <a:pt x="751080" y="3387891"/>
                  <a:pt x="751080" y="3387891"/>
                  <a:pt x="751080" y="3387891"/>
                </a:cubicBezTo>
                <a:cubicBezTo>
                  <a:pt x="750118" y="3383387"/>
                  <a:pt x="745614" y="3384350"/>
                  <a:pt x="744651" y="3379845"/>
                </a:cubicBezTo>
                <a:cubicBezTo>
                  <a:pt x="739184" y="3376304"/>
                  <a:pt x="738222" y="3371800"/>
                  <a:pt x="733718" y="3372762"/>
                </a:cubicBezTo>
                <a:cubicBezTo>
                  <a:pt x="734680" y="3377266"/>
                  <a:pt x="730177" y="3378228"/>
                  <a:pt x="730177" y="3378228"/>
                </a:cubicBezTo>
                <a:cubicBezTo>
                  <a:pt x="730177" y="3378228"/>
                  <a:pt x="728252" y="3369221"/>
                  <a:pt x="722786" y="3365679"/>
                </a:cubicBezTo>
                <a:cubicBezTo>
                  <a:pt x="720861" y="3356670"/>
                  <a:pt x="719899" y="3352167"/>
                  <a:pt x="722479" y="3342196"/>
                </a:cubicBezTo>
                <a:cubicBezTo>
                  <a:pt x="723441" y="3346700"/>
                  <a:pt x="727944" y="3345738"/>
                  <a:pt x="727944" y="3345738"/>
                </a:cubicBezTo>
                <a:cubicBezTo>
                  <a:pt x="726982" y="3341234"/>
                  <a:pt x="726982" y="3341234"/>
                  <a:pt x="726982" y="3341234"/>
                </a:cubicBezTo>
                <a:cubicBezTo>
                  <a:pt x="726020" y="3336730"/>
                  <a:pt x="726020" y="3336730"/>
                  <a:pt x="725057" y="3332226"/>
                </a:cubicBezTo>
                <a:cubicBezTo>
                  <a:pt x="724095" y="3327721"/>
                  <a:pt x="724095" y="3327721"/>
                  <a:pt x="724095" y="3327721"/>
                </a:cubicBezTo>
                <a:cubicBezTo>
                  <a:pt x="724095" y="3327721"/>
                  <a:pt x="724095" y="3327721"/>
                  <a:pt x="723133" y="3323218"/>
                </a:cubicBezTo>
                <a:cubicBezTo>
                  <a:pt x="721208" y="3314209"/>
                  <a:pt x="720246" y="3309705"/>
                  <a:pt x="719284" y="3305202"/>
                </a:cubicBezTo>
                <a:cubicBezTo>
                  <a:pt x="718321" y="3300697"/>
                  <a:pt x="717359" y="3296193"/>
                  <a:pt x="716397" y="3291690"/>
                </a:cubicBezTo>
                <a:cubicBezTo>
                  <a:pt x="719939" y="3286223"/>
                  <a:pt x="718977" y="3281718"/>
                  <a:pt x="718015" y="3277215"/>
                </a:cubicBezTo>
                <a:cubicBezTo>
                  <a:pt x="726061" y="3270786"/>
                  <a:pt x="716745" y="3249228"/>
                  <a:pt x="716438" y="3225746"/>
                </a:cubicBezTo>
                <a:cubicBezTo>
                  <a:pt x="711934" y="3226708"/>
                  <a:pt x="711934" y="3226708"/>
                  <a:pt x="711934" y="3226708"/>
                </a:cubicBezTo>
                <a:cubicBezTo>
                  <a:pt x="708740" y="3189713"/>
                  <a:pt x="707470" y="3161726"/>
                  <a:pt x="710705" y="3132778"/>
                </a:cubicBezTo>
                <a:cubicBezTo>
                  <a:pt x="709743" y="3128274"/>
                  <a:pt x="714246" y="3127311"/>
                  <a:pt x="713284" y="3122808"/>
                </a:cubicBezTo>
                <a:cubicBezTo>
                  <a:pt x="712322" y="3118304"/>
                  <a:pt x="712322" y="3118304"/>
                  <a:pt x="712322" y="3118304"/>
                </a:cubicBezTo>
                <a:cubicBezTo>
                  <a:pt x="708780" y="3123770"/>
                  <a:pt x="708780" y="3123770"/>
                  <a:pt x="708780" y="3123770"/>
                </a:cubicBezTo>
                <a:cubicBezTo>
                  <a:pt x="706856" y="3114761"/>
                  <a:pt x="710397" y="3109296"/>
                  <a:pt x="708472" y="3100287"/>
                </a:cubicBezTo>
                <a:cubicBezTo>
                  <a:pt x="707510" y="3095784"/>
                  <a:pt x="712015" y="3094821"/>
                  <a:pt x="712015" y="3094821"/>
                </a:cubicBezTo>
                <a:cubicBezTo>
                  <a:pt x="711052" y="3090317"/>
                  <a:pt x="711052" y="3090317"/>
                  <a:pt x="706548" y="3091280"/>
                </a:cubicBezTo>
                <a:cubicBezTo>
                  <a:pt x="705586" y="3086775"/>
                  <a:pt x="710090" y="3085813"/>
                  <a:pt x="709128" y="3081309"/>
                </a:cubicBezTo>
                <a:cubicBezTo>
                  <a:pt x="708166" y="3076805"/>
                  <a:pt x="707203" y="3072301"/>
                  <a:pt x="709783" y="3062331"/>
                </a:cubicBezTo>
                <a:cubicBezTo>
                  <a:pt x="709783" y="3062331"/>
                  <a:pt x="709783" y="3062331"/>
                  <a:pt x="708821" y="3057826"/>
                </a:cubicBezTo>
                <a:cubicBezTo>
                  <a:pt x="707859" y="3053322"/>
                  <a:pt x="706897" y="3048818"/>
                  <a:pt x="705934" y="3044314"/>
                </a:cubicBezTo>
                <a:cubicBezTo>
                  <a:pt x="710439" y="3043352"/>
                  <a:pt x="710439" y="3043352"/>
                  <a:pt x="710439" y="3043352"/>
                </a:cubicBezTo>
                <a:cubicBezTo>
                  <a:pt x="709823" y="2996387"/>
                  <a:pt x="712751" y="2943955"/>
                  <a:pt x="717295" y="2877050"/>
                </a:cubicBezTo>
                <a:cubicBezTo>
                  <a:pt x="717295" y="2877050"/>
                  <a:pt x="722762" y="2880591"/>
                  <a:pt x="721799" y="2876088"/>
                </a:cubicBezTo>
                <a:cubicBezTo>
                  <a:pt x="723724" y="2885095"/>
                  <a:pt x="720182" y="2890562"/>
                  <a:pt x="722107" y="2899570"/>
                </a:cubicBezTo>
                <a:cubicBezTo>
                  <a:pt x="723069" y="2904074"/>
                  <a:pt x="719527" y="2909541"/>
                  <a:pt x="723376" y="2927557"/>
                </a:cubicBezTo>
                <a:cubicBezTo>
                  <a:pt x="721759" y="2942030"/>
                  <a:pt x="720141" y="2956505"/>
                  <a:pt x="719487" y="2975484"/>
                </a:cubicBezTo>
                <a:cubicBezTo>
                  <a:pt x="720101" y="3022449"/>
                  <a:pt x="717174" y="3074880"/>
                  <a:pt x="727759" y="3124424"/>
                </a:cubicBezTo>
                <a:cubicBezTo>
                  <a:pt x="727759" y="3124424"/>
                  <a:pt x="724217" y="3129891"/>
                  <a:pt x="724217" y="3129891"/>
                </a:cubicBezTo>
                <a:cubicBezTo>
                  <a:pt x="725180" y="3134395"/>
                  <a:pt x="725180" y="3134395"/>
                  <a:pt x="726142" y="3138899"/>
                </a:cubicBezTo>
                <a:cubicBezTo>
                  <a:pt x="722599" y="3144365"/>
                  <a:pt x="723562" y="3148870"/>
                  <a:pt x="724524" y="3153374"/>
                </a:cubicBezTo>
                <a:cubicBezTo>
                  <a:pt x="729029" y="3152412"/>
                  <a:pt x="729029" y="3152412"/>
                  <a:pt x="728066" y="3147907"/>
                </a:cubicBezTo>
                <a:cubicBezTo>
                  <a:pt x="729991" y="3156915"/>
                  <a:pt x="730953" y="3161420"/>
                  <a:pt x="726449" y="3162382"/>
                </a:cubicBezTo>
                <a:cubicBezTo>
                  <a:pt x="727411" y="3166886"/>
                  <a:pt x="728373" y="3171389"/>
                  <a:pt x="729335" y="3175894"/>
                </a:cubicBezTo>
                <a:cubicBezTo>
                  <a:pt x="733840" y="3174931"/>
                  <a:pt x="733840" y="3174931"/>
                  <a:pt x="732878" y="3170427"/>
                </a:cubicBezTo>
                <a:cubicBezTo>
                  <a:pt x="736420" y="3164962"/>
                  <a:pt x="735458" y="3160457"/>
                  <a:pt x="735458" y="3160457"/>
                </a:cubicBezTo>
                <a:cubicBezTo>
                  <a:pt x="733533" y="3151449"/>
                  <a:pt x="732571" y="3146945"/>
                  <a:pt x="731608" y="3142441"/>
                </a:cubicBezTo>
                <a:cubicBezTo>
                  <a:pt x="731608" y="3142441"/>
                  <a:pt x="735149" y="3136974"/>
                  <a:pt x="735149" y="3136974"/>
                </a:cubicBezTo>
                <a:cubicBezTo>
                  <a:pt x="736112" y="3141478"/>
                  <a:pt x="740616" y="3140516"/>
                  <a:pt x="739654" y="3136012"/>
                </a:cubicBezTo>
                <a:cubicBezTo>
                  <a:pt x="739654" y="3136012"/>
                  <a:pt x="739654" y="3136012"/>
                  <a:pt x="738691" y="3131509"/>
                </a:cubicBezTo>
                <a:cubicBezTo>
                  <a:pt x="738691" y="3131509"/>
                  <a:pt x="737729" y="3127004"/>
                  <a:pt x="737729" y="3127004"/>
                </a:cubicBezTo>
                <a:cubicBezTo>
                  <a:pt x="736767" y="3122500"/>
                  <a:pt x="732263" y="3123462"/>
                  <a:pt x="731301" y="3118959"/>
                </a:cubicBezTo>
                <a:cubicBezTo>
                  <a:pt x="731301" y="3118959"/>
                  <a:pt x="730338" y="3114455"/>
                  <a:pt x="730338" y="3114455"/>
                </a:cubicBezTo>
                <a:cubicBezTo>
                  <a:pt x="730338" y="3114455"/>
                  <a:pt x="729376" y="3109950"/>
                  <a:pt x="729376" y="3109950"/>
                </a:cubicBezTo>
                <a:cubicBezTo>
                  <a:pt x="727451" y="3100942"/>
                  <a:pt x="730031" y="3090972"/>
                  <a:pt x="729069" y="3086468"/>
                </a:cubicBezTo>
                <a:cubicBezTo>
                  <a:pt x="728106" y="3081964"/>
                  <a:pt x="730686" y="3071994"/>
                  <a:pt x="733265" y="3062023"/>
                </a:cubicBezTo>
                <a:lnTo>
                  <a:pt x="733987" y="3065401"/>
                </a:lnTo>
                <a:cubicBezTo>
                  <a:pt x="734227" y="3066527"/>
                  <a:pt x="734227" y="3066527"/>
                  <a:pt x="734227" y="3066527"/>
                </a:cubicBezTo>
                <a:cubicBezTo>
                  <a:pt x="734227" y="3066527"/>
                  <a:pt x="735190" y="3071031"/>
                  <a:pt x="735190" y="3071031"/>
                </a:cubicBezTo>
                <a:cubicBezTo>
                  <a:pt x="735190" y="3071031"/>
                  <a:pt x="738732" y="3065565"/>
                  <a:pt x="738732" y="3065565"/>
                </a:cubicBezTo>
                <a:cubicBezTo>
                  <a:pt x="735845" y="3052053"/>
                  <a:pt x="735845" y="3052053"/>
                  <a:pt x="735845" y="3052053"/>
                </a:cubicBezTo>
                <a:cubicBezTo>
                  <a:pt x="735845" y="3052053"/>
                  <a:pt x="734883" y="3047548"/>
                  <a:pt x="733921" y="3043045"/>
                </a:cubicBezTo>
                <a:cubicBezTo>
                  <a:pt x="741659" y="3013133"/>
                  <a:pt x="743276" y="2998659"/>
                  <a:pt x="736541" y="2967131"/>
                </a:cubicBezTo>
                <a:cubicBezTo>
                  <a:pt x="736541" y="2967131"/>
                  <a:pt x="735578" y="2962627"/>
                  <a:pt x="735578" y="2962627"/>
                </a:cubicBezTo>
                <a:cubicBezTo>
                  <a:pt x="738158" y="2952656"/>
                  <a:pt x="740738" y="2942686"/>
                  <a:pt x="744279" y="2937219"/>
                </a:cubicBezTo>
                <a:cubicBezTo>
                  <a:pt x="736889" y="2924670"/>
                  <a:pt x="745896" y="2922745"/>
                  <a:pt x="747514" y="2908270"/>
                </a:cubicBezTo>
                <a:cubicBezTo>
                  <a:pt x="753328" y="2869352"/>
                  <a:pt x="752713" y="2822387"/>
                  <a:pt x="767536" y="2781543"/>
                </a:cubicBezTo>
                <a:lnTo>
                  <a:pt x="767175" y="2788737"/>
                </a:lnTo>
                <a:lnTo>
                  <a:pt x="765918" y="2796017"/>
                </a:lnTo>
                <a:cubicBezTo>
                  <a:pt x="765918" y="2796017"/>
                  <a:pt x="766563" y="2793524"/>
                  <a:pt x="767088" y="2790469"/>
                </a:cubicBezTo>
                <a:lnTo>
                  <a:pt x="767175" y="2788737"/>
                </a:lnTo>
                <a:lnTo>
                  <a:pt x="777228" y="2730482"/>
                </a:lnTo>
                <a:lnTo>
                  <a:pt x="774987" y="2827750"/>
                </a:lnTo>
                <a:cubicBezTo>
                  <a:pt x="776043" y="3008184"/>
                  <a:pt x="792787" y="3186092"/>
                  <a:pt x="824931" y="3364010"/>
                </a:cubicBezTo>
                <a:cubicBezTo>
                  <a:pt x="826529" y="3371490"/>
                  <a:pt x="827728" y="3377099"/>
                  <a:pt x="829326" y="3384580"/>
                </a:cubicBezTo>
                <a:cubicBezTo>
                  <a:pt x="847900" y="3370834"/>
                  <a:pt x="840565" y="3354803"/>
                  <a:pt x="837369" y="3339843"/>
                </a:cubicBezTo>
                <a:cubicBezTo>
                  <a:pt x="787445" y="3078708"/>
                  <a:pt x="782061" y="2824680"/>
                  <a:pt x="819665" y="2577354"/>
                </a:cubicBezTo>
                <a:lnTo>
                  <a:pt x="843923" y="2454020"/>
                </a:lnTo>
                <a:lnTo>
                  <a:pt x="844696" y="2456577"/>
                </a:lnTo>
                <a:cubicBezTo>
                  <a:pt x="844855" y="2460076"/>
                  <a:pt x="845576" y="2463454"/>
                  <a:pt x="850081" y="2462491"/>
                </a:cubicBezTo>
                <a:cubicBezTo>
                  <a:pt x="853951" y="2447536"/>
                  <a:pt x="850331" y="2447131"/>
                  <a:pt x="847719" y="2445923"/>
                </a:cubicBezTo>
                <a:lnTo>
                  <a:pt x="846151" y="2442693"/>
                </a:lnTo>
                <a:lnTo>
                  <a:pt x="847411" y="2436286"/>
                </a:lnTo>
                <a:lnTo>
                  <a:pt x="851391" y="2424533"/>
                </a:lnTo>
                <a:cubicBezTo>
                  <a:pt x="851391" y="2424533"/>
                  <a:pt x="852354" y="2429038"/>
                  <a:pt x="853316" y="2433542"/>
                </a:cubicBezTo>
                <a:cubicBezTo>
                  <a:pt x="863633" y="2393660"/>
                  <a:pt x="880380" y="2361825"/>
                  <a:pt x="879111" y="2333838"/>
                </a:cubicBezTo>
                <a:cubicBezTo>
                  <a:pt x="879111" y="2333838"/>
                  <a:pt x="881035" y="2342846"/>
                  <a:pt x="884578" y="2337381"/>
                </a:cubicBezTo>
                <a:cubicBezTo>
                  <a:pt x="878804" y="2310355"/>
                  <a:pt x="897475" y="2287529"/>
                  <a:pt x="911642" y="2265663"/>
                </a:cubicBezTo>
                <a:cubicBezTo>
                  <a:pt x="913915" y="2232210"/>
                  <a:pt x="927119" y="2205841"/>
                  <a:pt x="944828" y="2178509"/>
                </a:cubicBezTo>
                <a:cubicBezTo>
                  <a:pt x="958034" y="2152140"/>
                  <a:pt x="976705" y="2129312"/>
                  <a:pt x="987023" y="2089431"/>
                </a:cubicBezTo>
                <a:cubicBezTo>
                  <a:pt x="991527" y="2088468"/>
                  <a:pt x="991527" y="2088468"/>
                  <a:pt x="991527" y="2088468"/>
                </a:cubicBezTo>
                <a:cubicBezTo>
                  <a:pt x="988948" y="2098439"/>
                  <a:pt x="988948" y="2098439"/>
                  <a:pt x="988948" y="2098439"/>
                </a:cubicBezTo>
                <a:cubicBezTo>
                  <a:pt x="988948" y="2098439"/>
                  <a:pt x="988948" y="2098439"/>
                  <a:pt x="993452" y="2097477"/>
                </a:cubicBezTo>
                <a:cubicBezTo>
                  <a:pt x="992489" y="2092973"/>
                  <a:pt x="992489" y="2092973"/>
                  <a:pt x="992489" y="2092973"/>
                </a:cubicBezTo>
                <a:cubicBezTo>
                  <a:pt x="996031" y="2087506"/>
                  <a:pt x="996031" y="2087506"/>
                  <a:pt x="996031" y="2087506"/>
                </a:cubicBezTo>
                <a:cubicBezTo>
                  <a:pt x="999573" y="2082040"/>
                  <a:pt x="1005694" y="2066604"/>
                  <a:pt x="1012778" y="2055671"/>
                </a:cubicBezTo>
                <a:cubicBezTo>
                  <a:pt x="1011815" y="2051167"/>
                  <a:pt x="1007312" y="2052129"/>
                  <a:pt x="1010853" y="2046663"/>
                </a:cubicBezTo>
                <a:cubicBezTo>
                  <a:pt x="1010853" y="2046663"/>
                  <a:pt x="1009891" y="2042158"/>
                  <a:pt x="1014395" y="2041196"/>
                </a:cubicBezTo>
                <a:cubicBezTo>
                  <a:pt x="1014395" y="2041196"/>
                  <a:pt x="1010853" y="2046663"/>
                  <a:pt x="1016320" y="2050205"/>
                </a:cubicBezTo>
                <a:cubicBezTo>
                  <a:pt x="1018899" y="2040234"/>
                  <a:pt x="1017937" y="2035730"/>
                  <a:pt x="1021479" y="2030264"/>
                </a:cubicBezTo>
                <a:cubicBezTo>
                  <a:pt x="1021479" y="2030264"/>
                  <a:pt x="1021479" y="2030264"/>
                  <a:pt x="1022441" y="2034767"/>
                </a:cubicBezTo>
                <a:cubicBezTo>
                  <a:pt x="1023404" y="2039271"/>
                  <a:pt x="1023404" y="2039271"/>
                  <a:pt x="1023404" y="2039271"/>
                </a:cubicBezTo>
                <a:cubicBezTo>
                  <a:pt x="1023404" y="2039271"/>
                  <a:pt x="1027908" y="2038309"/>
                  <a:pt x="1027908" y="2038309"/>
                </a:cubicBezTo>
                <a:cubicBezTo>
                  <a:pt x="1027908" y="2038309"/>
                  <a:pt x="1026946" y="2033805"/>
                  <a:pt x="1026946" y="2033805"/>
                </a:cubicBezTo>
                <a:cubicBezTo>
                  <a:pt x="1030487" y="2028340"/>
                  <a:pt x="1025984" y="2029302"/>
                  <a:pt x="1025021" y="2024797"/>
                </a:cubicBezTo>
                <a:cubicBezTo>
                  <a:pt x="1024059" y="2020293"/>
                  <a:pt x="1028562" y="2019331"/>
                  <a:pt x="1027600" y="2014827"/>
                </a:cubicBezTo>
                <a:cubicBezTo>
                  <a:pt x="1028562" y="2019331"/>
                  <a:pt x="1033067" y="2018368"/>
                  <a:pt x="1032104" y="2013865"/>
                </a:cubicBezTo>
                <a:cubicBezTo>
                  <a:pt x="1035647" y="2008398"/>
                  <a:pt x="1035647" y="2008398"/>
                  <a:pt x="1035647" y="2008398"/>
                </a:cubicBezTo>
                <a:cubicBezTo>
                  <a:pt x="1035647" y="2008398"/>
                  <a:pt x="1034684" y="2003894"/>
                  <a:pt x="1034684" y="2003894"/>
                </a:cubicBezTo>
                <a:cubicBezTo>
                  <a:pt x="1038225" y="1998429"/>
                  <a:pt x="1037263" y="1993924"/>
                  <a:pt x="1041767" y="1992962"/>
                </a:cubicBezTo>
                <a:lnTo>
                  <a:pt x="1045309" y="1987495"/>
                </a:lnTo>
                <a:lnTo>
                  <a:pt x="1046272" y="1991999"/>
                </a:lnTo>
                <a:cubicBezTo>
                  <a:pt x="1049813" y="1986533"/>
                  <a:pt x="1049813" y="1986533"/>
                  <a:pt x="1049813" y="1986533"/>
                </a:cubicBezTo>
                <a:cubicBezTo>
                  <a:pt x="1048851" y="1982030"/>
                  <a:pt x="1053355" y="1981067"/>
                  <a:pt x="1052393" y="1976563"/>
                </a:cubicBezTo>
                <a:cubicBezTo>
                  <a:pt x="1057859" y="1980105"/>
                  <a:pt x="1060439" y="1970134"/>
                  <a:pt x="1063980" y="1964667"/>
                </a:cubicBezTo>
                <a:cubicBezTo>
                  <a:pt x="1065905" y="1973676"/>
                  <a:pt x="1072989" y="1962743"/>
                  <a:pt x="1070409" y="1972714"/>
                </a:cubicBezTo>
                <a:cubicBezTo>
                  <a:pt x="1080072" y="1951811"/>
                  <a:pt x="1080072" y="1951811"/>
                  <a:pt x="1080072" y="1951811"/>
                </a:cubicBezTo>
                <a:cubicBezTo>
                  <a:pt x="1080072" y="1951811"/>
                  <a:pt x="1084576" y="1950848"/>
                  <a:pt x="1084576" y="1950848"/>
                </a:cubicBezTo>
                <a:cubicBezTo>
                  <a:pt x="1085539" y="1955353"/>
                  <a:pt x="1085539" y="1955353"/>
                  <a:pt x="1085539" y="1955353"/>
                </a:cubicBezTo>
                <a:cubicBezTo>
                  <a:pt x="1081997" y="1960818"/>
                  <a:pt x="1081997" y="1960818"/>
                  <a:pt x="1081997" y="1960818"/>
                </a:cubicBezTo>
                <a:cubicBezTo>
                  <a:pt x="1078455" y="1966285"/>
                  <a:pt x="1078455" y="1966285"/>
                  <a:pt x="1082959" y="1965323"/>
                </a:cubicBezTo>
                <a:cubicBezTo>
                  <a:pt x="1082959" y="1965323"/>
                  <a:pt x="1082959" y="1965323"/>
                  <a:pt x="1087463" y="1964361"/>
                </a:cubicBezTo>
                <a:cubicBezTo>
                  <a:pt x="1086501" y="1959856"/>
                  <a:pt x="1086501" y="1959856"/>
                  <a:pt x="1086501" y="1959856"/>
                </a:cubicBezTo>
                <a:cubicBezTo>
                  <a:pt x="1090043" y="1954390"/>
                  <a:pt x="1090043" y="1954390"/>
                  <a:pt x="1090043" y="1954390"/>
                </a:cubicBezTo>
                <a:cubicBezTo>
                  <a:pt x="1089081" y="1949886"/>
                  <a:pt x="1089081" y="1949886"/>
                  <a:pt x="1088118" y="1945382"/>
                </a:cubicBezTo>
                <a:cubicBezTo>
                  <a:pt x="1088118" y="1945382"/>
                  <a:pt x="1083614" y="1946344"/>
                  <a:pt x="1083614" y="1946344"/>
                </a:cubicBezTo>
                <a:cubicBezTo>
                  <a:pt x="1092315" y="1920937"/>
                  <a:pt x="1092315" y="1920937"/>
                  <a:pt x="1094895" y="1910966"/>
                </a:cubicBezTo>
                <a:cubicBezTo>
                  <a:pt x="1087810" y="1921900"/>
                  <a:pt x="1086848" y="1917396"/>
                  <a:pt x="1082345" y="1918358"/>
                </a:cubicBezTo>
                <a:cubicBezTo>
                  <a:pt x="1085886" y="1912891"/>
                  <a:pt x="1089428" y="1907425"/>
                  <a:pt x="1092970" y="1901959"/>
                </a:cubicBezTo>
                <a:cubicBezTo>
                  <a:pt x="1096512" y="1896492"/>
                  <a:pt x="1100053" y="1891027"/>
                  <a:pt x="1103595" y="1885560"/>
                </a:cubicBezTo>
                <a:cubicBezTo>
                  <a:pt x="1107137" y="1880093"/>
                  <a:pt x="1106175" y="1875590"/>
                  <a:pt x="1110679" y="1874628"/>
                </a:cubicBezTo>
                <a:cubicBezTo>
                  <a:pt x="1110679" y="1874628"/>
                  <a:pt x="1111641" y="1879131"/>
                  <a:pt x="1112603" y="1883635"/>
                </a:cubicBezTo>
                <a:cubicBezTo>
                  <a:pt x="1122267" y="1862732"/>
                  <a:pt x="1122267" y="1862732"/>
                  <a:pt x="1122267" y="1862732"/>
                </a:cubicBezTo>
                <a:cubicBezTo>
                  <a:pt x="1126770" y="1861770"/>
                  <a:pt x="1126770" y="1861770"/>
                  <a:pt x="1126770" y="1861770"/>
                </a:cubicBezTo>
                <a:cubicBezTo>
                  <a:pt x="1127733" y="1866274"/>
                  <a:pt x="1127733" y="1866274"/>
                  <a:pt x="1128695" y="1870778"/>
                </a:cubicBezTo>
                <a:cubicBezTo>
                  <a:pt x="1133200" y="1869816"/>
                  <a:pt x="1133200" y="1869816"/>
                  <a:pt x="1133200" y="1869816"/>
                </a:cubicBezTo>
                <a:cubicBezTo>
                  <a:pt x="1133200" y="1869816"/>
                  <a:pt x="1132237" y="1865312"/>
                  <a:pt x="1132237" y="1865312"/>
                </a:cubicBezTo>
                <a:cubicBezTo>
                  <a:pt x="1136741" y="1864349"/>
                  <a:pt x="1136741" y="1864349"/>
                  <a:pt x="1136741" y="1864349"/>
                </a:cubicBezTo>
                <a:cubicBezTo>
                  <a:pt x="1135779" y="1859845"/>
                  <a:pt x="1135779" y="1859845"/>
                  <a:pt x="1134817" y="1855341"/>
                </a:cubicBezTo>
                <a:cubicBezTo>
                  <a:pt x="1134817" y="1855341"/>
                  <a:pt x="1134817" y="1855341"/>
                  <a:pt x="1138359" y="1849875"/>
                </a:cubicBezTo>
                <a:cubicBezTo>
                  <a:pt x="1138359" y="1849875"/>
                  <a:pt x="1138359" y="1849875"/>
                  <a:pt x="1141900" y="1844409"/>
                </a:cubicBezTo>
                <a:cubicBezTo>
                  <a:pt x="1141900" y="1844409"/>
                  <a:pt x="1146404" y="1843446"/>
                  <a:pt x="1146404" y="1843446"/>
                </a:cubicBezTo>
                <a:cubicBezTo>
                  <a:pt x="1146404" y="1843446"/>
                  <a:pt x="1147367" y="1847951"/>
                  <a:pt x="1147367" y="1847951"/>
                </a:cubicBezTo>
                <a:cubicBezTo>
                  <a:pt x="1143824" y="1853416"/>
                  <a:pt x="1144787" y="1857921"/>
                  <a:pt x="1144787" y="1857921"/>
                </a:cubicBezTo>
                <a:cubicBezTo>
                  <a:pt x="1140284" y="1858883"/>
                  <a:pt x="1141246" y="1863387"/>
                  <a:pt x="1142208" y="1867891"/>
                </a:cubicBezTo>
                <a:cubicBezTo>
                  <a:pt x="1145749" y="1862425"/>
                  <a:pt x="1145749" y="1862425"/>
                  <a:pt x="1150253" y="1861463"/>
                </a:cubicBezTo>
                <a:cubicBezTo>
                  <a:pt x="1152833" y="1851492"/>
                  <a:pt x="1151871" y="1846988"/>
                  <a:pt x="1155412" y="1841522"/>
                </a:cubicBezTo>
                <a:cubicBezTo>
                  <a:pt x="1155412" y="1841522"/>
                  <a:pt x="1154450" y="1837018"/>
                  <a:pt x="1154450" y="1837018"/>
                </a:cubicBezTo>
                <a:cubicBezTo>
                  <a:pt x="1157992" y="1831552"/>
                  <a:pt x="1157030" y="1827047"/>
                  <a:pt x="1156068" y="1822543"/>
                </a:cubicBezTo>
                <a:cubicBezTo>
                  <a:pt x="1160572" y="1821581"/>
                  <a:pt x="1160572" y="1821581"/>
                  <a:pt x="1160572" y="1821581"/>
                </a:cubicBezTo>
                <a:cubicBezTo>
                  <a:pt x="1171197" y="1805182"/>
                  <a:pt x="1189869" y="1782355"/>
                  <a:pt x="1199532" y="1761452"/>
                </a:cubicBezTo>
                <a:cubicBezTo>
                  <a:pt x="1199532" y="1761452"/>
                  <a:pt x="1203074" y="1755985"/>
                  <a:pt x="1203074" y="1755985"/>
                </a:cubicBezTo>
                <a:cubicBezTo>
                  <a:pt x="1203074" y="1755985"/>
                  <a:pt x="1207577" y="1755023"/>
                  <a:pt x="1206615" y="1750519"/>
                </a:cubicBezTo>
                <a:cubicBezTo>
                  <a:pt x="1211119" y="1749556"/>
                  <a:pt x="1210157" y="1745053"/>
                  <a:pt x="1213699" y="1739586"/>
                </a:cubicBezTo>
                <a:cubicBezTo>
                  <a:pt x="1213699" y="1739586"/>
                  <a:pt x="1217240" y="1734120"/>
                  <a:pt x="1217240" y="1734120"/>
                </a:cubicBezTo>
                <a:cubicBezTo>
                  <a:pt x="1220782" y="1728654"/>
                  <a:pt x="1224324" y="1723188"/>
                  <a:pt x="1227866" y="1717721"/>
                </a:cubicBezTo>
                <a:cubicBezTo>
                  <a:pt x="1232370" y="1716759"/>
                  <a:pt x="1235912" y="1711293"/>
                  <a:pt x="1234950" y="1706789"/>
                </a:cubicBezTo>
                <a:cubicBezTo>
                  <a:pt x="1239454" y="1705826"/>
                  <a:pt x="1239454" y="1705826"/>
                  <a:pt x="1239454" y="1705826"/>
                </a:cubicBezTo>
                <a:cubicBezTo>
                  <a:pt x="1242996" y="1700360"/>
                  <a:pt x="1252659" y="1679456"/>
                  <a:pt x="1268751" y="1666599"/>
                </a:cubicBezTo>
                <a:cubicBezTo>
                  <a:pt x="1270041" y="1661614"/>
                  <a:pt x="1275353" y="1653415"/>
                  <a:pt x="1280989" y="1643969"/>
                </a:cubicBezTo>
                <a:lnTo>
                  <a:pt x="1294822" y="1614580"/>
                </a:lnTo>
                <a:lnTo>
                  <a:pt x="1295376" y="1620968"/>
                </a:lnTo>
                <a:cubicBezTo>
                  <a:pt x="1297773" y="1632189"/>
                  <a:pt x="1288150" y="1642066"/>
                  <a:pt x="1280397" y="1651544"/>
                </a:cubicBezTo>
                <a:cubicBezTo>
                  <a:pt x="1230267" y="1718960"/>
                  <a:pt x="1188817" y="1790388"/>
                  <a:pt x="1150037" y="1865158"/>
                </a:cubicBezTo>
                <a:cubicBezTo>
                  <a:pt x="1146023" y="1873837"/>
                  <a:pt x="1125579" y="1887981"/>
                  <a:pt x="1157500" y="1890938"/>
                </a:cubicBezTo>
                <a:cubicBezTo>
                  <a:pt x="1175530" y="1892953"/>
                  <a:pt x="1159625" y="1910038"/>
                  <a:pt x="1155212" y="1916847"/>
                </a:cubicBezTo>
                <a:cubicBezTo>
                  <a:pt x="1067755" y="2084143"/>
                  <a:pt x="1005537" y="2259733"/>
                  <a:pt x="966688" y="2444019"/>
                </a:cubicBezTo>
                <a:cubicBezTo>
                  <a:pt x="916582" y="2685460"/>
                  <a:pt x="913758" y="2928532"/>
                  <a:pt x="940585" y="3173091"/>
                </a:cubicBezTo>
                <a:cubicBezTo>
                  <a:pt x="940985" y="3174961"/>
                  <a:pt x="941784" y="3178702"/>
                  <a:pt x="947522" y="3187253"/>
                </a:cubicBezTo>
                <a:cubicBezTo>
                  <a:pt x="974972" y="3077752"/>
                  <a:pt x="932698" y="2971416"/>
                  <a:pt x="961347" y="2867525"/>
                </a:cubicBezTo>
                <a:cubicBezTo>
                  <a:pt x="960496" y="2945922"/>
                  <a:pt x="1000117" y="3021540"/>
                  <a:pt x="983906" y="3101263"/>
                </a:cubicBezTo>
                <a:cubicBezTo>
                  <a:pt x="978550" y="3121962"/>
                  <a:pt x="978406" y="3139591"/>
                  <a:pt x="992151" y="3158164"/>
                </a:cubicBezTo>
                <a:cubicBezTo>
                  <a:pt x="1007767" y="3176337"/>
                  <a:pt x="1012961" y="3200648"/>
                  <a:pt x="1014015" y="3223887"/>
                </a:cubicBezTo>
                <a:cubicBezTo>
                  <a:pt x="1028329" y="3400726"/>
                  <a:pt x="1098350" y="3563707"/>
                  <a:pt x="1162759" y="3727888"/>
                </a:cubicBezTo>
                <a:cubicBezTo>
                  <a:pt x="1171692" y="3751399"/>
                  <a:pt x="1182498" y="3774511"/>
                  <a:pt x="1178341" y="3800819"/>
                </a:cubicBezTo>
                <a:cubicBezTo>
                  <a:pt x="1177397" y="3814708"/>
                  <a:pt x="1183934" y="3826999"/>
                  <a:pt x="1193412" y="3834752"/>
                </a:cubicBezTo>
                <a:cubicBezTo>
                  <a:pt x="1246814" y="3874183"/>
                  <a:pt x="1265608" y="3934695"/>
                  <a:pt x="1287744" y="3992539"/>
                </a:cubicBezTo>
                <a:cubicBezTo>
                  <a:pt x="1297078" y="4017920"/>
                  <a:pt x="1304541" y="4043701"/>
                  <a:pt x="1330979" y="4057607"/>
                </a:cubicBezTo>
                <a:cubicBezTo>
                  <a:pt x="1340057" y="4063489"/>
                  <a:pt x="1339785" y="4071369"/>
                  <a:pt x="1343653" y="4080319"/>
                </a:cubicBezTo>
                <a:cubicBezTo>
                  <a:pt x="1347648" y="4099019"/>
                  <a:pt x="1354984" y="4115051"/>
                  <a:pt x="1369002" y="4125744"/>
                </a:cubicBezTo>
                <a:cubicBezTo>
                  <a:pt x="1437892" y="4173599"/>
                  <a:pt x="1482325" y="4244277"/>
                  <a:pt x="1538651" y="4306548"/>
                </a:cubicBezTo>
                <a:cubicBezTo>
                  <a:pt x="1848443" y="4649041"/>
                  <a:pt x="2240609" y="4837057"/>
                  <a:pt x="2686262" y="4927608"/>
                </a:cubicBezTo>
                <a:cubicBezTo>
                  <a:pt x="2813000" y="4953326"/>
                  <a:pt x="2941336" y="4986526"/>
                  <a:pt x="3070633" y="4978456"/>
                </a:cubicBezTo>
                <a:cubicBezTo>
                  <a:pt x="3236262" y="4966535"/>
                  <a:pt x="3400965" y="4941124"/>
                  <a:pt x="3564597" y="4919852"/>
                </a:cubicBezTo>
                <a:cubicBezTo>
                  <a:pt x="3600929" y="4916001"/>
                  <a:pt x="3637134" y="4902400"/>
                  <a:pt x="3668800" y="4885857"/>
                </a:cubicBezTo>
                <a:cubicBezTo>
                  <a:pt x="3677352" y="4880120"/>
                  <a:pt x="3688173" y="4875853"/>
                  <a:pt x="3697923" y="4875725"/>
                </a:cubicBezTo>
                <a:cubicBezTo>
                  <a:pt x="3759495" y="4880168"/>
                  <a:pt x="3807864" y="4850281"/>
                  <a:pt x="3859302" y="4825603"/>
                </a:cubicBezTo>
                <a:cubicBezTo>
                  <a:pt x="3981154" y="4764374"/>
                  <a:pt x="4106072" y="4708354"/>
                  <a:pt x="4218717" y="4631492"/>
                </a:cubicBezTo>
                <a:cubicBezTo>
                  <a:pt x="4726089" y="4278670"/>
                  <a:pt x="5050014" y="3808608"/>
                  <a:pt x="5136420" y="3187886"/>
                </a:cubicBezTo>
                <a:cubicBezTo>
                  <a:pt x="5163250" y="3002258"/>
                  <a:pt x="5133847" y="2818866"/>
                  <a:pt x="5095093" y="2637473"/>
                </a:cubicBezTo>
                <a:cubicBezTo>
                  <a:pt x="5007996" y="2229804"/>
                  <a:pt x="4835925" y="1863754"/>
                  <a:pt x="4552027" y="1550927"/>
                </a:cubicBezTo>
                <a:cubicBezTo>
                  <a:pt x="4447383" y="1436406"/>
                  <a:pt x="4331245" y="1332162"/>
                  <a:pt x="4206285" y="1241535"/>
                </a:cubicBezTo>
                <a:cubicBezTo>
                  <a:pt x="4141534" y="1194752"/>
                  <a:pt x="4074914" y="1148367"/>
                  <a:pt x="4017916" y="1092106"/>
                </a:cubicBezTo>
                <a:cubicBezTo>
                  <a:pt x="3946102" y="1021411"/>
                  <a:pt x="3860780" y="979023"/>
                  <a:pt x="3766634" y="950252"/>
                </a:cubicBezTo>
                <a:cubicBezTo>
                  <a:pt x="3358801" y="826200"/>
                  <a:pt x="2946216" y="826355"/>
                  <a:pt x="2533034" y="924406"/>
                </a:cubicBezTo>
                <a:cubicBezTo>
                  <a:pt x="2476929" y="936392"/>
                  <a:pt x="2419353" y="950648"/>
                  <a:pt x="2362177" y="966775"/>
                </a:cubicBezTo>
                <a:cubicBezTo>
                  <a:pt x="2463328" y="900190"/>
                  <a:pt x="2585272" y="903469"/>
                  <a:pt x="2692688" y="857055"/>
                </a:cubicBezTo>
                <a:cubicBezTo>
                  <a:pt x="2635257" y="853681"/>
                  <a:pt x="2580622" y="863399"/>
                  <a:pt x="2526787" y="876855"/>
                </a:cubicBezTo>
                <a:cubicBezTo>
                  <a:pt x="2469610" y="892981"/>
                  <a:pt x="2412035" y="907237"/>
                  <a:pt x="2357128" y="924834"/>
                </a:cubicBezTo>
                <a:cubicBezTo>
                  <a:pt x="2301822" y="940562"/>
                  <a:pt x="2247314" y="960029"/>
                  <a:pt x="2195476" y="982835"/>
                </a:cubicBezTo>
                <a:cubicBezTo>
                  <a:pt x="2141369" y="1004172"/>
                  <a:pt x="2092200" y="1030320"/>
                  <a:pt x="2038892" y="1055397"/>
                </a:cubicBezTo>
                <a:cubicBezTo>
                  <a:pt x="2033826" y="1040836"/>
                  <a:pt x="2051456" y="1040981"/>
                  <a:pt x="2051328" y="1031230"/>
                </a:cubicBezTo>
                <a:cubicBezTo>
                  <a:pt x="2049059" y="1029760"/>
                  <a:pt x="2046789" y="1028290"/>
                  <a:pt x="2044919" y="1028689"/>
                </a:cubicBezTo>
                <a:cubicBezTo>
                  <a:pt x="2007516" y="1036680"/>
                  <a:pt x="1975850" y="1053222"/>
                  <a:pt x="1942714" y="1072034"/>
                </a:cubicBezTo>
                <a:cubicBezTo>
                  <a:pt x="1843705" y="1130339"/>
                  <a:pt x="1749635" y="1193455"/>
                  <a:pt x="1659433" y="1265523"/>
                </a:cubicBezTo>
                <a:cubicBezTo>
                  <a:pt x="1639387" y="1281537"/>
                  <a:pt x="1618543" y="1293812"/>
                  <a:pt x="1591162" y="1293796"/>
                </a:cubicBezTo>
                <a:cubicBezTo>
                  <a:pt x="1566051" y="1295250"/>
                  <a:pt x="1549075" y="1316475"/>
                  <a:pt x="1530900" y="1332091"/>
                </a:cubicBezTo>
                <a:cubicBezTo>
                  <a:pt x="1515131" y="1345237"/>
                  <a:pt x="1498863" y="1356045"/>
                  <a:pt x="1480860" y="1363313"/>
                </a:cubicBezTo>
                <a:lnTo>
                  <a:pt x="1469896" y="1366433"/>
                </a:lnTo>
                <a:lnTo>
                  <a:pt x="1485917" y="1349400"/>
                </a:lnTo>
                <a:cubicBezTo>
                  <a:pt x="1513115" y="1322395"/>
                  <a:pt x="1542565" y="1294909"/>
                  <a:pt x="1574268" y="1266943"/>
                </a:cubicBezTo>
                <a:cubicBezTo>
                  <a:pt x="1606451" y="1241229"/>
                  <a:pt x="1667276" y="1195266"/>
                  <a:pt x="1710085" y="1153153"/>
                </a:cubicBezTo>
                <a:cubicBezTo>
                  <a:pt x="1756743" y="1129056"/>
                  <a:pt x="1799552" y="1086942"/>
                  <a:pt x="1853295" y="1051913"/>
                </a:cubicBezTo>
                <a:cubicBezTo>
                  <a:pt x="1856836" y="1046446"/>
                  <a:pt x="1862302" y="1049988"/>
                  <a:pt x="1870349" y="1043559"/>
                </a:cubicBezTo>
                <a:cubicBezTo>
                  <a:pt x="1961740" y="986358"/>
                  <a:pt x="2063102" y="931734"/>
                  <a:pt x="2165426" y="881616"/>
                </a:cubicBezTo>
                <a:cubicBezTo>
                  <a:pt x="2217070" y="858808"/>
                  <a:pt x="2269194" y="838252"/>
                  <a:pt x="2321799" y="819950"/>
                </a:cubicBezTo>
                <a:lnTo>
                  <a:pt x="2427971" y="787847"/>
                </a:lnTo>
                <a:lnTo>
                  <a:pt x="2380636" y="803258"/>
                </a:lnTo>
                <a:cubicBezTo>
                  <a:pt x="2364348" y="809681"/>
                  <a:pt x="2349305" y="816427"/>
                  <a:pt x="2340778" y="820604"/>
                </a:cubicBezTo>
                <a:cubicBezTo>
                  <a:pt x="2336273" y="821566"/>
                  <a:pt x="2336273" y="821566"/>
                  <a:pt x="2336273" y="821566"/>
                </a:cubicBezTo>
                <a:cubicBezTo>
                  <a:pt x="2288653" y="841160"/>
                  <a:pt x="2258087" y="852399"/>
                  <a:pt x="2205963" y="872955"/>
                </a:cubicBezTo>
                <a:cubicBezTo>
                  <a:pt x="2201459" y="873917"/>
                  <a:pt x="2201459" y="873917"/>
                  <a:pt x="2201459" y="873917"/>
                </a:cubicBezTo>
                <a:cubicBezTo>
                  <a:pt x="2202421" y="878421"/>
                  <a:pt x="2197917" y="879383"/>
                  <a:pt x="2202421" y="878421"/>
                </a:cubicBezTo>
                <a:cubicBezTo>
                  <a:pt x="2202421" y="878421"/>
                  <a:pt x="2206925" y="877459"/>
                  <a:pt x="2211429" y="876496"/>
                </a:cubicBezTo>
                <a:cubicBezTo>
                  <a:pt x="2259049" y="856904"/>
                  <a:pt x="2294120" y="844701"/>
                  <a:pt x="2337236" y="826071"/>
                </a:cubicBezTo>
                <a:cubicBezTo>
                  <a:pt x="2338198" y="830575"/>
                  <a:pt x="2338198" y="830575"/>
                  <a:pt x="2342703" y="829613"/>
                </a:cubicBezTo>
                <a:cubicBezTo>
                  <a:pt x="2342703" y="829613"/>
                  <a:pt x="2347207" y="828650"/>
                  <a:pt x="2347207" y="828650"/>
                </a:cubicBezTo>
                <a:cubicBezTo>
                  <a:pt x="2347207" y="828650"/>
                  <a:pt x="2347207" y="828650"/>
                  <a:pt x="2346245" y="824146"/>
                </a:cubicBezTo>
                <a:cubicBezTo>
                  <a:pt x="2384856" y="806478"/>
                  <a:pt x="2432785" y="810367"/>
                  <a:pt x="2437943" y="790426"/>
                </a:cubicBezTo>
                <a:lnTo>
                  <a:pt x="2455960" y="786577"/>
                </a:lnTo>
                <a:cubicBezTo>
                  <a:pt x="2460464" y="785615"/>
                  <a:pt x="2464967" y="784653"/>
                  <a:pt x="2464967" y="784653"/>
                </a:cubicBezTo>
                <a:cubicBezTo>
                  <a:pt x="2465930" y="789157"/>
                  <a:pt x="2467854" y="798165"/>
                  <a:pt x="2464313" y="803631"/>
                </a:cubicBezTo>
                <a:cubicBezTo>
                  <a:pt x="2459809" y="804594"/>
                  <a:pt x="2455304" y="805556"/>
                  <a:pt x="2450800" y="806518"/>
                </a:cubicBezTo>
                <a:cubicBezTo>
                  <a:pt x="2437288" y="809405"/>
                  <a:pt x="2429242" y="815833"/>
                  <a:pt x="2420234" y="817758"/>
                </a:cubicBezTo>
                <a:cubicBezTo>
                  <a:pt x="2420234" y="817758"/>
                  <a:pt x="2415730" y="818720"/>
                  <a:pt x="2415730" y="818720"/>
                </a:cubicBezTo>
                <a:cubicBezTo>
                  <a:pt x="2412188" y="824186"/>
                  <a:pt x="2407684" y="825149"/>
                  <a:pt x="2403180" y="826111"/>
                </a:cubicBezTo>
                <a:cubicBezTo>
                  <a:pt x="2403180" y="826111"/>
                  <a:pt x="2398676" y="827073"/>
                  <a:pt x="2398676" y="827073"/>
                </a:cubicBezTo>
                <a:cubicBezTo>
                  <a:pt x="2399639" y="831577"/>
                  <a:pt x="2404142" y="830615"/>
                  <a:pt x="2404142" y="830615"/>
                </a:cubicBezTo>
                <a:cubicBezTo>
                  <a:pt x="2413151" y="828691"/>
                  <a:pt x="2412188" y="824186"/>
                  <a:pt x="2416693" y="823224"/>
                </a:cubicBezTo>
                <a:cubicBezTo>
                  <a:pt x="2416693" y="823224"/>
                  <a:pt x="2416693" y="823224"/>
                  <a:pt x="2421196" y="822262"/>
                </a:cubicBezTo>
                <a:cubicBezTo>
                  <a:pt x="2416693" y="823224"/>
                  <a:pt x="2417655" y="827728"/>
                  <a:pt x="2417655" y="827728"/>
                </a:cubicBezTo>
                <a:cubicBezTo>
                  <a:pt x="2417655" y="827728"/>
                  <a:pt x="2422158" y="826766"/>
                  <a:pt x="2422158" y="826766"/>
                </a:cubicBezTo>
                <a:cubicBezTo>
                  <a:pt x="2426663" y="825804"/>
                  <a:pt x="2431167" y="824841"/>
                  <a:pt x="2431167" y="824841"/>
                </a:cubicBezTo>
                <a:cubicBezTo>
                  <a:pt x="2431167" y="824841"/>
                  <a:pt x="2430205" y="820337"/>
                  <a:pt x="2430205" y="820337"/>
                </a:cubicBezTo>
                <a:cubicBezTo>
                  <a:pt x="2434709" y="819375"/>
                  <a:pt x="2442754" y="812946"/>
                  <a:pt x="2447259" y="811984"/>
                </a:cubicBezTo>
                <a:cubicBezTo>
                  <a:pt x="2456267" y="810059"/>
                  <a:pt x="2460771" y="809097"/>
                  <a:pt x="2469779" y="807172"/>
                </a:cubicBezTo>
                <a:cubicBezTo>
                  <a:pt x="2492299" y="802361"/>
                  <a:pt x="2492299" y="802361"/>
                  <a:pt x="2492299" y="802361"/>
                </a:cubicBezTo>
                <a:cubicBezTo>
                  <a:pt x="2496804" y="801399"/>
                  <a:pt x="2500345" y="795933"/>
                  <a:pt x="2500345" y="795933"/>
                </a:cubicBezTo>
                <a:cubicBezTo>
                  <a:pt x="2500345" y="795933"/>
                  <a:pt x="2495842" y="796895"/>
                  <a:pt x="2491337" y="797858"/>
                </a:cubicBezTo>
                <a:cubicBezTo>
                  <a:pt x="2473321" y="801707"/>
                  <a:pt x="2473321" y="801707"/>
                  <a:pt x="2473321" y="801707"/>
                </a:cubicBezTo>
                <a:cubicBezTo>
                  <a:pt x="2475900" y="791736"/>
                  <a:pt x="2479442" y="786270"/>
                  <a:pt x="2478479" y="781766"/>
                </a:cubicBezTo>
                <a:cubicBezTo>
                  <a:pt x="2477517" y="777261"/>
                  <a:pt x="2477517" y="777261"/>
                  <a:pt x="2477517" y="777261"/>
                </a:cubicBezTo>
                <a:cubicBezTo>
                  <a:pt x="2482021" y="776299"/>
                  <a:pt x="2482021" y="776299"/>
                  <a:pt x="2486526" y="775337"/>
                </a:cubicBezTo>
                <a:cubicBezTo>
                  <a:pt x="2490068" y="769870"/>
                  <a:pt x="2490068" y="769870"/>
                  <a:pt x="2490068" y="769870"/>
                </a:cubicBezTo>
                <a:cubicBezTo>
                  <a:pt x="2484601" y="766329"/>
                  <a:pt x="2484601" y="766329"/>
                  <a:pt x="2484601" y="766329"/>
                </a:cubicBezTo>
                <a:close/>
                <a:moveTo>
                  <a:pt x="4722193" y="185911"/>
                </a:moveTo>
                <a:cubicBezTo>
                  <a:pt x="4753921" y="193845"/>
                  <a:pt x="4773751" y="197812"/>
                  <a:pt x="4809446" y="213679"/>
                </a:cubicBezTo>
                <a:cubicBezTo>
                  <a:pt x="4809446" y="213679"/>
                  <a:pt x="4809446" y="217645"/>
                  <a:pt x="4801514" y="217645"/>
                </a:cubicBezTo>
                <a:cubicBezTo>
                  <a:pt x="4801514" y="217645"/>
                  <a:pt x="4833242" y="229546"/>
                  <a:pt x="4841174" y="225579"/>
                </a:cubicBezTo>
                <a:cubicBezTo>
                  <a:pt x="4849106" y="233513"/>
                  <a:pt x="4853073" y="237479"/>
                  <a:pt x="4849106" y="241446"/>
                </a:cubicBezTo>
                <a:cubicBezTo>
                  <a:pt x="4864970" y="241446"/>
                  <a:pt x="4904631" y="269214"/>
                  <a:pt x="4928427" y="277147"/>
                </a:cubicBezTo>
                <a:cubicBezTo>
                  <a:pt x="4936360" y="281114"/>
                  <a:pt x="4940326" y="281114"/>
                  <a:pt x="4948258" y="285081"/>
                </a:cubicBezTo>
                <a:cubicBezTo>
                  <a:pt x="5011715" y="312848"/>
                  <a:pt x="5071206" y="356483"/>
                  <a:pt x="5126730" y="392184"/>
                </a:cubicBezTo>
                <a:cubicBezTo>
                  <a:pt x="5146560" y="404084"/>
                  <a:pt x="5186221" y="419951"/>
                  <a:pt x="5178288" y="427885"/>
                </a:cubicBezTo>
                <a:cubicBezTo>
                  <a:pt x="5194153" y="435818"/>
                  <a:pt x="5206051" y="443752"/>
                  <a:pt x="5213983" y="443752"/>
                </a:cubicBezTo>
                <a:cubicBezTo>
                  <a:pt x="5225881" y="455652"/>
                  <a:pt x="5217949" y="455652"/>
                  <a:pt x="5213984" y="455652"/>
                </a:cubicBezTo>
                <a:cubicBezTo>
                  <a:pt x="5170357" y="435818"/>
                  <a:pt x="5122764" y="400117"/>
                  <a:pt x="5091035" y="380284"/>
                </a:cubicBezTo>
                <a:cubicBezTo>
                  <a:pt x="5087070" y="376317"/>
                  <a:pt x="5083104" y="376317"/>
                  <a:pt x="5083103" y="380284"/>
                </a:cubicBezTo>
                <a:cubicBezTo>
                  <a:pt x="5087069" y="380284"/>
                  <a:pt x="5087069" y="380284"/>
                  <a:pt x="5091036" y="384250"/>
                </a:cubicBezTo>
                <a:cubicBezTo>
                  <a:pt x="5095002" y="384250"/>
                  <a:pt x="5098967" y="388217"/>
                  <a:pt x="5098968" y="392184"/>
                </a:cubicBezTo>
                <a:cubicBezTo>
                  <a:pt x="5098968" y="392184"/>
                  <a:pt x="5095002" y="392184"/>
                  <a:pt x="5091035" y="388217"/>
                </a:cubicBezTo>
                <a:cubicBezTo>
                  <a:pt x="5091035" y="388217"/>
                  <a:pt x="5091035" y="388217"/>
                  <a:pt x="5087069" y="388217"/>
                </a:cubicBezTo>
                <a:cubicBezTo>
                  <a:pt x="5126730" y="419951"/>
                  <a:pt x="5170356" y="447719"/>
                  <a:pt x="5217950" y="479453"/>
                </a:cubicBezTo>
                <a:cubicBezTo>
                  <a:pt x="5261576" y="507220"/>
                  <a:pt x="5305202" y="538955"/>
                  <a:pt x="5348829" y="574656"/>
                </a:cubicBezTo>
                <a:cubicBezTo>
                  <a:pt x="5360727" y="578622"/>
                  <a:pt x="5368659" y="582589"/>
                  <a:pt x="5376592" y="590523"/>
                </a:cubicBezTo>
                <a:cubicBezTo>
                  <a:pt x="5416252" y="622257"/>
                  <a:pt x="5440049" y="638124"/>
                  <a:pt x="5471777" y="669858"/>
                </a:cubicBezTo>
                <a:cubicBezTo>
                  <a:pt x="5475743" y="669858"/>
                  <a:pt x="5483675" y="665892"/>
                  <a:pt x="5487641" y="661925"/>
                </a:cubicBezTo>
                <a:cubicBezTo>
                  <a:pt x="5499539" y="669858"/>
                  <a:pt x="5507472" y="673825"/>
                  <a:pt x="5511437" y="673825"/>
                </a:cubicBezTo>
                <a:cubicBezTo>
                  <a:pt x="5511437" y="673825"/>
                  <a:pt x="5507471" y="669858"/>
                  <a:pt x="5507471" y="669858"/>
                </a:cubicBezTo>
                <a:cubicBezTo>
                  <a:pt x="5507471" y="665891"/>
                  <a:pt x="5507471" y="665891"/>
                  <a:pt x="5507471" y="665891"/>
                </a:cubicBezTo>
                <a:cubicBezTo>
                  <a:pt x="5511438" y="665892"/>
                  <a:pt x="5515403" y="669858"/>
                  <a:pt x="5515404" y="673825"/>
                </a:cubicBezTo>
                <a:cubicBezTo>
                  <a:pt x="5515404" y="673825"/>
                  <a:pt x="5519369" y="673825"/>
                  <a:pt x="5519369" y="677792"/>
                </a:cubicBezTo>
                <a:cubicBezTo>
                  <a:pt x="5527301" y="669858"/>
                  <a:pt x="5543166" y="681759"/>
                  <a:pt x="5562995" y="701593"/>
                </a:cubicBezTo>
                <a:cubicBezTo>
                  <a:pt x="5582826" y="721427"/>
                  <a:pt x="5606623" y="745227"/>
                  <a:pt x="5626452" y="765061"/>
                </a:cubicBezTo>
                <a:cubicBezTo>
                  <a:pt x="5630419" y="776961"/>
                  <a:pt x="5610589" y="753161"/>
                  <a:pt x="5610589" y="757128"/>
                </a:cubicBezTo>
                <a:cubicBezTo>
                  <a:pt x="5610589" y="757128"/>
                  <a:pt x="5614555" y="761094"/>
                  <a:pt x="5614555" y="761094"/>
                </a:cubicBezTo>
                <a:cubicBezTo>
                  <a:pt x="5618520" y="765061"/>
                  <a:pt x="5622487" y="765061"/>
                  <a:pt x="5618521" y="769028"/>
                </a:cubicBezTo>
                <a:cubicBezTo>
                  <a:pt x="5618521" y="769028"/>
                  <a:pt x="5618521" y="769028"/>
                  <a:pt x="5614555" y="765061"/>
                </a:cubicBezTo>
                <a:cubicBezTo>
                  <a:pt x="5614555" y="765061"/>
                  <a:pt x="5614555" y="765061"/>
                  <a:pt x="5610588" y="765061"/>
                </a:cubicBezTo>
                <a:cubicBezTo>
                  <a:pt x="5622486" y="776961"/>
                  <a:pt x="5634385" y="788862"/>
                  <a:pt x="5630418" y="792829"/>
                </a:cubicBezTo>
                <a:cubicBezTo>
                  <a:pt x="5618521" y="788862"/>
                  <a:pt x="5598690" y="769028"/>
                  <a:pt x="5590759" y="765061"/>
                </a:cubicBezTo>
                <a:cubicBezTo>
                  <a:pt x="5590759" y="765061"/>
                  <a:pt x="5590759" y="765061"/>
                  <a:pt x="5594724" y="769028"/>
                </a:cubicBezTo>
                <a:cubicBezTo>
                  <a:pt x="5598690" y="772995"/>
                  <a:pt x="5598690" y="772995"/>
                  <a:pt x="5602657" y="776961"/>
                </a:cubicBezTo>
                <a:cubicBezTo>
                  <a:pt x="5602657" y="776961"/>
                  <a:pt x="5598690" y="776961"/>
                  <a:pt x="5598690" y="776961"/>
                </a:cubicBezTo>
                <a:cubicBezTo>
                  <a:pt x="5598690" y="772995"/>
                  <a:pt x="5594725" y="772995"/>
                  <a:pt x="5594725" y="772995"/>
                </a:cubicBezTo>
                <a:cubicBezTo>
                  <a:pt x="5602657" y="776961"/>
                  <a:pt x="5606622" y="788862"/>
                  <a:pt x="5614555" y="796795"/>
                </a:cubicBezTo>
                <a:cubicBezTo>
                  <a:pt x="5650249" y="832496"/>
                  <a:pt x="5693876" y="868197"/>
                  <a:pt x="5729570" y="907865"/>
                </a:cubicBezTo>
                <a:cubicBezTo>
                  <a:pt x="5741468" y="919765"/>
                  <a:pt x="5745434" y="927699"/>
                  <a:pt x="5757333" y="943566"/>
                </a:cubicBezTo>
                <a:cubicBezTo>
                  <a:pt x="5789061" y="979267"/>
                  <a:pt x="5824756" y="1022902"/>
                  <a:pt x="5856484" y="1058602"/>
                </a:cubicBezTo>
                <a:cubicBezTo>
                  <a:pt x="5884247" y="1094304"/>
                  <a:pt x="5908042" y="1122071"/>
                  <a:pt x="5908043" y="1133972"/>
                </a:cubicBezTo>
                <a:cubicBezTo>
                  <a:pt x="5908043" y="1133972"/>
                  <a:pt x="5908043" y="1133972"/>
                  <a:pt x="5908042" y="1137938"/>
                </a:cubicBezTo>
                <a:cubicBezTo>
                  <a:pt x="5908042" y="1137938"/>
                  <a:pt x="5908042" y="1137938"/>
                  <a:pt x="5912009" y="1141905"/>
                </a:cubicBezTo>
                <a:cubicBezTo>
                  <a:pt x="5915975" y="1141905"/>
                  <a:pt x="5915975" y="1145872"/>
                  <a:pt x="5915975" y="1149838"/>
                </a:cubicBezTo>
                <a:cubicBezTo>
                  <a:pt x="5915975" y="1149838"/>
                  <a:pt x="5915975" y="1149838"/>
                  <a:pt x="5912008" y="1145872"/>
                </a:cubicBezTo>
                <a:cubicBezTo>
                  <a:pt x="5912008" y="1145872"/>
                  <a:pt x="5912008" y="1145872"/>
                  <a:pt x="5908042" y="1141905"/>
                </a:cubicBezTo>
                <a:cubicBezTo>
                  <a:pt x="5915974" y="1157772"/>
                  <a:pt x="5927873" y="1173639"/>
                  <a:pt x="5935805" y="1185539"/>
                </a:cubicBezTo>
                <a:cubicBezTo>
                  <a:pt x="5931839" y="1189506"/>
                  <a:pt x="5939771" y="1205373"/>
                  <a:pt x="5931839" y="1205373"/>
                </a:cubicBezTo>
                <a:cubicBezTo>
                  <a:pt x="5987364" y="1280742"/>
                  <a:pt x="6007194" y="1344210"/>
                  <a:pt x="6054787" y="1391812"/>
                </a:cubicBezTo>
                <a:cubicBezTo>
                  <a:pt x="6078583" y="1443380"/>
                  <a:pt x="6078583" y="1479081"/>
                  <a:pt x="6110311" y="1530649"/>
                </a:cubicBezTo>
                <a:cubicBezTo>
                  <a:pt x="6110311" y="1534616"/>
                  <a:pt x="6114277" y="1546516"/>
                  <a:pt x="6118243" y="1550483"/>
                </a:cubicBezTo>
                <a:cubicBezTo>
                  <a:pt x="6130142" y="1574284"/>
                  <a:pt x="6146006" y="1606018"/>
                  <a:pt x="6157904" y="1633786"/>
                </a:cubicBezTo>
                <a:cubicBezTo>
                  <a:pt x="6169802" y="1661553"/>
                  <a:pt x="6177734" y="1693287"/>
                  <a:pt x="6177734" y="1709154"/>
                </a:cubicBezTo>
                <a:cubicBezTo>
                  <a:pt x="6169802" y="1705187"/>
                  <a:pt x="6161869" y="1689320"/>
                  <a:pt x="6153938" y="1669486"/>
                </a:cubicBezTo>
                <a:cubicBezTo>
                  <a:pt x="6149972" y="1649652"/>
                  <a:pt x="6142039" y="1629819"/>
                  <a:pt x="6134108" y="1621885"/>
                </a:cubicBezTo>
                <a:cubicBezTo>
                  <a:pt x="6130142" y="1609984"/>
                  <a:pt x="6130141" y="1602051"/>
                  <a:pt x="6130142" y="1590151"/>
                </a:cubicBezTo>
                <a:cubicBezTo>
                  <a:pt x="6114278" y="1554450"/>
                  <a:pt x="6106345" y="1542549"/>
                  <a:pt x="6090481" y="1514782"/>
                </a:cubicBezTo>
                <a:cubicBezTo>
                  <a:pt x="6098413" y="1518749"/>
                  <a:pt x="6086515" y="1498915"/>
                  <a:pt x="6082549" y="1487014"/>
                </a:cubicBezTo>
                <a:cubicBezTo>
                  <a:pt x="6078583" y="1483048"/>
                  <a:pt x="6066685" y="1471147"/>
                  <a:pt x="6074617" y="1487014"/>
                </a:cubicBezTo>
                <a:cubicBezTo>
                  <a:pt x="6058752" y="1459247"/>
                  <a:pt x="6038922" y="1423546"/>
                  <a:pt x="6019092" y="1383878"/>
                </a:cubicBezTo>
                <a:cubicBezTo>
                  <a:pt x="6003227" y="1348177"/>
                  <a:pt x="5979431" y="1308510"/>
                  <a:pt x="5959602" y="1272808"/>
                </a:cubicBezTo>
                <a:cubicBezTo>
                  <a:pt x="5959602" y="1272808"/>
                  <a:pt x="5955635" y="1264875"/>
                  <a:pt x="5963568" y="1264875"/>
                </a:cubicBezTo>
                <a:cubicBezTo>
                  <a:pt x="5935805" y="1221240"/>
                  <a:pt x="5923907" y="1197439"/>
                  <a:pt x="5900111" y="1181572"/>
                </a:cubicBezTo>
                <a:cubicBezTo>
                  <a:pt x="5888213" y="1157772"/>
                  <a:pt x="5876315" y="1145872"/>
                  <a:pt x="5868382" y="1130005"/>
                </a:cubicBezTo>
                <a:cubicBezTo>
                  <a:pt x="5860450" y="1122071"/>
                  <a:pt x="5868382" y="1133971"/>
                  <a:pt x="5864416" y="1133972"/>
                </a:cubicBezTo>
                <a:cubicBezTo>
                  <a:pt x="5852518" y="1118104"/>
                  <a:pt x="5840619" y="1102237"/>
                  <a:pt x="5828722" y="1086370"/>
                </a:cubicBezTo>
                <a:cubicBezTo>
                  <a:pt x="5840619" y="1086370"/>
                  <a:pt x="5828721" y="1074470"/>
                  <a:pt x="5824755" y="1066536"/>
                </a:cubicBezTo>
                <a:cubicBezTo>
                  <a:pt x="5828721" y="1058603"/>
                  <a:pt x="5844586" y="1070503"/>
                  <a:pt x="5860450" y="1078437"/>
                </a:cubicBezTo>
                <a:cubicBezTo>
                  <a:pt x="5856484" y="1058602"/>
                  <a:pt x="5804925" y="1014968"/>
                  <a:pt x="5789061" y="995134"/>
                </a:cubicBezTo>
                <a:cubicBezTo>
                  <a:pt x="5789061" y="999101"/>
                  <a:pt x="5789061" y="999101"/>
                  <a:pt x="5789061" y="999101"/>
                </a:cubicBezTo>
                <a:cubicBezTo>
                  <a:pt x="5793027" y="1003068"/>
                  <a:pt x="5793027" y="1007034"/>
                  <a:pt x="5793027" y="1007034"/>
                </a:cubicBezTo>
                <a:cubicBezTo>
                  <a:pt x="5789061" y="1003068"/>
                  <a:pt x="5785095" y="1003068"/>
                  <a:pt x="5785095" y="999101"/>
                </a:cubicBezTo>
                <a:cubicBezTo>
                  <a:pt x="5781129" y="1003068"/>
                  <a:pt x="5757332" y="975300"/>
                  <a:pt x="5765264" y="975300"/>
                </a:cubicBezTo>
                <a:cubicBezTo>
                  <a:pt x="5761299" y="975300"/>
                  <a:pt x="5761299" y="975300"/>
                  <a:pt x="5757332" y="971334"/>
                </a:cubicBezTo>
                <a:cubicBezTo>
                  <a:pt x="5757332" y="971334"/>
                  <a:pt x="5757332" y="971334"/>
                  <a:pt x="5757333" y="967367"/>
                </a:cubicBezTo>
                <a:cubicBezTo>
                  <a:pt x="5757333" y="967367"/>
                  <a:pt x="5757333" y="963400"/>
                  <a:pt x="5757333" y="963400"/>
                </a:cubicBezTo>
                <a:cubicBezTo>
                  <a:pt x="5757333" y="963400"/>
                  <a:pt x="5757333" y="963400"/>
                  <a:pt x="5761298" y="967367"/>
                </a:cubicBezTo>
                <a:cubicBezTo>
                  <a:pt x="5737503" y="939599"/>
                  <a:pt x="5753366" y="963400"/>
                  <a:pt x="5749401" y="967367"/>
                </a:cubicBezTo>
                <a:cubicBezTo>
                  <a:pt x="5745435" y="971333"/>
                  <a:pt x="5737502" y="963400"/>
                  <a:pt x="5737502" y="963400"/>
                </a:cubicBezTo>
                <a:cubicBezTo>
                  <a:pt x="5733536" y="967367"/>
                  <a:pt x="5753367" y="991167"/>
                  <a:pt x="5741469" y="983234"/>
                </a:cubicBezTo>
                <a:cubicBezTo>
                  <a:pt x="5729571" y="975300"/>
                  <a:pt x="5717672" y="967367"/>
                  <a:pt x="5705773" y="955466"/>
                </a:cubicBezTo>
                <a:cubicBezTo>
                  <a:pt x="5697842" y="943566"/>
                  <a:pt x="5685944" y="935633"/>
                  <a:pt x="5674045" y="919765"/>
                </a:cubicBezTo>
                <a:cubicBezTo>
                  <a:pt x="5678011" y="911832"/>
                  <a:pt x="5697842" y="931666"/>
                  <a:pt x="5705774" y="935633"/>
                </a:cubicBezTo>
                <a:cubicBezTo>
                  <a:pt x="5713706" y="931666"/>
                  <a:pt x="5697841" y="919765"/>
                  <a:pt x="5697842" y="915799"/>
                </a:cubicBezTo>
                <a:cubicBezTo>
                  <a:pt x="5689910" y="911832"/>
                  <a:pt x="5681977" y="899931"/>
                  <a:pt x="5678012" y="899931"/>
                </a:cubicBezTo>
                <a:cubicBezTo>
                  <a:pt x="5622487" y="836463"/>
                  <a:pt x="5566962" y="804729"/>
                  <a:pt x="5523336" y="749194"/>
                </a:cubicBezTo>
                <a:cubicBezTo>
                  <a:pt x="5515403" y="741261"/>
                  <a:pt x="5503505" y="733327"/>
                  <a:pt x="5495573" y="725393"/>
                </a:cubicBezTo>
                <a:cubicBezTo>
                  <a:pt x="5475743" y="705559"/>
                  <a:pt x="5479709" y="709526"/>
                  <a:pt x="5455913" y="689692"/>
                </a:cubicBezTo>
                <a:cubicBezTo>
                  <a:pt x="5451947" y="685725"/>
                  <a:pt x="5447980" y="685725"/>
                  <a:pt x="5447981" y="689692"/>
                </a:cubicBezTo>
                <a:cubicBezTo>
                  <a:pt x="5416252" y="665892"/>
                  <a:pt x="5396422" y="650024"/>
                  <a:pt x="5376591" y="634157"/>
                </a:cubicBezTo>
                <a:cubicBezTo>
                  <a:pt x="5356762" y="618290"/>
                  <a:pt x="5340897" y="602423"/>
                  <a:pt x="5317100" y="582589"/>
                </a:cubicBezTo>
                <a:cubicBezTo>
                  <a:pt x="5305203" y="578622"/>
                  <a:pt x="5317101" y="590523"/>
                  <a:pt x="5313135" y="598456"/>
                </a:cubicBezTo>
                <a:cubicBezTo>
                  <a:pt x="5305202" y="594490"/>
                  <a:pt x="5305202" y="594490"/>
                  <a:pt x="5301237" y="594489"/>
                </a:cubicBezTo>
                <a:cubicBezTo>
                  <a:pt x="5277440" y="578622"/>
                  <a:pt x="5273474" y="570689"/>
                  <a:pt x="5249678" y="554822"/>
                </a:cubicBezTo>
                <a:cubicBezTo>
                  <a:pt x="5249678" y="550855"/>
                  <a:pt x="5253644" y="550855"/>
                  <a:pt x="5249677" y="546888"/>
                </a:cubicBezTo>
                <a:cubicBezTo>
                  <a:pt x="5253644" y="546888"/>
                  <a:pt x="5257610" y="542921"/>
                  <a:pt x="5273474" y="554822"/>
                </a:cubicBezTo>
                <a:cubicBezTo>
                  <a:pt x="5257610" y="538955"/>
                  <a:pt x="5229847" y="519121"/>
                  <a:pt x="5206051" y="503254"/>
                </a:cubicBezTo>
                <a:cubicBezTo>
                  <a:pt x="5178289" y="487386"/>
                  <a:pt x="5154492" y="471519"/>
                  <a:pt x="5142594" y="455652"/>
                </a:cubicBezTo>
                <a:cubicBezTo>
                  <a:pt x="5091036" y="431852"/>
                  <a:pt x="5063273" y="408051"/>
                  <a:pt x="5015681" y="380283"/>
                </a:cubicBezTo>
                <a:cubicBezTo>
                  <a:pt x="4991884" y="372350"/>
                  <a:pt x="5027579" y="396151"/>
                  <a:pt x="5007749" y="392184"/>
                </a:cubicBezTo>
                <a:cubicBezTo>
                  <a:pt x="4999817" y="384250"/>
                  <a:pt x="4995850" y="388217"/>
                  <a:pt x="4983952" y="380284"/>
                </a:cubicBezTo>
                <a:cubicBezTo>
                  <a:pt x="4991884" y="376317"/>
                  <a:pt x="4976020" y="364416"/>
                  <a:pt x="4991884" y="364416"/>
                </a:cubicBezTo>
                <a:cubicBezTo>
                  <a:pt x="4979986" y="352516"/>
                  <a:pt x="4940325" y="332682"/>
                  <a:pt x="4916529" y="328715"/>
                </a:cubicBezTo>
                <a:cubicBezTo>
                  <a:pt x="4853072" y="285081"/>
                  <a:pt x="4777718" y="253346"/>
                  <a:pt x="4674600" y="213679"/>
                </a:cubicBezTo>
                <a:cubicBezTo>
                  <a:pt x="4698397" y="209712"/>
                  <a:pt x="4730125" y="221612"/>
                  <a:pt x="4761853" y="229546"/>
                </a:cubicBezTo>
                <a:cubicBezTo>
                  <a:pt x="4797548" y="249380"/>
                  <a:pt x="4857039" y="273180"/>
                  <a:pt x="4900665" y="289047"/>
                </a:cubicBezTo>
                <a:cubicBezTo>
                  <a:pt x="4896699" y="289048"/>
                  <a:pt x="4892733" y="285081"/>
                  <a:pt x="4892733" y="285081"/>
                </a:cubicBezTo>
                <a:cubicBezTo>
                  <a:pt x="4896699" y="281114"/>
                  <a:pt x="4900665" y="281114"/>
                  <a:pt x="4904631" y="285081"/>
                </a:cubicBezTo>
                <a:cubicBezTo>
                  <a:pt x="4904631" y="285081"/>
                  <a:pt x="4904631" y="285081"/>
                  <a:pt x="4908597" y="285081"/>
                </a:cubicBezTo>
                <a:cubicBezTo>
                  <a:pt x="4864970" y="261280"/>
                  <a:pt x="4817378" y="245413"/>
                  <a:pt x="4785650" y="217645"/>
                </a:cubicBezTo>
                <a:cubicBezTo>
                  <a:pt x="4757887" y="209712"/>
                  <a:pt x="4718227" y="197812"/>
                  <a:pt x="4722193" y="185911"/>
                </a:cubicBezTo>
                <a:close/>
                <a:moveTo>
                  <a:pt x="1947650" y="777856"/>
                </a:moveTo>
                <a:lnTo>
                  <a:pt x="1935362" y="791245"/>
                </a:lnTo>
                <a:cubicBezTo>
                  <a:pt x="1928321" y="796870"/>
                  <a:pt x="1920035" y="802172"/>
                  <a:pt x="1909737" y="809082"/>
                </a:cubicBezTo>
                <a:cubicBezTo>
                  <a:pt x="1913279" y="803615"/>
                  <a:pt x="1908774" y="804578"/>
                  <a:pt x="1904271" y="805540"/>
                </a:cubicBezTo>
                <a:cubicBezTo>
                  <a:pt x="1882713" y="814856"/>
                  <a:pt x="1864041" y="837684"/>
                  <a:pt x="1846987" y="846036"/>
                </a:cubicBezTo>
                <a:cubicBezTo>
                  <a:pt x="1846987" y="846036"/>
                  <a:pt x="1850529" y="840570"/>
                  <a:pt x="1850529" y="840570"/>
                </a:cubicBezTo>
                <a:cubicBezTo>
                  <a:pt x="1820925" y="856314"/>
                  <a:pt x="1797750" y="880104"/>
                  <a:pt x="1787779" y="877524"/>
                </a:cubicBezTo>
                <a:cubicBezTo>
                  <a:pt x="1787779" y="877524"/>
                  <a:pt x="1788741" y="882029"/>
                  <a:pt x="1784238" y="882991"/>
                </a:cubicBezTo>
                <a:cubicBezTo>
                  <a:pt x="1773612" y="899390"/>
                  <a:pt x="1793246" y="881066"/>
                  <a:pt x="1797750" y="880104"/>
                </a:cubicBezTo>
                <a:cubicBezTo>
                  <a:pt x="1785681" y="889746"/>
                  <a:pt x="1777154" y="893923"/>
                  <a:pt x="1770316" y="897739"/>
                </a:cubicBezTo>
                <a:lnTo>
                  <a:pt x="1753457" y="912815"/>
                </a:lnTo>
                <a:lnTo>
                  <a:pt x="1753020" y="913030"/>
                </a:lnTo>
                <a:lnTo>
                  <a:pt x="1753224" y="903157"/>
                </a:lnTo>
                <a:cubicBezTo>
                  <a:pt x="1752863" y="901468"/>
                  <a:pt x="1750611" y="901949"/>
                  <a:pt x="1742083" y="906126"/>
                </a:cubicBezTo>
                <a:cubicBezTo>
                  <a:pt x="1740794" y="911111"/>
                  <a:pt x="1742401" y="913123"/>
                  <a:pt x="1743445" y="915254"/>
                </a:cubicBezTo>
                <a:lnTo>
                  <a:pt x="1742879" y="918021"/>
                </a:lnTo>
                <a:lnTo>
                  <a:pt x="1735613" y="921596"/>
                </a:lnTo>
                <a:cubicBezTo>
                  <a:pt x="1713871" y="930519"/>
                  <a:pt x="1691059" y="937592"/>
                  <a:pt x="1666447" y="941384"/>
                </a:cubicBezTo>
                <a:cubicBezTo>
                  <a:pt x="1683297" y="910409"/>
                  <a:pt x="1705611" y="895863"/>
                  <a:pt x="1730595" y="884660"/>
                </a:cubicBezTo>
                <a:cubicBezTo>
                  <a:pt x="1789914" y="860254"/>
                  <a:pt x="1846962" y="834378"/>
                  <a:pt x="1900144" y="799552"/>
                </a:cubicBezTo>
                <a:cubicBezTo>
                  <a:pt x="1910366" y="792479"/>
                  <a:pt x="1921080" y="787135"/>
                  <a:pt x="1932099" y="782795"/>
                </a:cubicBezTo>
                <a:close/>
                <a:moveTo>
                  <a:pt x="2248188" y="634910"/>
                </a:moveTo>
                <a:lnTo>
                  <a:pt x="2249855" y="637515"/>
                </a:lnTo>
                <a:cubicBezTo>
                  <a:pt x="2249855" y="637515"/>
                  <a:pt x="2245351" y="638477"/>
                  <a:pt x="2245351" y="638477"/>
                </a:cubicBezTo>
                <a:cubicBezTo>
                  <a:pt x="2240848" y="639439"/>
                  <a:pt x="2236343" y="640402"/>
                  <a:pt x="2237306" y="644906"/>
                </a:cubicBezTo>
                <a:cubicBezTo>
                  <a:pt x="2237306" y="644906"/>
                  <a:pt x="2237306" y="644906"/>
                  <a:pt x="2241810" y="643944"/>
                </a:cubicBezTo>
                <a:cubicBezTo>
                  <a:pt x="2246313" y="642981"/>
                  <a:pt x="2246313" y="642981"/>
                  <a:pt x="2246313" y="642981"/>
                </a:cubicBezTo>
                <a:cubicBezTo>
                  <a:pt x="2214785" y="649717"/>
                  <a:pt x="2158157" y="671235"/>
                  <a:pt x="2139485" y="694062"/>
                </a:cubicBezTo>
                <a:cubicBezTo>
                  <a:pt x="2129352" y="696227"/>
                  <a:pt x="2118050" y="699820"/>
                  <a:pt x="2105648" y="704456"/>
                </a:cubicBezTo>
                <a:lnTo>
                  <a:pt x="2080196" y="714942"/>
                </a:lnTo>
                <a:lnTo>
                  <a:pt x="2084254" y="709377"/>
                </a:lnTo>
                <a:cubicBezTo>
                  <a:pt x="2090808" y="694289"/>
                  <a:pt x="2105370" y="689222"/>
                  <a:pt x="2119532" y="682286"/>
                </a:cubicBezTo>
                <a:close/>
                <a:moveTo>
                  <a:pt x="2411064" y="586743"/>
                </a:moveTo>
                <a:lnTo>
                  <a:pt x="2413620" y="588398"/>
                </a:lnTo>
                <a:cubicBezTo>
                  <a:pt x="2404611" y="590323"/>
                  <a:pt x="2395603" y="592248"/>
                  <a:pt x="2392061" y="597714"/>
                </a:cubicBezTo>
                <a:cubicBezTo>
                  <a:pt x="2387558" y="598676"/>
                  <a:pt x="2378549" y="600601"/>
                  <a:pt x="2374045" y="601563"/>
                </a:cubicBezTo>
                <a:cubicBezTo>
                  <a:pt x="2360533" y="604450"/>
                  <a:pt x="2351525" y="606375"/>
                  <a:pt x="2338013" y="609261"/>
                </a:cubicBezTo>
                <a:cubicBezTo>
                  <a:pt x="2315492" y="614073"/>
                  <a:pt x="2299400" y="626930"/>
                  <a:pt x="2275917" y="627238"/>
                </a:cubicBezTo>
                <a:lnTo>
                  <a:pt x="2276204" y="626130"/>
                </a:lnTo>
                <a:lnTo>
                  <a:pt x="2387086" y="592524"/>
                </a:lnTo>
                <a:close/>
                <a:moveTo>
                  <a:pt x="2522905" y="559776"/>
                </a:moveTo>
                <a:lnTo>
                  <a:pt x="2540871" y="556503"/>
                </a:lnTo>
                <a:lnTo>
                  <a:pt x="2502340" y="564735"/>
                </a:lnTo>
                <a:close/>
                <a:moveTo>
                  <a:pt x="2659387" y="432280"/>
                </a:moveTo>
                <a:lnTo>
                  <a:pt x="2798433" y="411539"/>
                </a:lnTo>
                <a:lnTo>
                  <a:pt x="2817780" y="409701"/>
                </a:lnTo>
                <a:cubicBezTo>
                  <a:pt x="2861544" y="406863"/>
                  <a:pt x="2905643" y="405324"/>
                  <a:pt x="2950086" y="405117"/>
                </a:cubicBezTo>
                <a:cubicBezTo>
                  <a:pt x="2973528" y="404997"/>
                  <a:pt x="2986083" y="404270"/>
                  <a:pt x="2996187" y="398934"/>
                </a:cubicBezTo>
                <a:lnTo>
                  <a:pt x="3005378" y="391284"/>
                </a:lnTo>
                <a:lnTo>
                  <a:pt x="3093771" y="385395"/>
                </a:lnTo>
                <a:cubicBezTo>
                  <a:pt x="3382401" y="377891"/>
                  <a:pt x="3667463" y="417068"/>
                  <a:pt x="3939070" y="497975"/>
                </a:cubicBezTo>
                <a:cubicBezTo>
                  <a:pt x="3930063" y="499900"/>
                  <a:pt x="3924596" y="496358"/>
                  <a:pt x="3925558" y="500862"/>
                </a:cubicBezTo>
                <a:cubicBezTo>
                  <a:pt x="3962860" y="521150"/>
                  <a:pt x="3970907" y="514722"/>
                  <a:pt x="4005322" y="521498"/>
                </a:cubicBezTo>
                <a:cubicBezTo>
                  <a:pt x="4035233" y="529237"/>
                  <a:pt x="4070611" y="540516"/>
                  <a:pt x="4101485" y="552759"/>
                </a:cubicBezTo>
                <a:cubicBezTo>
                  <a:pt x="4107913" y="560806"/>
                  <a:pt x="4148757" y="575627"/>
                  <a:pt x="4157765" y="573703"/>
                </a:cubicBezTo>
                <a:cubicBezTo>
                  <a:pt x="4158727" y="578207"/>
                  <a:pt x="4158727" y="578207"/>
                  <a:pt x="4158727" y="578207"/>
                </a:cubicBezTo>
                <a:cubicBezTo>
                  <a:pt x="4163231" y="577244"/>
                  <a:pt x="4163231" y="577244"/>
                  <a:pt x="4163231" y="577244"/>
                </a:cubicBezTo>
                <a:cubicBezTo>
                  <a:pt x="4164194" y="581748"/>
                  <a:pt x="4164194" y="581748"/>
                  <a:pt x="4168698" y="580786"/>
                </a:cubicBezTo>
                <a:cubicBezTo>
                  <a:pt x="4173202" y="579823"/>
                  <a:pt x="4173202" y="579823"/>
                  <a:pt x="4178668" y="583366"/>
                </a:cubicBezTo>
                <a:cubicBezTo>
                  <a:pt x="4184135" y="586908"/>
                  <a:pt x="4199571" y="593029"/>
                  <a:pt x="4204075" y="592066"/>
                </a:cubicBezTo>
                <a:cubicBezTo>
                  <a:pt x="4230445" y="605271"/>
                  <a:pt x="4256814" y="618476"/>
                  <a:pt x="4286726" y="626215"/>
                </a:cubicBezTo>
                <a:cubicBezTo>
                  <a:pt x="4297658" y="633298"/>
                  <a:pt x="4308591" y="640382"/>
                  <a:pt x="4318562" y="642961"/>
                </a:cubicBezTo>
                <a:cubicBezTo>
                  <a:pt x="4344931" y="656166"/>
                  <a:pt x="4371300" y="669371"/>
                  <a:pt x="4392203" y="679034"/>
                </a:cubicBezTo>
                <a:cubicBezTo>
                  <a:pt x="4392203" y="679034"/>
                  <a:pt x="4387699" y="679996"/>
                  <a:pt x="4387699" y="679996"/>
                </a:cubicBezTo>
                <a:cubicBezTo>
                  <a:pt x="4393166" y="683538"/>
                  <a:pt x="4398632" y="687079"/>
                  <a:pt x="4403136" y="686117"/>
                </a:cubicBezTo>
                <a:cubicBezTo>
                  <a:pt x="4715065" y="845537"/>
                  <a:pt x="4998005" y="1067667"/>
                  <a:pt x="5230091" y="1338337"/>
                </a:cubicBezTo>
                <a:cubicBezTo>
                  <a:pt x="5485311" y="1651162"/>
                  <a:pt x="5672621" y="2020882"/>
                  <a:pt x="5771121" y="2437834"/>
                </a:cubicBezTo>
                <a:cubicBezTo>
                  <a:pt x="5766617" y="2438796"/>
                  <a:pt x="5766617" y="2438796"/>
                  <a:pt x="5762112" y="2439759"/>
                </a:cubicBezTo>
                <a:cubicBezTo>
                  <a:pt x="5744137" y="2377664"/>
                  <a:pt x="5711338" y="2356413"/>
                  <a:pt x="5684663" y="2319726"/>
                </a:cubicBezTo>
                <a:cubicBezTo>
                  <a:pt x="5684663" y="2319726"/>
                  <a:pt x="5682083" y="2329696"/>
                  <a:pt x="5684007" y="2338705"/>
                </a:cubicBezTo>
                <a:cubicBezTo>
                  <a:pt x="5671150" y="2322613"/>
                  <a:pt x="5667956" y="2285618"/>
                  <a:pt x="5657678" y="2259556"/>
                </a:cubicBezTo>
                <a:cubicBezTo>
                  <a:pt x="5643859" y="2238961"/>
                  <a:pt x="5622648" y="2205815"/>
                  <a:pt x="5622648" y="2205815"/>
                </a:cubicBezTo>
                <a:cubicBezTo>
                  <a:pt x="5614602" y="2212244"/>
                  <a:pt x="5618451" y="2230260"/>
                  <a:pt x="5623262" y="2252780"/>
                </a:cubicBezTo>
                <a:cubicBezTo>
                  <a:pt x="5618758" y="2253742"/>
                  <a:pt x="5617796" y="2249238"/>
                  <a:pt x="5617796" y="2249238"/>
                </a:cubicBezTo>
                <a:cubicBezTo>
                  <a:pt x="5616834" y="2244735"/>
                  <a:pt x="5616834" y="2244735"/>
                  <a:pt x="5616834" y="2244735"/>
                </a:cubicBezTo>
                <a:cubicBezTo>
                  <a:pt x="5616834" y="2244735"/>
                  <a:pt x="5615871" y="2240230"/>
                  <a:pt x="5615871" y="2240230"/>
                </a:cubicBezTo>
                <a:cubicBezTo>
                  <a:pt x="5615871" y="2240230"/>
                  <a:pt x="5614909" y="2235726"/>
                  <a:pt x="5613947" y="2231223"/>
                </a:cubicBezTo>
                <a:cubicBezTo>
                  <a:pt x="5609443" y="2232185"/>
                  <a:pt x="5609443" y="2232185"/>
                  <a:pt x="5610406" y="2236688"/>
                </a:cubicBezTo>
                <a:cubicBezTo>
                  <a:pt x="5610406" y="2236688"/>
                  <a:pt x="5611368" y="2241193"/>
                  <a:pt x="5611368" y="2241193"/>
                </a:cubicBezTo>
                <a:cubicBezTo>
                  <a:pt x="5612330" y="2245697"/>
                  <a:pt x="5612330" y="2245697"/>
                  <a:pt x="5612330" y="2245697"/>
                </a:cubicBezTo>
                <a:cubicBezTo>
                  <a:pt x="5597549" y="2220596"/>
                  <a:pt x="5605247" y="2256629"/>
                  <a:pt x="5610713" y="2260171"/>
                </a:cubicBezTo>
                <a:cubicBezTo>
                  <a:pt x="5611675" y="2264674"/>
                  <a:pt x="5616179" y="2263712"/>
                  <a:pt x="5616179" y="2263712"/>
                </a:cubicBezTo>
                <a:cubicBezTo>
                  <a:pt x="5616179" y="2263712"/>
                  <a:pt x="5615217" y="2259209"/>
                  <a:pt x="5615217" y="2259209"/>
                </a:cubicBezTo>
                <a:cubicBezTo>
                  <a:pt x="5618758" y="2253742"/>
                  <a:pt x="5618758" y="2253742"/>
                  <a:pt x="5618758" y="2253742"/>
                </a:cubicBezTo>
                <a:cubicBezTo>
                  <a:pt x="5618758" y="2253742"/>
                  <a:pt x="5620683" y="2262750"/>
                  <a:pt x="5621645" y="2267254"/>
                </a:cubicBezTo>
                <a:cubicBezTo>
                  <a:pt x="5622607" y="2271759"/>
                  <a:pt x="5622607" y="2271759"/>
                  <a:pt x="5622607" y="2271759"/>
                </a:cubicBezTo>
                <a:cubicBezTo>
                  <a:pt x="5629343" y="2303287"/>
                  <a:pt x="5625147" y="2327732"/>
                  <a:pt x="5607785" y="2312602"/>
                </a:cubicBezTo>
                <a:cubicBezTo>
                  <a:pt x="5602974" y="2290082"/>
                  <a:pt x="5598470" y="2291044"/>
                  <a:pt x="5591734" y="2259516"/>
                </a:cubicBezTo>
                <a:cubicBezTo>
                  <a:pt x="5581764" y="2256936"/>
                  <a:pt x="5585613" y="2274952"/>
                  <a:pt x="5577568" y="2281381"/>
                </a:cubicBezTo>
                <a:cubicBezTo>
                  <a:pt x="5555394" y="2243732"/>
                  <a:pt x="5531951" y="2178095"/>
                  <a:pt x="5509432" y="2182907"/>
                </a:cubicBezTo>
                <a:cubicBezTo>
                  <a:pt x="5509432" y="2182907"/>
                  <a:pt x="5508469" y="2178402"/>
                  <a:pt x="5508469" y="2178402"/>
                </a:cubicBezTo>
                <a:cubicBezTo>
                  <a:pt x="5508469" y="2178402"/>
                  <a:pt x="5506545" y="2169395"/>
                  <a:pt x="5506545" y="2169395"/>
                </a:cubicBezTo>
                <a:cubicBezTo>
                  <a:pt x="5501079" y="2165852"/>
                  <a:pt x="5500117" y="2161349"/>
                  <a:pt x="5501079" y="2165852"/>
                </a:cubicBezTo>
                <a:cubicBezTo>
                  <a:pt x="5494650" y="2157807"/>
                  <a:pt x="5491764" y="2144295"/>
                  <a:pt x="5476981" y="2119196"/>
                </a:cubicBezTo>
                <a:cubicBezTo>
                  <a:pt x="5470553" y="2111149"/>
                  <a:pt x="5469591" y="2106645"/>
                  <a:pt x="5468629" y="2102141"/>
                </a:cubicBezTo>
                <a:cubicBezTo>
                  <a:pt x="5468629" y="2102141"/>
                  <a:pt x="5463162" y="2098599"/>
                  <a:pt x="5463162" y="2098599"/>
                </a:cubicBezTo>
                <a:cubicBezTo>
                  <a:pt x="5462200" y="2094096"/>
                  <a:pt x="5462200" y="2094096"/>
                  <a:pt x="5462200" y="2094096"/>
                </a:cubicBezTo>
                <a:cubicBezTo>
                  <a:pt x="5461238" y="2089591"/>
                  <a:pt x="5457696" y="2095058"/>
                  <a:pt x="5457696" y="2095058"/>
                </a:cubicBezTo>
                <a:cubicBezTo>
                  <a:pt x="5456733" y="2090554"/>
                  <a:pt x="5456733" y="2090554"/>
                  <a:pt x="5456733" y="2090554"/>
                </a:cubicBezTo>
                <a:cubicBezTo>
                  <a:pt x="5452230" y="2091516"/>
                  <a:pt x="5448381" y="2073499"/>
                  <a:pt x="5443876" y="2074462"/>
                </a:cubicBezTo>
                <a:cubicBezTo>
                  <a:pt x="5453192" y="2096020"/>
                  <a:pt x="5444839" y="2078966"/>
                  <a:pt x="5442259" y="2088936"/>
                </a:cubicBezTo>
                <a:cubicBezTo>
                  <a:pt x="5431981" y="2062874"/>
                  <a:pt x="5439679" y="2098907"/>
                  <a:pt x="5431327" y="2081853"/>
                </a:cubicBezTo>
                <a:cubicBezTo>
                  <a:pt x="5421049" y="2055791"/>
                  <a:pt x="5416544" y="2056754"/>
                  <a:pt x="5418162" y="2042279"/>
                </a:cubicBezTo>
                <a:cubicBezTo>
                  <a:pt x="5404650" y="2045166"/>
                  <a:pt x="5382169" y="1984034"/>
                  <a:pt x="5359035" y="1941880"/>
                </a:cubicBezTo>
                <a:cubicBezTo>
                  <a:pt x="5358072" y="1937376"/>
                  <a:pt x="5351643" y="1929330"/>
                  <a:pt x="5344253" y="1916780"/>
                </a:cubicBezTo>
                <a:cubicBezTo>
                  <a:pt x="5322081" y="1879131"/>
                  <a:pt x="5307299" y="1854031"/>
                  <a:pt x="5293479" y="1833435"/>
                </a:cubicBezTo>
                <a:cubicBezTo>
                  <a:pt x="5287051" y="1825389"/>
                  <a:pt x="5292517" y="1828931"/>
                  <a:pt x="5290593" y="1819923"/>
                </a:cubicBezTo>
                <a:cubicBezTo>
                  <a:pt x="5286088" y="1820885"/>
                  <a:pt x="5280622" y="1817343"/>
                  <a:pt x="5279659" y="1812840"/>
                </a:cubicBezTo>
                <a:cubicBezTo>
                  <a:pt x="5278697" y="1808335"/>
                  <a:pt x="5290593" y="1819923"/>
                  <a:pt x="5283202" y="1807373"/>
                </a:cubicBezTo>
                <a:cubicBezTo>
                  <a:pt x="5264878" y="1787739"/>
                  <a:pt x="5268419" y="1782274"/>
                  <a:pt x="5242706" y="1750090"/>
                </a:cubicBezTo>
                <a:cubicBezTo>
                  <a:pt x="5251713" y="1748165"/>
                  <a:pt x="5251713" y="1748165"/>
                  <a:pt x="5251713" y="1748165"/>
                </a:cubicBezTo>
                <a:cubicBezTo>
                  <a:pt x="5237894" y="1727570"/>
                  <a:pt x="5231465" y="1719524"/>
                  <a:pt x="5235314" y="1737540"/>
                </a:cubicBezTo>
                <a:cubicBezTo>
                  <a:pt x="5223419" y="1725953"/>
                  <a:pt x="5231465" y="1719524"/>
                  <a:pt x="5215066" y="1708898"/>
                </a:cubicBezTo>
                <a:cubicBezTo>
                  <a:pt x="5220532" y="1712441"/>
                  <a:pt x="5219570" y="1707936"/>
                  <a:pt x="5214104" y="1704395"/>
                </a:cubicBezTo>
                <a:cubicBezTo>
                  <a:pt x="5218608" y="1703433"/>
                  <a:pt x="5218608" y="1703433"/>
                  <a:pt x="5218608" y="1703433"/>
                </a:cubicBezTo>
                <a:cubicBezTo>
                  <a:pt x="5224074" y="1706974"/>
                  <a:pt x="5223112" y="1702470"/>
                  <a:pt x="5223112" y="1702470"/>
                </a:cubicBezTo>
                <a:cubicBezTo>
                  <a:pt x="5222150" y="1697966"/>
                  <a:pt x="5222150" y="1697966"/>
                  <a:pt x="5222150" y="1697966"/>
                </a:cubicBezTo>
                <a:cubicBezTo>
                  <a:pt x="5235008" y="1714058"/>
                  <a:pt x="5224729" y="1687995"/>
                  <a:pt x="5212834" y="1676408"/>
                </a:cubicBezTo>
                <a:cubicBezTo>
                  <a:pt x="5217338" y="1675445"/>
                  <a:pt x="5217338" y="1675445"/>
                  <a:pt x="5217338" y="1675445"/>
                </a:cubicBezTo>
                <a:cubicBezTo>
                  <a:pt x="5217338" y="1675445"/>
                  <a:pt x="5217338" y="1675445"/>
                  <a:pt x="5216376" y="1670942"/>
                </a:cubicBezTo>
                <a:cubicBezTo>
                  <a:pt x="5216376" y="1670942"/>
                  <a:pt x="5210910" y="1667400"/>
                  <a:pt x="5210910" y="1667400"/>
                </a:cubicBezTo>
                <a:cubicBezTo>
                  <a:pt x="5197090" y="1646805"/>
                  <a:pt x="5176842" y="1618163"/>
                  <a:pt x="5156595" y="1589521"/>
                </a:cubicBezTo>
                <a:cubicBezTo>
                  <a:pt x="5131842" y="1561842"/>
                  <a:pt x="5107090" y="1534163"/>
                  <a:pt x="5088767" y="1514530"/>
                </a:cubicBezTo>
                <a:cubicBezTo>
                  <a:pt x="5080413" y="1497476"/>
                  <a:pt x="5056623" y="1474300"/>
                  <a:pt x="5031871" y="1446621"/>
                </a:cubicBezTo>
                <a:cubicBezTo>
                  <a:pt x="5012585" y="1422484"/>
                  <a:pt x="4987833" y="1394804"/>
                  <a:pt x="4977555" y="1368743"/>
                </a:cubicBezTo>
                <a:cubicBezTo>
                  <a:pt x="4967585" y="1366163"/>
                  <a:pt x="4955689" y="1354576"/>
                  <a:pt x="4950224" y="1351033"/>
                </a:cubicBezTo>
                <a:cubicBezTo>
                  <a:pt x="4950224" y="1351033"/>
                  <a:pt x="4949261" y="1346529"/>
                  <a:pt x="4949261" y="1346529"/>
                </a:cubicBezTo>
                <a:cubicBezTo>
                  <a:pt x="4943795" y="1342988"/>
                  <a:pt x="4943795" y="1342988"/>
                  <a:pt x="4942833" y="1338484"/>
                </a:cubicBezTo>
                <a:cubicBezTo>
                  <a:pt x="4938328" y="1339446"/>
                  <a:pt x="4938328" y="1339446"/>
                  <a:pt x="4939291" y="1343950"/>
                </a:cubicBezTo>
                <a:cubicBezTo>
                  <a:pt x="4894290" y="1287629"/>
                  <a:pt x="4813913" y="1220029"/>
                  <a:pt x="4736115" y="1142457"/>
                </a:cubicBezTo>
                <a:cubicBezTo>
                  <a:pt x="4736115" y="1142457"/>
                  <a:pt x="4736115" y="1142457"/>
                  <a:pt x="4735152" y="1137953"/>
                </a:cubicBezTo>
                <a:cubicBezTo>
                  <a:pt x="4748664" y="1135066"/>
                  <a:pt x="4747047" y="1149540"/>
                  <a:pt x="4778882" y="1166287"/>
                </a:cubicBezTo>
                <a:cubicBezTo>
                  <a:pt x="4775341" y="1171753"/>
                  <a:pt x="4776303" y="1176257"/>
                  <a:pt x="4782731" y="1184304"/>
                </a:cubicBezTo>
                <a:cubicBezTo>
                  <a:pt x="4788198" y="1187845"/>
                  <a:pt x="4804597" y="1198470"/>
                  <a:pt x="4821959" y="1213600"/>
                </a:cubicBezTo>
                <a:cubicBezTo>
                  <a:pt x="4839320" y="1228729"/>
                  <a:pt x="4856681" y="1243859"/>
                  <a:pt x="4857643" y="1248362"/>
                </a:cubicBezTo>
                <a:cubicBezTo>
                  <a:pt x="4869538" y="1259950"/>
                  <a:pt x="4893328" y="1283126"/>
                  <a:pt x="4916156" y="1301797"/>
                </a:cubicBezTo>
                <a:cubicBezTo>
                  <a:pt x="4934479" y="1321429"/>
                  <a:pt x="4952803" y="1341064"/>
                  <a:pt x="4953765" y="1345567"/>
                </a:cubicBezTo>
                <a:cubicBezTo>
                  <a:pt x="4969202" y="1351689"/>
                  <a:pt x="4990413" y="1384834"/>
                  <a:pt x="5006812" y="1395460"/>
                </a:cubicBezTo>
                <a:cubicBezTo>
                  <a:pt x="5006812" y="1395460"/>
                  <a:pt x="5007774" y="1399963"/>
                  <a:pt x="5007774" y="1399963"/>
                </a:cubicBezTo>
                <a:cubicBezTo>
                  <a:pt x="5008736" y="1404467"/>
                  <a:pt x="5008736" y="1404467"/>
                  <a:pt x="5008736" y="1404467"/>
                </a:cubicBezTo>
                <a:cubicBezTo>
                  <a:pt x="5008736" y="1404467"/>
                  <a:pt x="5013240" y="1403505"/>
                  <a:pt x="5013240" y="1403505"/>
                </a:cubicBezTo>
                <a:cubicBezTo>
                  <a:pt x="5025135" y="1415093"/>
                  <a:pt x="5020631" y="1416055"/>
                  <a:pt x="5027059" y="1424100"/>
                </a:cubicBezTo>
                <a:cubicBezTo>
                  <a:pt x="5027059" y="1424100"/>
                  <a:pt x="5028022" y="1428605"/>
                  <a:pt x="5028022" y="1428605"/>
                </a:cubicBezTo>
                <a:cubicBezTo>
                  <a:pt x="5028022" y="1428605"/>
                  <a:pt x="5033488" y="1432147"/>
                  <a:pt x="5033488" y="1432147"/>
                </a:cubicBezTo>
                <a:cubicBezTo>
                  <a:pt x="5032526" y="1427642"/>
                  <a:pt x="5032526" y="1427642"/>
                  <a:pt x="5032526" y="1427642"/>
                </a:cubicBezTo>
                <a:cubicBezTo>
                  <a:pt x="5050850" y="1447277"/>
                  <a:pt x="5058241" y="1459826"/>
                  <a:pt x="5074640" y="1470451"/>
                </a:cubicBezTo>
                <a:cubicBezTo>
                  <a:pt x="5070135" y="1471414"/>
                  <a:pt x="5070135" y="1471414"/>
                  <a:pt x="5070135" y="1471414"/>
                </a:cubicBezTo>
                <a:lnTo>
                  <a:pt x="5071097" y="1475917"/>
                </a:lnTo>
                <a:cubicBezTo>
                  <a:pt x="5072060" y="1480421"/>
                  <a:pt x="5076564" y="1479459"/>
                  <a:pt x="5076564" y="1479459"/>
                </a:cubicBezTo>
                <a:cubicBezTo>
                  <a:pt x="5076564" y="1479459"/>
                  <a:pt x="5076564" y="1479459"/>
                  <a:pt x="5081068" y="1478497"/>
                </a:cubicBezTo>
                <a:cubicBezTo>
                  <a:pt x="5082031" y="1483001"/>
                  <a:pt x="5082031" y="1483001"/>
                  <a:pt x="5082031" y="1483001"/>
                </a:cubicBezTo>
                <a:cubicBezTo>
                  <a:pt x="5093925" y="1494589"/>
                  <a:pt x="5090383" y="1500055"/>
                  <a:pt x="5096812" y="1508101"/>
                </a:cubicBezTo>
                <a:cubicBezTo>
                  <a:pt x="5101316" y="1507139"/>
                  <a:pt x="5100354" y="1502634"/>
                  <a:pt x="5106783" y="1510680"/>
                </a:cubicBezTo>
                <a:cubicBezTo>
                  <a:pt x="5107745" y="1515184"/>
                  <a:pt x="5112248" y="1514222"/>
                  <a:pt x="5113211" y="1518726"/>
                </a:cubicBezTo>
                <a:cubicBezTo>
                  <a:pt x="5108707" y="1519688"/>
                  <a:pt x="5108707" y="1519688"/>
                  <a:pt x="5109670" y="1524192"/>
                </a:cubicBezTo>
                <a:cubicBezTo>
                  <a:pt x="5109670" y="1524192"/>
                  <a:pt x="5110632" y="1528696"/>
                  <a:pt x="5115135" y="1527734"/>
                </a:cubicBezTo>
                <a:cubicBezTo>
                  <a:pt x="5115135" y="1527734"/>
                  <a:pt x="5116098" y="1532238"/>
                  <a:pt x="5120602" y="1531276"/>
                </a:cubicBezTo>
                <a:cubicBezTo>
                  <a:pt x="5127031" y="1539322"/>
                  <a:pt x="5157249" y="1570543"/>
                  <a:pt x="5151783" y="1567000"/>
                </a:cubicBezTo>
                <a:cubicBezTo>
                  <a:pt x="5159829" y="1560573"/>
                  <a:pt x="5135383" y="1556375"/>
                  <a:pt x="5143430" y="1549947"/>
                </a:cubicBezTo>
                <a:cubicBezTo>
                  <a:pt x="5137963" y="1546406"/>
                  <a:pt x="5132496" y="1542863"/>
                  <a:pt x="5126069" y="1534818"/>
                </a:cubicBezTo>
                <a:cubicBezTo>
                  <a:pt x="5126069" y="1534818"/>
                  <a:pt x="5126069" y="1534818"/>
                  <a:pt x="5125106" y="1530313"/>
                </a:cubicBezTo>
                <a:cubicBezTo>
                  <a:pt x="5125106" y="1530313"/>
                  <a:pt x="5124144" y="1525809"/>
                  <a:pt x="5124144" y="1525809"/>
                </a:cubicBezTo>
                <a:cubicBezTo>
                  <a:pt x="5123182" y="1521306"/>
                  <a:pt x="5117715" y="1517764"/>
                  <a:pt x="5117715" y="1517764"/>
                </a:cubicBezTo>
                <a:cubicBezTo>
                  <a:pt x="5114828" y="1504252"/>
                  <a:pt x="5100354" y="1502634"/>
                  <a:pt x="5087496" y="1486543"/>
                </a:cubicBezTo>
                <a:cubicBezTo>
                  <a:pt x="5092001" y="1485581"/>
                  <a:pt x="5091038" y="1481077"/>
                  <a:pt x="5085572" y="1477535"/>
                </a:cubicBezTo>
                <a:cubicBezTo>
                  <a:pt x="5084609" y="1473030"/>
                  <a:pt x="5084609" y="1473030"/>
                  <a:pt x="5084609" y="1473030"/>
                </a:cubicBezTo>
                <a:cubicBezTo>
                  <a:pt x="5084609" y="1473030"/>
                  <a:pt x="5083647" y="1468527"/>
                  <a:pt x="5082685" y="1464022"/>
                </a:cubicBezTo>
                <a:cubicBezTo>
                  <a:pt x="5078182" y="1464985"/>
                  <a:pt x="5077219" y="1460480"/>
                  <a:pt x="5078182" y="1464985"/>
                </a:cubicBezTo>
                <a:cubicBezTo>
                  <a:pt x="5078182" y="1464985"/>
                  <a:pt x="5073677" y="1465947"/>
                  <a:pt x="5073677" y="1465947"/>
                </a:cubicBezTo>
                <a:cubicBezTo>
                  <a:pt x="5070790" y="1452435"/>
                  <a:pt x="5062744" y="1458864"/>
                  <a:pt x="5056316" y="1450817"/>
                </a:cubicBezTo>
                <a:cubicBezTo>
                  <a:pt x="5048925" y="1438268"/>
                  <a:pt x="5042496" y="1430222"/>
                  <a:pt x="5037030" y="1426680"/>
                </a:cubicBezTo>
                <a:cubicBezTo>
                  <a:pt x="5037030" y="1426680"/>
                  <a:pt x="5036068" y="1422176"/>
                  <a:pt x="5036068" y="1422176"/>
                </a:cubicBezTo>
                <a:cubicBezTo>
                  <a:pt x="5036068" y="1422176"/>
                  <a:pt x="5036068" y="1422176"/>
                  <a:pt x="5035106" y="1417673"/>
                </a:cubicBezTo>
                <a:cubicBezTo>
                  <a:pt x="5024173" y="1410588"/>
                  <a:pt x="5024173" y="1410588"/>
                  <a:pt x="5017744" y="1402543"/>
                </a:cubicBezTo>
                <a:cubicBezTo>
                  <a:pt x="5018706" y="1407047"/>
                  <a:pt x="5018706" y="1407047"/>
                  <a:pt x="5023210" y="1406085"/>
                </a:cubicBezTo>
                <a:cubicBezTo>
                  <a:pt x="5023210" y="1406085"/>
                  <a:pt x="5023210" y="1406085"/>
                  <a:pt x="5022248" y="1401581"/>
                </a:cubicBezTo>
                <a:cubicBezTo>
                  <a:pt x="5022248" y="1401581"/>
                  <a:pt x="5016781" y="1398039"/>
                  <a:pt x="5016781" y="1398039"/>
                </a:cubicBezTo>
                <a:cubicBezTo>
                  <a:pt x="5011316" y="1394497"/>
                  <a:pt x="5011316" y="1394497"/>
                  <a:pt x="5011316" y="1394497"/>
                </a:cubicBezTo>
                <a:cubicBezTo>
                  <a:pt x="5010354" y="1389993"/>
                  <a:pt x="5010354" y="1389993"/>
                  <a:pt x="5003925" y="1381948"/>
                </a:cubicBezTo>
                <a:cubicBezTo>
                  <a:pt x="5004887" y="1386451"/>
                  <a:pt x="4999420" y="1382910"/>
                  <a:pt x="4992992" y="1374863"/>
                </a:cubicBezTo>
                <a:cubicBezTo>
                  <a:pt x="4997496" y="1373901"/>
                  <a:pt x="4998458" y="1378406"/>
                  <a:pt x="5002962" y="1377443"/>
                </a:cubicBezTo>
                <a:cubicBezTo>
                  <a:pt x="4991068" y="1365856"/>
                  <a:pt x="4992992" y="1374863"/>
                  <a:pt x="4986564" y="1366818"/>
                </a:cubicBezTo>
                <a:cubicBezTo>
                  <a:pt x="4979172" y="1354268"/>
                  <a:pt x="4985601" y="1362314"/>
                  <a:pt x="4968240" y="1347184"/>
                </a:cubicBezTo>
                <a:cubicBezTo>
                  <a:pt x="4971781" y="1341718"/>
                  <a:pt x="4977248" y="1345260"/>
                  <a:pt x="4981752" y="1344297"/>
                </a:cubicBezTo>
                <a:cubicBezTo>
                  <a:pt x="4970819" y="1337214"/>
                  <a:pt x="4965353" y="1333672"/>
                  <a:pt x="4959887" y="1330131"/>
                </a:cubicBezTo>
                <a:cubicBezTo>
                  <a:pt x="4964391" y="1329169"/>
                  <a:pt x="4964391" y="1329169"/>
                  <a:pt x="4964391" y="1329169"/>
                </a:cubicBezTo>
                <a:cubicBezTo>
                  <a:pt x="4964391" y="1329169"/>
                  <a:pt x="4964391" y="1329169"/>
                  <a:pt x="4963429" y="1324664"/>
                </a:cubicBezTo>
                <a:cubicBezTo>
                  <a:pt x="4963429" y="1324664"/>
                  <a:pt x="4958925" y="1325627"/>
                  <a:pt x="4957962" y="1321122"/>
                </a:cubicBezTo>
                <a:cubicBezTo>
                  <a:pt x="4952496" y="1317580"/>
                  <a:pt x="4946067" y="1309535"/>
                  <a:pt x="4941563" y="1310497"/>
                </a:cubicBezTo>
                <a:cubicBezTo>
                  <a:pt x="4941563" y="1310497"/>
                  <a:pt x="4936097" y="1306955"/>
                  <a:pt x="4935134" y="1302452"/>
                </a:cubicBezTo>
                <a:cubicBezTo>
                  <a:pt x="4935134" y="1302452"/>
                  <a:pt x="4935134" y="1302452"/>
                  <a:pt x="4929668" y="1298910"/>
                </a:cubicBezTo>
                <a:cubicBezTo>
                  <a:pt x="4929668" y="1298910"/>
                  <a:pt x="4929668" y="1298910"/>
                  <a:pt x="4930630" y="1303414"/>
                </a:cubicBezTo>
                <a:cubicBezTo>
                  <a:pt x="4930630" y="1303414"/>
                  <a:pt x="4930630" y="1303414"/>
                  <a:pt x="4931592" y="1307917"/>
                </a:cubicBezTo>
                <a:cubicBezTo>
                  <a:pt x="4915193" y="1297292"/>
                  <a:pt x="4907802" y="1284743"/>
                  <a:pt x="4901375" y="1276697"/>
                </a:cubicBezTo>
                <a:cubicBezTo>
                  <a:pt x="4905878" y="1275735"/>
                  <a:pt x="4911345" y="1279277"/>
                  <a:pt x="4915849" y="1278314"/>
                </a:cubicBezTo>
                <a:cubicBezTo>
                  <a:pt x="4897525" y="1258680"/>
                  <a:pt x="4879201" y="1239048"/>
                  <a:pt x="4883050" y="1257063"/>
                </a:cubicBezTo>
                <a:cubicBezTo>
                  <a:pt x="4869231" y="1236468"/>
                  <a:pt x="4869231" y="1236468"/>
                  <a:pt x="4852832" y="1225842"/>
                </a:cubicBezTo>
                <a:cubicBezTo>
                  <a:pt x="4852832" y="1225842"/>
                  <a:pt x="4857337" y="1224880"/>
                  <a:pt x="4858299" y="1229384"/>
                </a:cubicBezTo>
                <a:cubicBezTo>
                  <a:pt x="4858299" y="1229384"/>
                  <a:pt x="4862802" y="1228422"/>
                  <a:pt x="4862802" y="1228422"/>
                </a:cubicBezTo>
                <a:cubicBezTo>
                  <a:pt x="4868269" y="1231963"/>
                  <a:pt x="4867307" y="1227460"/>
                  <a:pt x="4867307" y="1227460"/>
                </a:cubicBezTo>
                <a:cubicBezTo>
                  <a:pt x="4866344" y="1222956"/>
                  <a:pt x="4866344" y="1222956"/>
                  <a:pt x="4860878" y="1219413"/>
                </a:cubicBezTo>
                <a:cubicBezTo>
                  <a:pt x="4865382" y="1218451"/>
                  <a:pt x="4865382" y="1218451"/>
                  <a:pt x="4865382" y="1218451"/>
                </a:cubicBezTo>
                <a:cubicBezTo>
                  <a:pt x="4866344" y="1222956"/>
                  <a:pt x="4870849" y="1221993"/>
                  <a:pt x="4870849" y="1221993"/>
                </a:cubicBezTo>
                <a:cubicBezTo>
                  <a:pt x="4871811" y="1226498"/>
                  <a:pt x="4871811" y="1226498"/>
                  <a:pt x="4871811" y="1226498"/>
                </a:cubicBezTo>
                <a:cubicBezTo>
                  <a:pt x="4871811" y="1226498"/>
                  <a:pt x="4877276" y="1230039"/>
                  <a:pt x="4877276" y="1230039"/>
                </a:cubicBezTo>
                <a:cubicBezTo>
                  <a:pt x="4877276" y="1230039"/>
                  <a:pt x="4882743" y="1233581"/>
                  <a:pt x="4882743" y="1233581"/>
                </a:cubicBezTo>
                <a:cubicBezTo>
                  <a:pt x="4924857" y="1276390"/>
                  <a:pt x="4961504" y="1315656"/>
                  <a:pt x="5003618" y="1358465"/>
                </a:cubicBezTo>
                <a:cubicBezTo>
                  <a:pt x="5004580" y="1362969"/>
                  <a:pt x="5004580" y="1362969"/>
                  <a:pt x="5004580" y="1362969"/>
                </a:cubicBezTo>
                <a:cubicBezTo>
                  <a:pt x="5005542" y="1367472"/>
                  <a:pt x="5010045" y="1366510"/>
                  <a:pt x="5010045" y="1366510"/>
                </a:cubicBezTo>
                <a:cubicBezTo>
                  <a:pt x="5026446" y="1377136"/>
                  <a:pt x="5021941" y="1378098"/>
                  <a:pt x="5033836" y="1389686"/>
                </a:cubicBezTo>
                <a:cubicBezTo>
                  <a:pt x="5034798" y="1394190"/>
                  <a:pt x="5035760" y="1398694"/>
                  <a:pt x="5041227" y="1402236"/>
                </a:cubicBezTo>
                <a:cubicBezTo>
                  <a:pt x="5042189" y="1406739"/>
                  <a:pt x="5046693" y="1405777"/>
                  <a:pt x="5046693" y="1405777"/>
                </a:cubicBezTo>
                <a:cubicBezTo>
                  <a:pt x="5058588" y="1417364"/>
                  <a:pt x="5065979" y="1429915"/>
                  <a:pt x="5075949" y="1432494"/>
                </a:cubicBezTo>
                <a:cubicBezTo>
                  <a:pt x="5075949" y="1432494"/>
                  <a:pt x="5081416" y="1436036"/>
                  <a:pt x="5081416" y="1436036"/>
                </a:cubicBezTo>
                <a:cubicBezTo>
                  <a:pt x="5082378" y="1440541"/>
                  <a:pt x="5083340" y="1445044"/>
                  <a:pt x="5084302" y="1449548"/>
                </a:cubicBezTo>
                <a:cubicBezTo>
                  <a:pt x="5088807" y="1448586"/>
                  <a:pt x="5102626" y="1469181"/>
                  <a:pt x="5113559" y="1476265"/>
                </a:cubicBezTo>
                <a:cubicBezTo>
                  <a:pt x="5113559" y="1476265"/>
                  <a:pt x="5114521" y="1480769"/>
                  <a:pt x="5119025" y="1479807"/>
                </a:cubicBezTo>
                <a:cubicBezTo>
                  <a:pt x="5119987" y="1484311"/>
                  <a:pt x="5119987" y="1484311"/>
                  <a:pt x="5119987" y="1484311"/>
                </a:cubicBezTo>
                <a:cubicBezTo>
                  <a:pt x="5146664" y="1520998"/>
                  <a:pt x="5174303" y="1562189"/>
                  <a:pt x="5205484" y="1597915"/>
                </a:cubicBezTo>
                <a:cubicBezTo>
                  <a:pt x="5206446" y="1602418"/>
                  <a:pt x="5211913" y="1605960"/>
                  <a:pt x="5217379" y="1609503"/>
                </a:cubicBezTo>
                <a:cubicBezTo>
                  <a:pt x="5218341" y="1614006"/>
                  <a:pt x="5219303" y="1618511"/>
                  <a:pt x="5220266" y="1623015"/>
                </a:cubicBezTo>
                <a:cubicBezTo>
                  <a:pt x="5219303" y="1618511"/>
                  <a:pt x="5224770" y="1622052"/>
                  <a:pt x="5229274" y="1621090"/>
                </a:cubicBezTo>
                <a:cubicBezTo>
                  <a:pt x="5230236" y="1625593"/>
                  <a:pt x="5235702" y="1629136"/>
                  <a:pt x="5235702" y="1629136"/>
                </a:cubicBezTo>
                <a:cubicBezTo>
                  <a:pt x="5249522" y="1649732"/>
                  <a:pt x="5258838" y="1671289"/>
                  <a:pt x="5271695" y="1687381"/>
                </a:cubicBezTo>
                <a:cubicBezTo>
                  <a:pt x="5271695" y="1687381"/>
                  <a:pt x="5272657" y="1691885"/>
                  <a:pt x="5272657" y="1691885"/>
                </a:cubicBezTo>
                <a:cubicBezTo>
                  <a:pt x="5273619" y="1696389"/>
                  <a:pt x="5273619" y="1696389"/>
                  <a:pt x="5274581" y="1700893"/>
                </a:cubicBezTo>
                <a:cubicBezTo>
                  <a:pt x="5279086" y="1699931"/>
                  <a:pt x="5279086" y="1699931"/>
                  <a:pt x="5279086" y="1699931"/>
                </a:cubicBezTo>
                <a:cubicBezTo>
                  <a:pt x="5298371" y="1724068"/>
                  <a:pt x="5316695" y="1743702"/>
                  <a:pt x="5325048" y="1760755"/>
                </a:cubicBezTo>
                <a:cubicBezTo>
                  <a:pt x="5341447" y="1771380"/>
                  <a:pt x="5359115" y="1809993"/>
                  <a:pt x="5380326" y="1843138"/>
                </a:cubicBezTo>
                <a:cubicBezTo>
                  <a:pt x="5391259" y="1850222"/>
                  <a:pt x="5402499" y="1880788"/>
                  <a:pt x="5408928" y="1888834"/>
                </a:cubicBezTo>
                <a:cubicBezTo>
                  <a:pt x="5408928" y="1888834"/>
                  <a:pt x="5409890" y="1893338"/>
                  <a:pt x="5409890" y="1893338"/>
                </a:cubicBezTo>
                <a:cubicBezTo>
                  <a:pt x="5409890" y="1893338"/>
                  <a:pt x="5410852" y="1897842"/>
                  <a:pt x="5410852" y="1897842"/>
                </a:cubicBezTo>
                <a:cubicBezTo>
                  <a:pt x="5411815" y="1902346"/>
                  <a:pt x="5411815" y="1902346"/>
                  <a:pt x="5411815" y="1902346"/>
                </a:cubicBezTo>
                <a:cubicBezTo>
                  <a:pt x="5417280" y="1905888"/>
                  <a:pt x="5417280" y="1905888"/>
                  <a:pt x="5416318" y="1901384"/>
                </a:cubicBezTo>
                <a:cubicBezTo>
                  <a:pt x="5423709" y="1913934"/>
                  <a:pt x="5421785" y="1904926"/>
                  <a:pt x="5426289" y="1903964"/>
                </a:cubicBezTo>
                <a:cubicBezTo>
                  <a:pt x="5424671" y="1918438"/>
                  <a:pt x="5438184" y="1915551"/>
                  <a:pt x="5442032" y="1933567"/>
                </a:cubicBezTo>
                <a:cubicBezTo>
                  <a:pt x="5445575" y="1928101"/>
                  <a:pt x="5448461" y="1941613"/>
                  <a:pt x="5452966" y="1940651"/>
                </a:cubicBezTo>
                <a:cubicBezTo>
                  <a:pt x="5440108" y="1924559"/>
                  <a:pt x="5428868" y="1893993"/>
                  <a:pt x="5418898" y="1891414"/>
                </a:cubicBezTo>
                <a:cubicBezTo>
                  <a:pt x="5418898" y="1891414"/>
                  <a:pt x="5417936" y="1886909"/>
                  <a:pt x="5416973" y="1882405"/>
                </a:cubicBezTo>
                <a:cubicBezTo>
                  <a:pt x="5416973" y="1882405"/>
                  <a:pt x="5416011" y="1877901"/>
                  <a:pt x="5411507" y="1878863"/>
                </a:cubicBezTo>
                <a:cubicBezTo>
                  <a:pt x="5405733" y="1851839"/>
                  <a:pt x="5387410" y="1832206"/>
                  <a:pt x="5373590" y="1811610"/>
                </a:cubicBezTo>
                <a:cubicBezTo>
                  <a:pt x="5338560" y="1757869"/>
                  <a:pt x="5308034" y="1703165"/>
                  <a:pt x="5274930" y="1658432"/>
                </a:cubicBezTo>
                <a:cubicBezTo>
                  <a:pt x="5248253" y="1621744"/>
                  <a:pt x="5216765" y="1562538"/>
                  <a:pt x="5173689" y="1515224"/>
                </a:cubicBezTo>
                <a:cubicBezTo>
                  <a:pt x="5167260" y="1507179"/>
                  <a:pt x="5157290" y="1504599"/>
                  <a:pt x="5155366" y="1495591"/>
                </a:cubicBezTo>
                <a:cubicBezTo>
                  <a:pt x="5124184" y="1459866"/>
                  <a:pt x="5102012" y="1422217"/>
                  <a:pt x="5077260" y="1394538"/>
                </a:cubicBezTo>
                <a:cubicBezTo>
                  <a:pt x="5054432" y="1375866"/>
                  <a:pt x="5066326" y="1387454"/>
                  <a:pt x="5047041" y="1363316"/>
                </a:cubicBezTo>
                <a:cubicBezTo>
                  <a:pt x="5026793" y="1334675"/>
                  <a:pt x="5003003" y="1311500"/>
                  <a:pt x="4981137" y="1297332"/>
                </a:cubicBezTo>
                <a:cubicBezTo>
                  <a:pt x="4954460" y="1260645"/>
                  <a:pt x="4897873" y="1216220"/>
                  <a:pt x="4867654" y="1184998"/>
                </a:cubicBezTo>
                <a:cubicBezTo>
                  <a:pt x="4855759" y="1173411"/>
                  <a:pt x="4852217" y="1178877"/>
                  <a:pt x="4840323" y="1167290"/>
                </a:cubicBezTo>
                <a:cubicBezTo>
                  <a:pt x="4848368" y="1160861"/>
                  <a:pt x="4825540" y="1142190"/>
                  <a:pt x="4809142" y="1131565"/>
                </a:cubicBezTo>
                <a:cubicBezTo>
                  <a:pt x="4809142" y="1131565"/>
                  <a:pt x="4804638" y="1132527"/>
                  <a:pt x="4799171" y="1128985"/>
                </a:cubicBezTo>
                <a:cubicBezTo>
                  <a:pt x="4782773" y="1118360"/>
                  <a:pt x="4767028" y="1088756"/>
                  <a:pt x="4740659" y="1075551"/>
                </a:cubicBezTo>
                <a:cubicBezTo>
                  <a:pt x="4735193" y="1072010"/>
                  <a:pt x="4731650" y="1077476"/>
                  <a:pt x="4720718" y="1070392"/>
                </a:cubicBezTo>
                <a:cubicBezTo>
                  <a:pt x="4720718" y="1070392"/>
                  <a:pt x="4717831" y="1056880"/>
                  <a:pt x="4707860" y="1054300"/>
                </a:cubicBezTo>
                <a:cubicBezTo>
                  <a:pt x="4661243" y="1012454"/>
                  <a:pt x="4591143" y="970915"/>
                  <a:pt x="4541946" y="939039"/>
                </a:cubicBezTo>
                <a:cubicBezTo>
                  <a:pt x="4520081" y="924872"/>
                  <a:pt x="4497253" y="906201"/>
                  <a:pt x="4469921" y="888492"/>
                </a:cubicBezTo>
                <a:cubicBezTo>
                  <a:pt x="4458989" y="881409"/>
                  <a:pt x="4439048" y="876249"/>
                  <a:pt x="4428114" y="869166"/>
                </a:cubicBezTo>
                <a:cubicBezTo>
                  <a:pt x="4428114" y="869166"/>
                  <a:pt x="4416220" y="857578"/>
                  <a:pt x="4416220" y="857578"/>
                </a:cubicBezTo>
                <a:cubicBezTo>
                  <a:pt x="4405287" y="850495"/>
                  <a:pt x="4400783" y="851458"/>
                  <a:pt x="4395317" y="847916"/>
                </a:cubicBezTo>
                <a:cubicBezTo>
                  <a:pt x="4394354" y="843411"/>
                  <a:pt x="4394354" y="843411"/>
                  <a:pt x="4394354" y="843411"/>
                </a:cubicBezTo>
                <a:cubicBezTo>
                  <a:pt x="4407866" y="840525"/>
                  <a:pt x="4417182" y="862083"/>
                  <a:pt x="4419762" y="852112"/>
                </a:cubicBezTo>
                <a:cubicBezTo>
                  <a:pt x="4419762" y="852112"/>
                  <a:pt x="4419762" y="852112"/>
                  <a:pt x="4420724" y="856616"/>
                </a:cubicBezTo>
                <a:cubicBezTo>
                  <a:pt x="4430694" y="859196"/>
                  <a:pt x="4430694" y="859196"/>
                  <a:pt x="4430694" y="859196"/>
                </a:cubicBezTo>
                <a:cubicBezTo>
                  <a:pt x="4430694" y="859196"/>
                  <a:pt x="4435199" y="858234"/>
                  <a:pt x="4435199" y="858234"/>
                </a:cubicBezTo>
                <a:cubicBezTo>
                  <a:pt x="4435199" y="858234"/>
                  <a:pt x="4436161" y="862737"/>
                  <a:pt x="4440664" y="861775"/>
                </a:cubicBezTo>
                <a:cubicBezTo>
                  <a:pt x="4440664" y="861775"/>
                  <a:pt x="4445168" y="860813"/>
                  <a:pt x="4445168" y="860813"/>
                </a:cubicBezTo>
                <a:cubicBezTo>
                  <a:pt x="4461567" y="871438"/>
                  <a:pt x="4460605" y="866935"/>
                  <a:pt x="4477005" y="877560"/>
                </a:cubicBezTo>
                <a:cubicBezTo>
                  <a:pt x="4477005" y="877560"/>
                  <a:pt x="4482471" y="881101"/>
                  <a:pt x="4482471" y="881101"/>
                </a:cubicBezTo>
                <a:cubicBezTo>
                  <a:pt x="4482471" y="881101"/>
                  <a:pt x="4482471" y="881101"/>
                  <a:pt x="4486975" y="880139"/>
                </a:cubicBezTo>
                <a:cubicBezTo>
                  <a:pt x="4486975" y="880139"/>
                  <a:pt x="4487937" y="884643"/>
                  <a:pt x="4487937" y="884643"/>
                </a:cubicBezTo>
                <a:cubicBezTo>
                  <a:pt x="4494366" y="892688"/>
                  <a:pt x="4468959" y="883988"/>
                  <a:pt x="4484395" y="890110"/>
                </a:cubicBezTo>
                <a:cubicBezTo>
                  <a:pt x="4489862" y="893651"/>
                  <a:pt x="4493404" y="888185"/>
                  <a:pt x="4507878" y="889801"/>
                </a:cubicBezTo>
                <a:cubicBezTo>
                  <a:pt x="4515269" y="902352"/>
                  <a:pt x="4524277" y="900428"/>
                  <a:pt x="4547105" y="919098"/>
                </a:cubicBezTo>
                <a:cubicBezTo>
                  <a:pt x="4542600" y="920061"/>
                  <a:pt x="4542600" y="920061"/>
                  <a:pt x="4542600" y="920061"/>
                </a:cubicBezTo>
                <a:cubicBezTo>
                  <a:pt x="4548067" y="923603"/>
                  <a:pt x="4548067" y="923603"/>
                  <a:pt x="4548067" y="923603"/>
                </a:cubicBezTo>
                <a:cubicBezTo>
                  <a:pt x="4549992" y="932610"/>
                  <a:pt x="4538097" y="921023"/>
                  <a:pt x="4533593" y="921985"/>
                </a:cubicBezTo>
                <a:cubicBezTo>
                  <a:pt x="4545487" y="933573"/>
                  <a:pt x="4549992" y="932610"/>
                  <a:pt x="4558999" y="930686"/>
                </a:cubicBezTo>
                <a:cubicBezTo>
                  <a:pt x="4559962" y="935190"/>
                  <a:pt x="4559962" y="935190"/>
                  <a:pt x="4565428" y="938732"/>
                </a:cubicBezTo>
                <a:cubicBezTo>
                  <a:pt x="4566391" y="943236"/>
                  <a:pt x="4570895" y="942274"/>
                  <a:pt x="4570895" y="942274"/>
                </a:cubicBezTo>
                <a:cubicBezTo>
                  <a:pt x="4574437" y="936808"/>
                  <a:pt x="4574437" y="936808"/>
                  <a:pt x="4574437" y="936808"/>
                </a:cubicBezTo>
                <a:cubicBezTo>
                  <a:pt x="4582789" y="953861"/>
                  <a:pt x="4588911" y="938424"/>
                  <a:pt x="4607235" y="958058"/>
                </a:cubicBezTo>
                <a:cubicBezTo>
                  <a:pt x="4612701" y="961599"/>
                  <a:pt x="4612701" y="961599"/>
                  <a:pt x="4612701" y="961599"/>
                </a:cubicBezTo>
                <a:cubicBezTo>
                  <a:pt x="4612701" y="961599"/>
                  <a:pt x="4617205" y="960637"/>
                  <a:pt x="4617205" y="960637"/>
                </a:cubicBezTo>
                <a:cubicBezTo>
                  <a:pt x="4656431" y="989934"/>
                  <a:pt x="4689230" y="1011184"/>
                  <a:pt x="4721066" y="1027932"/>
                </a:cubicBezTo>
                <a:cubicBezTo>
                  <a:pt x="4716561" y="1028894"/>
                  <a:pt x="4720410" y="1046910"/>
                  <a:pt x="4728457" y="1040481"/>
                </a:cubicBezTo>
                <a:cubicBezTo>
                  <a:pt x="4722028" y="1032435"/>
                  <a:pt x="4731999" y="1035015"/>
                  <a:pt x="4738427" y="1043060"/>
                </a:cubicBezTo>
                <a:cubicBezTo>
                  <a:pt x="4755788" y="1058190"/>
                  <a:pt x="4788586" y="1079440"/>
                  <a:pt x="4817842" y="1106158"/>
                </a:cubicBezTo>
                <a:cubicBezTo>
                  <a:pt x="4846136" y="1128370"/>
                  <a:pt x="4875393" y="1155087"/>
                  <a:pt x="4898221" y="1173759"/>
                </a:cubicBezTo>
                <a:cubicBezTo>
                  <a:pt x="4892754" y="1170217"/>
                  <a:pt x="4901108" y="1187271"/>
                  <a:pt x="4905611" y="1186309"/>
                </a:cubicBezTo>
                <a:cubicBezTo>
                  <a:pt x="4899183" y="1178262"/>
                  <a:pt x="4903687" y="1177300"/>
                  <a:pt x="4909153" y="1180842"/>
                </a:cubicBezTo>
                <a:cubicBezTo>
                  <a:pt x="4911078" y="1189850"/>
                  <a:pt x="4933906" y="1208521"/>
                  <a:pt x="4951267" y="1223651"/>
                </a:cubicBezTo>
                <a:cubicBezTo>
                  <a:pt x="4968628" y="1238780"/>
                  <a:pt x="4985027" y="1249405"/>
                  <a:pt x="4980523" y="1250367"/>
                </a:cubicBezTo>
                <a:cubicBezTo>
                  <a:pt x="5002389" y="1264535"/>
                  <a:pt x="5015246" y="1280627"/>
                  <a:pt x="5028102" y="1296718"/>
                </a:cubicBezTo>
                <a:cubicBezTo>
                  <a:pt x="5046427" y="1316351"/>
                  <a:pt x="5060246" y="1336947"/>
                  <a:pt x="5088540" y="1359160"/>
                </a:cubicBezTo>
                <a:cubicBezTo>
                  <a:pt x="5088540" y="1359160"/>
                  <a:pt x="5089502" y="1363664"/>
                  <a:pt x="5090465" y="1368168"/>
                </a:cubicBezTo>
                <a:cubicBezTo>
                  <a:pt x="5109443" y="1368823"/>
                  <a:pt x="5135465" y="1424489"/>
                  <a:pt x="5152826" y="1439619"/>
                </a:cubicBezTo>
                <a:cubicBezTo>
                  <a:pt x="5158293" y="1443159"/>
                  <a:pt x="5157331" y="1438656"/>
                  <a:pt x="5163758" y="1446702"/>
                </a:cubicBezTo>
                <a:cubicBezTo>
                  <a:pt x="5175654" y="1458289"/>
                  <a:pt x="5178541" y="1471801"/>
                  <a:pt x="5190435" y="1483389"/>
                </a:cubicBezTo>
                <a:cubicBezTo>
                  <a:pt x="5196864" y="1491435"/>
                  <a:pt x="5202331" y="1494976"/>
                  <a:pt x="5213263" y="1502060"/>
                </a:cubicBezTo>
                <a:cubicBezTo>
                  <a:pt x="5232549" y="1526198"/>
                  <a:pt x="5250218" y="1564809"/>
                  <a:pt x="5270466" y="1593451"/>
                </a:cubicBezTo>
                <a:cubicBezTo>
                  <a:pt x="5296180" y="1625635"/>
                  <a:pt x="5325744" y="1675834"/>
                  <a:pt x="5352421" y="1712521"/>
                </a:cubicBezTo>
                <a:cubicBezTo>
                  <a:pt x="5359811" y="1725071"/>
                  <a:pt x="5371706" y="1736658"/>
                  <a:pt x="5378135" y="1744704"/>
                </a:cubicBezTo>
                <a:cubicBezTo>
                  <a:pt x="5378135" y="1744704"/>
                  <a:pt x="5372669" y="1741162"/>
                  <a:pt x="5372669" y="1741162"/>
                </a:cubicBezTo>
                <a:cubicBezTo>
                  <a:pt x="5381022" y="1758217"/>
                  <a:pt x="5393879" y="1774309"/>
                  <a:pt x="5401270" y="1786858"/>
                </a:cubicBezTo>
                <a:cubicBezTo>
                  <a:pt x="5402232" y="1791362"/>
                  <a:pt x="5404157" y="1800370"/>
                  <a:pt x="5404157" y="1800370"/>
                </a:cubicBezTo>
                <a:cubicBezTo>
                  <a:pt x="5427292" y="1842524"/>
                  <a:pt x="5457818" y="1897228"/>
                  <a:pt x="5479989" y="1934877"/>
                </a:cubicBezTo>
                <a:cubicBezTo>
                  <a:pt x="5479989" y="1934877"/>
                  <a:pt x="5479989" y="1934877"/>
                  <a:pt x="5475486" y="1935839"/>
                </a:cubicBezTo>
                <a:cubicBezTo>
                  <a:pt x="5475486" y="1935839"/>
                  <a:pt x="5476448" y="1940343"/>
                  <a:pt x="5476448" y="1940343"/>
                </a:cubicBezTo>
                <a:cubicBezTo>
                  <a:pt x="5476448" y="1940343"/>
                  <a:pt x="5481913" y="1943885"/>
                  <a:pt x="5481913" y="1943885"/>
                </a:cubicBezTo>
                <a:cubicBezTo>
                  <a:pt x="5489305" y="1956435"/>
                  <a:pt x="5504394" y="2005017"/>
                  <a:pt x="5506012" y="1990543"/>
                </a:cubicBezTo>
                <a:cubicBezTo>
                  <a:pt x="5506974" y="1995046"/>
                  <a:pt x="5506974" y="1995046"/>
                  <a:pt x="5506974" y="1995046"/>
                </a:cubicBezTo>
                <a:cubicBezTo>
                  <a:pt x="5507936" y="1999551"/>
                  <a:pt x="5507936" y="1999551"/>
                  <a:pt x="5507936" y="1999551"/>
                </a:cubicBezTo>
                <a:cubicBezTo>
                  <a:pt x="5512440" y="1998588"/>
                  <a:pt x="5512440" y="1998588"/>
                  <a:pt x="5512440" y="1998588"/>
                </a:cubicBezTo>
                <a:cubicBezTo>
                  <a:pt x="5511478" y="1994084"/>
                  <a:pt x="5511478" y="1994084"/>
                  <a:pt x="5511478" y="1994084"/>
                </a:cubicBezTo>
                <a:cubicBezTo>
                  <a:pt x="5519524" y="1987656"/>
                  <a:pt x="5518869" y="2006635"/>
                  <a:pt x="5519831" y="2011138"/>
                </a:cubicBezTo>
                <a:cubicBezTo>
                  <a:pt x="5522410" y="2001168"/>
                  <a:pt x="5537192" y="2026268"/>
                  <a:pt x="5528839" y="2009213"/>
                </a:cubicBezTo>
                <a:cubicBezTo>
                  <a:pt x="5524335" y="2010176"/>
                  <a:pt x="5521448" y="1996664"/>
                  <a:pt x="5521448" y="1996664"/>
                </a:cubicBezTo>
                <a:cubicBezTo>
                  <a:pt x="5527877" y="2004710"/>
                  <a:pt x="5526915" y="2000206"/>
                  <a:pt x="5525952" y="1995701"/>
                </a:cubicBezTo>
                <a:cubicBezTo>
                  <a:pt x="5515982" y="1993122"/>
                  <a:pt x="5512133" y="1975106"/>
                  <a:pt x="5500238" y="1963519"/>
                </a:cubicBezTo>
                <a:cubicBezTo>
                  <a:pt x="5500238" y="1963519"/>
                  <a:pt x="5499276" y="1959014"/>
                  <a:pt x="5498313" y="1954510"/>
                </a:cubicBezTo>
                <a:cubicBezTo>
                  <a:pt x="5498313" y="1954510"/>
                  <a:pt x="5497351" y="1950007"/>
                  <a:pt x="5497351" y="1950007"/>
                </a:cubicBezTo>
                <a:cubicBezTo>
                  <a:pt x="5496389" y="1945502"/>
                  <a:pt x="5496389" y="1945502"/>
                  <a:pt x="5496389" y="1945502"/>
                </a:cubicBezTo>
                <a:cubicBezTo>
                  <a:pt x="5496389" y="1945502"/>
                  <a:pt x="5491884" y="1946465"/>
                  <a:pt x="5491884" y="1946465"/>
                </a:cubicBezTo>
                <a:cubicBezTo>
                  <a:pt x="5490922" y="1941960"/>
                  <a:pt x="5490922" y="1941960"/>
                  <a:pt x="5489960" y="1937456"/>
                </a:cubicBezTo>
                <a:cubicBezTo>
                  <a:pt x="5493502" y="1931990"/>
                  <a:pt x="5495426" y="1940998"/>
                  <a:pt x="5499931" y="1940036"/>
                </a:cubicBezTo>
                <a:cubicBezTo>
                  <a:pt x="5498006" y="1931028"/>
                  <a:pt x="5493502" y="1931990"/>
                  <a:pt x="5492540" y="1927486"/>
                </a:cubicBezTo>
                <a:cubicBezTo>
                  <a:pt x="5492540" y="1927486"/>
                  <a:pt x="5492540" y="1927486"/>
                  <a:pt x="5491577" y="1922981"/>
                </a:cubicBezTo>
                <a:cubicBezTo>
                  <a:pt x="5491577" y="1922981"/>
                  <a:pt x="5490615" y="1918478"/>
                  <a:pt x="5490615" y="1918478"/>
                </a:cubicBezTo>
                <a:cubicBezTo>
                  <a:pt x="5489653" y="1913974"/>
                  <a:pt x="5489653" y="1913974"/>
                  <a:pt x="5489653" y="1913974"/>
                </a:cubicBezTo>
                <a:cubicBezTo>
                  <a:pt x="5481299" y="1896920"/>
                  <a:pt x="5481299" y="1896920"/>
                  <a:pt x="5481299" y="1896920"/>
                </a:cubicBezTo>
                <a:cubicBezTo>
                  <a:pt x="5475833" y="1893379"/>
                  <a:pt x="5475833" y="1893379"/>
                  <a:pt x="5475833" y="1893379"/>
                </a:cubicBezTo>
                <a:cubicBezTo>
                  <a:pt x="5479375" y="1887912"/>
                  <a:pt x="5474871" y="1888874"/>
                  <a:pt x="5474871" y="1888874"/>
                </a:cubicBezTo>
                <a:lnTo>
                  <a:pt x="5475833" y="1893379"/>
                </a:lnTo>
                <a:cubicBezTo>
                  <a:pt x="5461051" y="1868278"/>
                  <a:pt x="5462976" y="1877287"/>
                  <a:pt x="5452699" y="1851225"/>
                </a:cubicBezTo>
                <a:cubicBezTo>
                  <a:pt x="5451737" y="1846720"/>
                  <a:pt x="5451737" y="1846720"/>
                  <a:pt x="5450774" y="1842216"/>
                </a:cubicBezTo>
                <a:cubicBezTo>
                  <a:pt x="5445308" y="1838675"/>
                  <a:pt x="5445308" y="1838675"/>
                  <a:pt x="5446270" y="1843178"/>
                </a:cubicBezTo>
                <a:cubicBezTo>
                  <a:pt x="5443383" y="1829666"/>
                  <a:pt x="5434068" y="1808109"/>
                  <a:pt x="5424098" y="1805529"/>
                </a:cubicBezTo>
                <a:cubicBezTo>
                  <a:pt x="5430526" y="1813575"/>
                  <a:pt x="5426022" y="1814538"/>
                  <a:pt x="5419593" y="1806491"/>
                </a:cubicBezTo>
                <a:lnTo>
                  <a:pt x="5418631" y="1801987"/>
                </a:lnTo>
                <a:cubicBezTo>
                  <a:pt x="5423135" y="1801025"/>
                  <a:pt x="5423135" y="1801025"/>
                  <a:pt x="5423135" y="1801025"/>
                </a:cubicBezTo>
                <a:cubicBezTo>
                  <a:pt x="5423135" y="1801025"/>
                  <a:pt x="5423135" y="1801025"/>
                  <a:pt x="5422173" y="1796521"/>
                </a:cubicBezTo>
                <a:cubicBezTo>
                  <a:pt x="5422173" y="1796521"/>
                  <a:pt x="5422173" y="1796521"/>
                  <a:pt x="5416707" y="1792979"/>
                </a:cubicBezTo>
                <a:cubicBezTo>
                  <a:pt x="5410933" y="1765955"/>
                  <a:pt x="5364970" y="1705130"/>
                  <a:pt x="5349226" y="1675527"/>
                </a:cubicBezTo>
                <a:cubicBezTo>
                  <a:pt x="5340873" y="1658473"/>
                  <a:pt x="5344415" y="1653006"/>
                  <a:pt x="5332520" y="1641419"/>
                </a:cubicBezTo>
                <a:cubicBezTo>
                  <a:pt x="5330596" y="1632411"/>
                  <a:pt x="5320625" y="1629831"/>
                  <a:pt x="5314197" y="1621785"/>
                </a:cubicBezTo>
                <a:cubicBezTo>
                  <a:pt x="5305843" y="1604731"/>
                  <a:pt x="5302956" y="1591219"/>
                  <a:pt x="5288482" y="1589602"/>
                </a:cubicBezTo>
                <a:cubicBezTo>
                  <a:pt x="5243175" y="1509799"/>
                  <a:pt x="5173422" y="1425798"/>
                  <a:pt x="5106557" y="1355311"/>
                </a:cubicBezTo>
                <a:cubicBezTo>
                  <a:pt x="5110098" y="1349844"/>
                  <a:pt x="5110098" y="1349844"/>
                  <a:pt x="5109135" y="1345340"/>
                </a:cubicBezTo>
                <a:cubicBezTo>
                  <a:pt x="5109135" y="1345340"/>
                  <a:pt x="5110098" y="1349844"/>
                  <a:pt x="5110098" y="1349844"/>
                </a:cubicBezTo>
                <a:cubicBezTo>
                  <a:pt x="5114602" y="1348882"/>
                  <a:pt x="5114602" y="1348882"/>
                  <a:pt x="5114602" y="1348882"/>
                </a:cubicBezTo>
                <a:cubicBezTo>
                  <a:pt x="5114602" y="1348882"/>
                  <a:pt x="5113640" y="1344378"/>
                  <a:pt x="5108173" y="1340837"/>
                </a:cubicBezTo>
                <a:cubicBezTo>
                  <a:pt x="5107211" y="1336333"/>
                  <a:pt x="5111715" y="1335370"/>
                  <a:pt x="5105286" y="1327325"/>
                </a:cubicBezTo>
                <a:cubicBezTo>
                  <a:pt x="5101745" y="1332790"/>
                  <a:pt x="5096279" y="1329249"/>
                  <a:pt x="5084383" y="1317661"/>
                </a:cubicBezTo>
                <a:cubicBezTo>
                  <a:pt x="5083421" y="1313158"/>
                  <a:pt x="5083421" y="1313158"/>
                  <a:pt x="5083421" y="1313158"/>
                </a:cubicBezTo>
                <a:cubicBezTo>
                  <a:pt x="5083421" y="1313158"/>
                  <a:pt x="5078918" y="1314120"/>
                  <a:pt x="5077955" y="1309615"/>
                </a:cubicBezTo>
                <a:cubicBezTo>
                  <a:pt x="5077955" y="1309615"/>
                  <a:pt x="5076993" y="1305112"/>
                  <a:pt x="5076993" y="1305112"/>
                </a:cubicBezTo>
                <a:cubicBezTo>
                  <a:pt x="5072489" y="1306074"/>
                  <a:pt x="5072489" y="1306074"/>
                  <a:pt x="5072489" y="1306074"/>
                </a:cubicBezTo>
                <a:cubicBezTo>
                  <a:pt x="5071526" y="1301570"/>
                  <a:pt x="5071526" y="1301570"/>
                  <a:pt x="5066060" y="1298028"/>
                </a:cubicBezTo>
                <a:cubicBezTo>
                  <a:pt x="5068640" y="1288058"/>
                  <a:pt x="5047736" y="1278395"/>
                  <a:pt x="5052241" y="1277432"/>
                </a:cubicBezTo>
                <a:cubicBezTo>
                  <a:pt x="5052241" y="1277432"/>
                  <a:pt x="5056745" y="1276470"/>
                  <a:pt x="5056745" y="1276470"/>
                </a:cubicBezTo>
                <a:cubicBezTo>
                  <a:pt x="5057707" y="1280973"/>
                  <a:pt x="5062211" y="1280011"/>
                  <a:pt x="5062211" y="1280011"/>
                </a:cubicBezTo>
                <a:cubicBezTo>
                  <a:pt x="5061248" y="1275508"/>
                  <a:pt x="5056745" y="1276470"/>
                  <a:pt x="5055783" y="1271966"/>
                </a:cubicBezTo>
                <a:cubicBezTo>
                  <a:pt x="5055783" y="1271966"/>
                  <a:pt x="5050316" y="1268424"/>
                  <a:pt x="5050316" y="1268424"/>
                </a:cubicBezTo>
                <a:cubicBezTo>
                  <a:pt x="5043887" y="1260378"/>
                  <a:pt x="5037458" y="1252333"/>
                  <a:pt x="5032955" y="1253295"/>
                </a:cubicBezTo>
                <a:cubicBezTo>
                  <a:pt x="5032955" y="1253295"/>
                  <a:pt x="5032955" y="1253295"/>
                  <a:pt x="5031993" y="1248791"/>
                </a:cubicBezTo>
                <a:cubicBezTo>
                  <a:pt x="5031993" y="1248791"/>
                  <a:pt x="5031030" y="1244286"/>
                  <a:pt x="5025564" y="1240744"/>
                </a:cubicBezTo>
                <a:cubicBezTo>
                  <a:pt x="5025564" y="1240744"/>
                  <a:pt x="5021059" y="1241707"/>
                  <a:pt x="5021059" y="1241707"/>
                </a:cubicBezTo>
                <a:cubicBezTo>
                  <a:pt x="5021059" y="1241707"/>
                  <a:pt x="5022022" y="1246211"/>
                  <a:pt x="5022022" y="1246211"/>
                </a:cubicBezTo>
                <a:cubicBezTo>
                  <a:pt x="5021059" y="1241707"/>
                  <a:pt x="5020097" y="1237204"/>
                  <a:pt x="5014631" y="1233661"/>
                </a:cubicBezTo>
                <a:cubicBezTo>
                  <a:pt x="5015593" y="1238166"/>
                  <a:pt x="5011090" y="1239128"/>
                  <a:pt x="5005623" y="1235586"/>
                </a:cubicBezTo>
                <a:cubicBezTo>
                  <a:pt x="5010127" y="1234623"/>
                  <a:pt x="5004661" y="1231082"/>
                  <a:pt x="5003698" y="1226578"/>
                </a:cubicBezTo>
                <a:cubicBezTo>
                  <a:pt x="4998232" y="1223036"/>
                  <a:pt x="4998232" y="1223036"/>
                  <a:pt x="4998232" y="1223036"/>
                </a:cubicBezTo>
                <a:cubicBezTo>
                  <a:pt x="4997269" y="1218532"/>
                  <a:pt x="4997269" y="1218532"/>
                  <a:pt x="4997269" y="1218532"/>
                </a:cubicBezTo>
                <a:cubicBezTo>
                  <a:pt x="4992766" y="1219494"/>
                  <a:pt x="4992766" y="1219494"/>
                  <a:pt x="4992766" y="1219494"/>
                </a:cubicBezTo>
                <a:cubicBezTo>
                  <a:pt x="4992766" y="1219494"/>
                  <a:pt x="4992766" y="1219494"/>
                  <a:pt x="4993728" y="1223998"/>
                </a:cubicBezTo>
                <a:cubicBezTo>
                  <a:pt x="4975404" y="1204365"/>
                  <a:pt x="4957081" y="1184731"/>
                  <a:pt x="4947111" y="1182152"/>
                </a:cubicBezTo>
                <a:cubicBezTo>
                  <a:pt x="4941644" y="1178611"/>
                  <a:pt x="4941644" y="1178611"/>
                  <a:pt x="4940682" y="1174106"/>
                </a:cubicBezTo>
                <a:cubicBezTo>
                  <a:pt x="4935215" y="1170564"/>
                  <a:pt x="4935215" y="1170564"/>
                  <a:pt x="4930712" y="1171526"/>
                </a:cubicBezTo>
                <a:lnTo>
                  <a:pt x="4931467" y="1175063"/>
                </a:lnTo>
                <a:lnTo>
                  <a:pt x="4916930" y="1163507"/>
                </a:lnTo>
                <a:cubicBezTo>
                  <a:pt x="4900789" y="1149956"/>
                  <a:pt x="4893737" y="1141749"/>
                  <a:pt x="4867695" y="1119055"/>
                </a:cubicBezTo>
                <a:cubicBezTo>
                  <a:pt x="4852257" y="1112934"/>
                  <a:pt x="4846792" y="1109391"/>
                  <a:pt x="4842287" y="1110354"/>
                </a:cubicBezTo>
                <a:cubicBezTo>
                  <a:pt x="4841325" y="1105850"/>
                  <a:pt x="4845830" y="1104888"/>
                  <a:pt x="4839401" y="1096842"/>
                </a:cubicBezTo>
                <a:cubicBezTo>
                  <a:pt x="4830393" y="1098766"/>
                  <a:pt x="4827506" y="1085254"/>
                  <a:pt x="4811106" y="1074629"/>
                </a:cubicBezTo>
                <a:cubicBezTo>
                  <a:pt x="4794707" y="1064004"/>
                  <a:pt x="4808528" y="1084600"/>
                  <a:pt x="4791166" y="1069470"/>
                </a:cubicBezTo>
                <a:cubicBezTo>
                  <a:pt x="4806603" y="1075591"/>
                  <a:pt x="4789242" y="1060462"/>
                  <a:pt x="4772842" y="1049837"/>
                </a:cubicBezTo>
                <a:cubicBezTo>
                  <a:pt x="4777346" y="1048874"/>
                  <a:pt x="4777346" y="1048874"/>
                  <a:pt x="4777346" y="1048874"/>
                </a:cubicBezTo>
                <a:cubicBezTo>
                  <a:pt x="4782813" y="1052416"/>
                  <a:pt x="4788280" y="1055958"/>
                  <a:pt x="4787317" y="1051454"/>
                </a:cubicBezTo>
                <a:cubicBezTo>
                  <a:pt x="4787317" y="1051454"/>
                  <a:pt x="4786355" y="1046950"/>
                  <a:pt x="4780888" y="1043408"/>
                </a:cubicBezTo>
                <a:cubicBezTo>
                  <a:pt x="4775422" y="1039866"/>
                  <a:pt x="4775422" y="1039866"/>
                  <a:pt x="4775422" y="1039866"/>
                </a:cubicBezTo>
                <a:cubicBezTo>
                  <a:pt x="4779926" y="1038904"/>
                  <a:pt x="4787317" y="1051454"/>
                  <a:pt x="4790858" y="1045987"/>
                </a:cubicBezTo>
                <a:cubicBezTo>
                  <a:pt x="4779926" y="1038904"/>
                  <a:pt x="4773497" y="1030859"/>
                  <a:pt x="4768993" y="1031821"/>
                </a:cubicBezTo>
                <a:cubicBezTo>
                  <a:pt x="4764490" y="1032783"/>
                  <a:pt x="4764490" y="1032783"/>
                  <a:pt x="4763527" y="1028279"/>
                </a:cubicBezTo>
                <a:cubicBezTo>
                  <a:pt x="4758061" y="1024737"/>
                  <a:pt x="4752594" y="1021196"/>
                  <a:pt x="4748090" y="1022158"/>
                </a:cubicBezTo>
                <a:cubicBezTo>
                  <a:pt x="4748090" y="1022158"/>
                  <a:pt x="4749052" y="1026661"/>
                  <a:pt x="4754519" y="1030204"/>
                </a:cubicBezTo>
                <a:cubicBezTo>
                  <a:pt x="4755481" y="1034708"/>
                  <a:pt x="4755481" y="1034708"/>
                  <a:pt x="4755481" y="1034708"/>
                </a:cubicBezTo>
                <a:cubicBezTo>
                  <a:pt x="4745511" y="1032128"/>
                  <a:pt x="4747435" y="1041136"/>
                  <a:pt x="4739082" y="1024083"/>
                </a:cubicBezTo>
                <a:cubicBezTo>
                  <a:pt x="4735540" y="1029548"/>
                  <a:pt x="4746473" y="1036632"/>
                  <a:pt x="4747435" y="1041136"/>
                </a:cubicBezTo>
                <a:cubicBezTo>
                  <a:pt x="4730074" y="1026007"/>
                  <a:pt x="4733615" y="1020541"/>
                  <a:pt x="4722683" y="1013457"/>
                </a:cubicBezTo>
                <a:cubicBezTo>
                  <a:pt x="4727188" y="1012495"/>
                  <a:pt x="4728150" y="1016998"/>
                  <a:pt x="4728150" y="1016998"/>
                </a:cubicBezTo>
                <a:cubicBezTo>
                  <a:pt x="4733615" y="1020541"/>
                  <a:pt x="4733615" y="1020541"/>
                  <a:pt x="4737157" y="1015074"/>
                </a:cubicBezTo>
                <a:cubicBezTo>
                  <a:pt x="4737157" y="1015074"/>
                  <a:pt x="4731691" y="1011533"/>
                  <a:pt x="4726225" y="1007991"/>
                </a:cubicBezTo>
                <a:cubicBezTo>
                  <a:pt x="4736195" y="1010571"/>
                  <a:pt x="4735233" y="1006066"/>
                  <a:pt x="4725263" y="1003486"/>
                </a:cubicBezTo>
                <a:cubicBezTo>
                  <a:pt x="4724301" y="998982"/>
                  <a:pt x="4724301" y="998982"/>
                  <a:pt x="4724301" y="998982"/>
                </a:cubicBezTo>
                <a:cubicBezTo>
                  <a:pt x="4729766" y="1002524"/>
                  <a:pt x="4728804" y="998020"/>
                  <a:pt x="4728804" y="998020"/>
                </a:cubicBezTo>
                <a:cubicBezTo>
                  <a:pt x="4723338" y="994478"/>
                  <a:pt x="4723338" y="994478"/>
                  <a:pt x="4718834" y="995441"/>
                </a:cubicBezTo>
                <a:cubicBezTo>
                  <a:pt x="4717872" y="990937"/>
                  <a:pt x="4717872" y="990937"/>
                  <a:pt x="4713367" y="991899"/>
                </a:cubicBezTo>
                <a:cubicBezTo>
                  <a:pt x="4706939" y="983853"/>
                  <a:pt x="4706939" y="983853"/>
                  <a:pt x="4700511" y="975807"/>
                </a:cubicBezTo>
                <a:cubicBezTo>
                  <a:pt x="4705976" y="979349"/>
                  <a:pt x="4705976" y="979349"/>
                  <a:pt x="4705976" y="979349"/>
                </a:cubicBezTo>
                <a:cubicBezTo>
                  <a:pt x="4711443" y="982891"/>
                  <a:pt x="4715947" y="981929"/>
                  <a:pt x="4715947" y="981929"/>
                </a:cubicBezTo>
                <a:cubicBezTo>
                  <a:pt x="4714985" y="977425"/>
                  <a:pt x="4709518" y="973882"/>
                  <a:pt x="4704052" y="970341"/>
                </a:cubicBezTo>
                <a:cubicBezTo>
                  <a:pt x="4698586" y="966799"/>
                  <a:pt x="4698586" y="966799"/>
                  <a:pt x="4698586" y="966799"/>
                </a:cubicBezTo>
                <a:cubicBezTo>
                  <a:pt x="4693119" y="963257"/>
                  <a:pt x="4693119" y="963257"/>
                  <a:pt x="4693119" y="963257"/>
                </a:cubicBezTo>
                <a:cubicBezTo>
                  <a:pt x="4687653" y="959715"/>
                  <a:pt x="4683149" y="960677"/>
                  <a:pt x="4684112" y="965182"/>
                </a:cubicBezTo>
                <a:cubicBezTo>
                  <a:pt x="4684112" y="965182"/>
                  <a:pt x="4685074" y="969686"/>
                  <a:pt x="4690540" y="973228"/>
                </a:cubicBezTo>
                <a:cubicBezTo>
                  <a:pt x="4690540" y="973228"/>
                  <a:pt x="4690540" y="973228"/>
                  <a:pt x="4695044" y="972266"/>
                </a:cubicBezTo>
                <a:cubicBezTo>
                  <a:pt x="4700511" y="975807"/>
                  <a:pt x="4700511" y="975807"/>
                  <a:pt x="4700511" y="975807"/>
                </a:cubicBezTo>
                <a:cubicBezTo>
                  <a:pt x="4676065" y="971611"/>
                  <a:pt x="4696969" y="981274"/>
                  <a:pt x="4708863" y="992861"/>
                </a:cubicBezTo>
                <a:cubicBezTo>
                  <a:pt x="4703397" y="989319"/>
                  <a:pt x="4703397" y="989319"/>
                  <a:pt x="4703397" y="989319"/>
                </a:cubicBezTo>
                <a:cubicBezTo>
                  <a:pt x="4703397" y="989319"/>
                  <a:pt x="4704360" y="993823"/>
                  <a:pt x="4704360" y="993823"/>
                </a:cubicBezTo>
                <a:cubicBezTo>
                  <a:pt x="4704360" y="993823"/>
                  <a:pt x="4704360" y="993823"/>
                  <a:pt x="4705322" y="998327"/>
                </a:cubicBezTo>
                <a:cubicBezTo>
                  <a:pt x="4709825" y="997365"/>
                  <a:pt x="4709825" y="997365"/>
                  <a:pt x="4709825" y="997365"/>
                </a:cubicBezTo>
                <a:cubicBezTo>
                  <a:pt x="4715292" y="1000907"/>
                  <a:pt x="4715292" y="1000907"/>
                  <a:pt x="4715292" y="1000907"/>
                </a:cubicBezTo>
                <a:cubicBezTo>
                  <a:pt x="4710787" y="1001869"/>
                  <a:pt x="4710787" y="1001869"/>
                  <a:pt x="4710787" y="1001869"/>
                </a:cubicBezTo>
                <a:cubicBezTo>
                  <a:pt x="4710787" y="1001869"/>
                  <a:pt x="4711750" y="1006373"/>
                  <a:pt x="4716254" y="1005411"/>
                </a:cubicBezTo>
                <a:cubicBezTo>
                  <a:pt x="4717216" y="1009915"/>
                  <a:pt x="4717216" y="1009915"/>
                  <a:pt x="4717216" y="1009915"/>
                </a:cubicBezTo>
                <a:cubicBezTo>
                  <a:pt x="4702742" y="1008298"/>
                  <a:pt x="4696313" y="1000252"/>
                  <a:pt x="4678952" y="985123"/>
                </a:cubicBezTo>
                <a:cubicBezTo>
                  <a:pt x="4683456" y="984160"/>
                  <a:pt x="4683456" y="984160"/>
                  <a:pt x="4683456" y="984160"/>
                </a:cubicBezTo>
                <a:cubicBezTo>
                  <a:pt x="4687961" y="983198"/>
                  <a:pt x="4687961" y="983198"/>
                  <a:pt x="4687961" y="983198"/>
                </a:cubicBezTo>
                <a:cubicBezTo>
                  <a:pt x="4682494" y="979656"/>
                  <a:pt x="4682494" y="979656"/>
                  <a:pt x="4682494" y="979656"/>
                </a:cubicBezTo>
                <a:cubicBezTo>
                  <a:pt x="4677990" y="980618"/>
                  <a:pt x="4677990" y="980618"/>
                  <a:pt x="4677990" y="980618"/>
                </a:cubicBezTo>
                <a:cubicBezTo>
                  <a:pt x="4672523" y="977077"/>
                  <a:pt x="4672523" y="977077"/>
                  <a:pt x="4672523" y="977077"/>
                </a:cubicBezTo>
                <a:cubicBezTo>
                  <a:pt x="4667058" y="973535"/>
                  <a:pt x="4670599" y="968069"/>
                  <a:pt x="4659666" y="960985"/>
                </a:cubicBezTo>
                <a:cubicBezTo>
                  <a:pt x="4658704" y="956481"/>
                  <a:pt x="4658704" y="956481"/>
                  <a:pt x="4658704" y="956481"/>
                </a:cubicBezTo>
                <a:cubicBezTo>
                  <a:pt x="4654200" y="957443"/>
                  <a:pt x="4653237" y="952939"/>
                  <a:pt x="4653237" y="952939"/>
                </a:cubicBezTo>
                <a:cubicBezTo>
                  <a:pt x="4648733" y="953901"/>
                  <a:pt x="4648733" y="953901"/>
                  <a:pt x="4648733" y="953901"/>
                </a:cubicBezTo>
                <a:cubicBezTo>
                  <a:pt x="4649695" y="958406"/>
                  <a:pt x="4649695" y="958406"/>
                  <a:pt x="4649695" y="958406"/>
                </a:cubicBezTo>
                <a:cubicBezTo>
                  <a:pt x="4638763" y="951322"/>
                  <a:pt x="4635876" y="937810"/>
                  <a:pt x="4626869" y="939735"/>
                </a:cubicBezTo>
                <a:cubicBezTo>
                  <a:pt x="4626869" y="939735"/>
                  <a:pt x="4622364" y="940697"/>
                  <a:pt x="4621402" y="936193"/>
                </a:cubicBezTo>
                <a:cubicBezTo>
                  <a:pt x="4621402" y="936193"/>
                  <a:pt x="4616898" y="937155"/>
                  <a:pt x="4616898" y="937155"/>
                </a:cubicBezTo>
                <a:cubicBezTo>
                  <a:pt x="4617860" y="941660"/>
                  <a:pt x="4617860" y="941660"/>
                  <a:pt x="4617860" y="941660"/>
                </a:cubicBezTo>
                <a:cubicBezTo>
                  <a:pt x="4593108" y="913980"/>
                  <a:pt x="4606928" y="934575"/>
                  <a:pt x="4597919" y="936500"/>
                </a:cubicBezTo>
                <a:cubicBezTo>
                  <a:pt x="4589565" y="919446"/>
                  <a:pt x="4556768" y="898195"/>
                  <a:pt x="4529437" y="880487"/>
                </a:cubicBezTo>
                <a:cubicBezTo>
                  <a:pt x="4525895" y="885952"/>
                  <a:pt x="4525895" y="885952"/>
                  <a:pt x="4525895" y="885952"/>
                </a:cubicBezTo>
                <a:cubicBezTo>
                  <a:pt x="4524932" y="881449"/>
                  <a:pt x="4524932" y="881449"/>
                  <a:pt x="4524932" y="881449"/>
                </a:cubicBezTo>
                <a:cubicBezTo>
                  <a:pt x="4524932" y="881449"/>
                  <a:pt x="4523970" y="876945"/>
                  <a:pt x="4519466" y="877907"/>
                </a:cubicBezTo>
                <a:cubicBezTo>
                  <a:pt x="4519466" y="877907"/>
                  <a:pt x="4520428" y="882411"/>
                  <a:pt x="4520428" y="882411"/>
                </a:cubicBezTo>
                <a:cubicBezTo>
                  <a:pt x="4504029" y="871786"/>
                  <a:pt x="4491171" y="855694"/>
                  <a:pt x="4484744" y="847649"/>
                </a:cubicBezTo>
                <a:cubicBezTo>
                  <a:pt x="4481201" y="853114"/>
                  <a:pt x="4482164" y="857619"/>
                  <a:pt x="4476697" y="854077"/>
                </a:cubicBezTo>
                <a:cubicBezTo>
                  <a:pt x="4475735" y="849573"/>
                  <a:pt x="4475735" y="849573"/>
                  <a:pt x="4470269" y="846031"/>
                </a:cubicBezTo>
                <a:cubicBezTo>
                  <a:pt x="4466727" y="851498"/>
                  <a:pt x="4465765" y="846993"/>
                  <a:pt x="4459336" y="838948"/>
                </a:cubicBezTo>
                <a:cubicBezTo>
                  <a:pt x="4459336" y="838948"/>
                  <a:pt x="4459336" y="838948"/>
                  <a:pt x="4463840" y="837986"/>
                </a:cubicBezTo>
                <a:cubicBezTo>
                  <a:pt x="4463840" y="837986"/>
                  <a:pt x="4463840" y="837986"/>
                  <a:pt x="4462878" y="833481"/>
                </a:cubicBezTo>
                <a:cubicBezTo>
                  <a:pt x="4458374" y="834444"/>
                  <a:pt x="4457411" y="829940"/>
                  <a:pt x="4452907" y="830902"/>
                </a:cubicBezTo>
                <a:cubicBezTo>
                  <a:pt x="4452907" y="830902"/>
                  <a:pt x="4448404" y="831864"/>
                  <a:pt x="4448404" y="831864"/>
                </a:cubicBezTo>
                <a:cubicBezTo>
                  <a:pt x="4446479" y="822856"/>
                  <a:pt x="4400168" y="804493"/>
                  <a:pt x="4411102" y="811576"/>
                </a:cubicBezTo>
                <a:cubicBezTo>
                  <a:pt x="4424614" y="808689"/>
                  <a:pt x="4410446" y="830554"/>
                  <a:pt x="4422996" y="823163"/>
                </a:cubicBezTo>
                <a:cubicBezTo>
                  <a:pt x="4426538" y="817697"/>
                  <a:pt x="4436508" y="820277"/>
                  <a:pt x="4442937" y="828322"/>
                </a:cubicBezTo>
                <a:cubicBezTo>
                  <a:pt x="4438433" y="829284"/>
                  <a:pt x="4438433" y="829284"/>
                  <a:pt x="4437470" y="824781"/>
                </a:cubicBezTo>
                <a:cubicBezTo>
                  <a:pt x="4432966" y="825743"/>
                  <a:pt x="4432966" y="825743"/>
                  <a:pt x="4432966" y="825743"/>
                </a:cubicBezTo>
                <a:cubicBezTo>
                  <a:pt x="4428463" y="826705"/>
                  <a:pt x="4433928" y="830246"/>
                  <a:pt x="4433928" y="830246"/>
                </a:cubicBezTo>
                <a:cubicBezTo>
                  <a:pt x="4439395" y="833789"/>
                  <a:pt x="4439395" y="833789"/>
                  <a:pt x="4439395" y="833789"/>
                </a:cubicBezTo>
                <a:cubicBezTo>
                  <a:pt x="4434891" y="834751"/>
                  <a:pt x="4434891" y="834751"/>
                  <a:pt x="4434891" y="834751"/>
                </a:cubicBezTo>
                <a:cubicBezTo>
                  <a:pt x="4433928" y="830246"/>
                  <a:pt x="4429425" y="831209"/>
                  <a:pt x="4429425" y="831209"/>
                </a:cubicBezTo>
                <a:cubicBezTo>
                  <a:pt x="4429425" y="831209"/>
                  <a:pt x="4430387" y="835713"/>
                  <a:pt x="4430387" y="835713"/>
                </a:cubicBezTo>
                <a:cubicBezTo>
                  <a:pt x="4435853" y="839255"/>
                  <a:pt x="4435853" y="839255"/>
                  <a:pt x="4435853" y="839255"/>
                </a:cubicBezTo>
                <a:cubicBezTo>
                  <a:pt x="4441320" y="842797"/>
                  <a:pt x="4441320" y="842797"/>
                  <a:pt x="4441320" y="842797"/>
                </a:cubicBezTo>
                <a:cubicBezTo>
                  <a:pt x="4441320" y="842797"/>
                  <a:pt x="4431350" y="840217"/>
                  <a:pt x="4431350" y="840217"/>
                </a:cubicBezTo>
                <a:cubicBezTo>
                  <a:pt x="4425883" y="836675"/>
                  <a:pt x="4425883" y="836675"/>
                  <a:pt x="4425883" y="836675"/>
                </a:cubicBezTo>
                <a:cubicBezTo>
                  <a:pt x="4420416" y="833133"/>
                  <a:pt x="4420416" y="833133"/>
                  <a:pt x="4420416" y="833133"/>
                </a:cubicBezTo>
                <a:cubicBezTo>
                  <a:pt x="4419454" y="828630"/>
                  <a:pt x="4413988" y="825088"/>
                  <a:pt x="4409484" y="826050"/>
                </a:cubicBezTo>
                <a:cubicBezTo>
                  <a:pt x="4404980" y="827012"/>
                  <a:pt x="4405942" y="831517"/>
                  <a:pt x="4411408" y="835058"/>
                </a:cubicBezTo>
                <a:cubicBezTo>
                  <a:pt x="4411408" y="835058"/>
                  <a:pt x="4411408" y="835058"/>
                  <a:pt x="4412371" y="839562"/>
                </a:cubicBezTo>
                <a:cubicBezTo>
                  <a:pt x="4395972" y="828937"/>
                  <a:pt x="4409484" y="826050"/>
                  <a:pt x="4389543" y="820892"/>
                </a:cubicBezTo>
                <a:cubicBezTo>
                  <a:pt x="4394047" y="819929"/>
                  <a:pt x="4394047" y="819929"/>
                  <a:pt x="4394047" y="819929"/>
                </a:cubicBezTo>
                <a:cubicBezTo>
                  <a:pt x="4394047" y="819929"/>
                  <a:pt x="4394047" y="819929"/>
                  <a:pt x="4393085" y="815425"/>
                </a:cubicBezTo>
                <a:cubicBezTo>
                  <a:pt x="4388581" y="816387"/>
                  <a:pt x="4388581" y="816387"/>
                  <a:pt x="4388581" y="816387"/>
                </a:cubicBezTo>
                <a:cubicBezTo>
                  <a:pt x="4388581" y="816387"/>
                  <a:pt x="4384076" y="817349"/>
                  <a:pt x="4384076" y="817349"/>
                </a:cubicBezTo>
                <a:cubicBezTo>
                  <a:pt x="4378611" y="813807"/>
                  <a:pt x="4378611" y="813807"/>
                  <a:pt x="4378611" y="813807"/>
                </a:cubicBezTo>
                <a:cubicBezTo>
                  <a:pt x="4373144" y="810266"/>
                  <a:pt x="4373144" y="810266"/>
                  <a:pt x="4362211" y="803182"/>
                </a:cubicBezTo>
                <a:cubicBezTo>
                  <a:pt x="4355128" y="814115"/>
                  <a:pt x="4332300" y="795443"/>
                  <a:pt x="4335187" y="808956"/>
                </a:cubicBezTo>
                <a:cubicBezTo>
                  <a:pt x="4344195" y="807031"/>
                  <a:pt x="4350624" y="815078"/>
                  <a:pt x="4360594" y="817656"/>
                </a:cubicBezTo>
                <a:cubicBezTo>
                  <a:pt x="4350624" y="815078"/>
                  <a:pt x="4350624" y="815078"/>
                  <a:pt x="4351586" y="819581"/>
                </a:cubicBezTo>
                <a:cubicBezTo>
                  <a:pt x="4351586" y="819581"/>
                  <a:pt x="4351586" y="819581"/>
                  <a:pt x="4352548" y="824085"/>
                </a:cubicBezTo>
                <a:cubicBezTo>
                  <a:pt x="4340653" y="812498"/>
                  <a:pt x="4324255" y="801873"/>
                  <a:pt x="4308817" y="795751"/>
                </a:cubicBezTo>
                <a:cubicBezTo>
                  <a:pt x="4297885" y="788667"/>
                  <a:pt x="4281486" y="778042"/>
                  <a:pt x="4266049" y="771921"/>
                </a:cubicBezTo>
                <a:cubicBezTo>
                  <a:pt x="4271515" y="775463"/>
                  <a:pt x="4281486" y="778042"/>
                  <a:pt x="4275057" y="769997"/>
                </a:cubicBezTo>
                <a:cubicBezTo>
                  <a:pt x="4255116" y="764837"/>
                  <a:pt x="4255116" y="764837"/>
                  <a:pt x="4253192" y="755830"/>
                </a:cubicBezTo>
                <a:cubicBezTo>
                  <a:pt x="4233250" y="750670"/>
                  <a:pt x="4225860" y="738120"/>
                  <a:pt x="4233250" y="750670"/>
                </a:cubicBezTo>
                <a:cubicBezTo>
                  <a:pt x="4228747" y="751632"/>
                  <a:pt x="4228747" y="751632"/>
                  <a:pt x="4224243" y="752594"/>
                </a:cubicBezTo>
                <a:cubicBezTo>
                  <a:pt x="4197873" y="739390"/>
                  <a:pt x="4172466" y="730690"/>
                  <a:pt x="4150601" y="716522"/>
                </a:cubicBezTo>
                <a:cubicBezTo>
                  <a:pt x="4146097" y="717485"/>
                  <a:pt x="4140630" y="713943"/>
                  <a:pt x="4135164" y="710400"/>
                </a:cubicBezTo>
                <a:cubicBezTo>
                  <a:pt x="4155104" y="715560"/>
                  <a:pt x="4169580" y="717178"/>
                  <a:pt x="4189520" y="722336"/>
                </a:cubicBezTo>
                <a:cubicBezTo>
                  <a:pt x="4189520" y="722336"/>
                  <a:pt x="4205919" y="732962"/>
                  <a:pt x="4188557" y="717832"/>
                </a:cubicBezTo>
                <a:cubicBezTo>
                  <a:pt x="4194024" y="721374"/>
                  <a:pt x="4203995" y="723954"/>
                  <a:pt x="4197566" y="715907"/>
                </a:cubicBezTo>
                <a:cubicBezTo>
                  <a:pt x="4179550" y="719756"/>
                  <a:pt x="4158646" y="710093"/>
                  <a:pt x="4134202" y="705897"/>
                </a:cubicBezTo>
                <a:cubicBezTo>
                  <a:pt x="4138705" y="704935"/>
                  <a:pt x="4137743" y="700431"/>
                  <a:pt x="4133240" y="701393"/>
                </a:cubicBezTo>
                <a:cubicBezTo>
                  <a:pt x="4137743" y="700431"/>
                  <a:pt x="4137743" y="700431"/>
                  <a:pt x="4137743" y="700431"/>
                </a:cubicBezTo>
                <a:cubicBezTo>
                  <a:pt x="4136781" y="695926"/>
                  <a:pt x="4136781" y="695926"/>
                  <a:pt x="4132277" y="696888"/>
                </a:cubicBezTo>
                <a:cubicBezTo>
                  <a:pt x="4131315" y="692385"/>
                  <a:pt x="4121344" y="689805"/>
                  <a:pt x="4111373" y="687226"/>
                </a:cubicBezTo>
                <a:cubicBezTo>
                  <a:pt x="4106870" y="688188"/>
                  <a:pt x="4106870" y="688188"/>
                  <a:pt x="4106870" y="688188"/>
                </a:cubicBezTo>
                <a:cubicBezTo>
                  <a:pt x="4105908" y="683684"/>
                  <a:pt x="4105908" y="683684"/>
                  <a:pt x="4101403" y="684647"/>
                </a:cubicBezTo>
                <a:cubicBezTo>
                  <a:pt x="4095937" y="681105"/>
                  <a:pt x="4095937" y="681105"/>
                  <a:pt x="4090471" y="677562"/>
                </a:cubicBezTo>
                <a:cubicBezTo>
                  <a:pt x="4090471" y="677562"/>
                  <a:pt x="4089509" y="673058"/>
                  <a:pt x="4089509" y="673058"/>
                </a:cubicBezTo>
                <a:cubicBezTo>
                  <a:pt x="4084042" y="669517"/>
                  <a:pt x="4084042" y="669517"/>
                  <a:pt x="4084042" y="669517"/>
                </a:cubicBezTo>
                <a:cubicBezTo>
                  <a:pt x="4080500" y="674983"/>
                  <a:pt x="4080500" y="674983"/>
                  <a:pt x="4080500" y="674983"/>
                </a:cubicBezTo>
                <a:cubicBezTo>
                  <a:pt x="4069568" y="667900"/>
                  <a:pt x="4060559" y="669824"/>
                  <a:pt x="4050589" y="667244"/>
                </a:cubicBezTo>
                <a:cubicBezTo>
                  <a:pt x="4050589" y="667244"/>
                  <a:pt x="4055093" y="666282"/>
                  <a:pt x="4055093" y="666282"/>
                </a:cubicBezTo>
                <a:cubicBezTo>
                  <a:pt x="4055093" y="666282"/>
                  <a:pt x="4055093" y="666282"/>
                  <a:pt x="4054131" y="661779"/>
                </a:cubicBezTo>
                <a:cubicBezTo>
                  <a:pt x="4054131" y="661779"/>
                  <a:pt x="4049627" y="662741"/>
                  <a:pt x="4049627" y="662741"/>
                </a:cubicBezTo>
                <a:cubicBezTo>
                  <a:pt x="4049627" y="662741"/>
                  <a:pt x="4045123" y="663703"/>
                  <a:pt x="4045123" y="663703"/>
                </a:cubicBezTo>
                <a:cubicBezTo>
                  <a:pt x="4053169" y="657274"/>
                  <a:pt x="4009745" y="652423"/>
                  <a:pt x="4030648" y="662086"/>
                </a:cubicBezTo>
                <a:cubicBezTo>
                  <a:pt x="4031611" y="666590"/>
                  <a:pt x="4036115" y="665628"/>
                  <a:pt x="4036115" y="665628"/>
                </a:cubicBezTo>
                <a:cubicBezTo>
                  <a:pt x="4023564" y="673018"/>
                  <a:pt x="4065063" y="668862"/>
                  <a:pt x="4080500" y="674983"/>
                </a:cubicBezTo>
                <a:cubicBezTo>
                  <a:pt x="4075996" y="675945"/>
                  <a:pt x="4075996" y="675945"/>
                  <a:pt x="4071492" y="676907"/>
                </a:cubicBezTo>
                <a:cubicBezTo>
                  <a:pt x="4071492" y="676907"/>
                  <a:pt x="4072455" y="681412"/>
                  <a:pt x="4072455" y="681412"/>
                </a:cubicBezTo>
                <a:cubicBezTo>
                  <a:pt x="4076958" y="680449"/>
                  <a:pt x="4076958" y="680449"/>
                  <a:pt x="4076958" y="680449"/>
                </a:cubicBezTo>
                <a:cubicBezTo>
                  <a:pt x="4077920" y="684954"/>
                  <a:pt x="4082425" y="683991"/>
                  <a:pt x="4082425" y="683991"/>
                </a:cubicBezTo>
                <a:cubicBezTo>
                  <a:pt x="4086929" y="683029"/>
                  <a:pt x="4086929" y="683029"/>
                  <a:pt x="4086929" y="683029"/>
                </a:cubicBezTo>
                <a:cubicBezTo>
                  <a:pt x="4108795" y="697197"/>
                  <a:pt x="4062484" y="678832"/>
                  <a:pt x="4083387" y="688496"/>
                </a:cubicBezTo>
                <a:cubicBezTo>
                  <a:pt x="4073417" y="685916"/>
                  <a:pt x="4063446" y="683336"/>
                  <a:pt x="4053476" y="680756"/>
                </a:cubicBezTo>
                <a:cubicBezTo>
                  <a:pt x="4035306" y="672864"/>
                  <a:pt x="4016250" y="666339"/>
                  <a:pt x="3998561" y="660699"/>
                </a:cubicBezTo>
                <a:lnTo>
                  <a:pt x="3993680" y="659158"/>
                </a:lnTo>
                <a:lnTo>
                  <a:pt x="3795199" y="553069"/>
                </a:lnTo>
                <a:cubicBezTo>
                  <a:pt x="3737785" y="522317"/>
                  <a:pt x="3676087" y="508123"/>
                  <a:pt x="3610375" y="502608"/>
                </a:cubicBezTo>
                <a:cubicBezTo>
                  <a:pt x="3468132" y="495844"/>
                  <a:pt x="3329374" y="468783"/>
                  <a:pt x="3188329" y="467631"/>
                </a:cubicBezTo>
                <a:cubicBezTo>
                  <a:pt x="2801255" y="468200"/>
                  <a:pt x="2424295" y="525271"/>
                  <a:pt x="2059975" y="659812"/>
                </a:cubicBezTo>
                <a:cubicBezTo>
                  <a:pt x="1973004" y="692082"/>
                  <a:pt x="1890572" y="727291"/>
                  <a:pt x="1819343" y="787483"/>
                </a:cubicBezTo>
                <a:cubicBezTo>
                  <a:pt x="1706155" y="880104"/>
                  <a:pt x="1571214" y="944131"/>
                  <a:pt x="1454955" y="1031541"/>
                </a:cubicBezTo>
                <a:cubicBezTo>
                  <a:pt x="1443063" y="1039948"/>
                  <a:pt x="1425960" y="1051424"/>
                  <a:pt x="1413812" y="1040331"/>
                </a:cubicBezTo>
                <a:cubicBezTo>
                  <a:pt x="1410776" y="1037559"/>
                  <a:pt x="1408974" y="1034277"/>
                  <a:pt x="1408084" y="1030679"/>
                </a:cubicBezTo>
                <a:lnTo>
                  <a:pt x="1408033" y="1028519"/>
                </a:lnTo>
                <a:lnTo>
                  <a:pt x="1412039" y="1024844"/>
                </a:lnTo>
                <a:cubicBezTo>
                  <a:pt x="1579972" y="882809"/>
                  <a:pt x="1767264" y="759457"/>
                  <a:pt x="1971913" y="659219"/>
                </a:cubicBezTo>
                <a:cubicBezTo>
                  <a:pt x="1972875" y="663724"/>
                  <a:pt x="1972875" y="663724"/>
                  <a:pt x="1977379" y="662762"/>
                </a:cubicBezTo>
                <a:cubicBezTo>
                  <a:pt x="1977379" y="662762"/>
                  <a:pt x="1981883" y="661799"/>
                  <a:pt x="1981883" y="661799"/>
                </a:cubicBezTo>
                <a:cubicBezTo>
                  <a:pt x="1977379" y="662762"/>
                  <a:pt x="1979303" y="671769"/>
                  <a:pt x="1987350" y="665340"/>
                </a:cubicBezTo>
                <a:cubicBezTo>
                  <a:pt x="1979303" y="671769"/>
                  <a:pt x="1979303" y="671769"/>
                  <a:pt x="1979303" y="671769"/>
                </a:cubicBezTo>
                <a:cubicBezTo>
                  <a:pt x="1974800" y="672731"/>
                  <a:pt x="1975762" y="677236"/>
                  <a:pt x="1980266" y="676274"/>
                </a:cubicBezTo>
                <a:cubicBezTo>
                  <a:pt x="1980266" y="676274"/>
                  <a:pt x="1984770" y="675311"/>
                  <a:pt x="1984770" y="675311"/>
                </a:cubicBezTo>
                <a:cubicBezTo>
                  <a:pt x="1989274" y="674349"/>
                  <a:pt x="1989274" y="674349"/>
                  <a:pt x="1989274" y="674349"/>
                </a:cubicBezTo>
                <a:cubicBezTo>
                  <a:pt x="1992816" y="668882"/>
                  <a:pt x="1992816" y="668882"/>
                  <a:pt x="1992816" y="668882"/>
                </a:cubicBezTo>
                <a:cubicBezTo>
                  <a:pt x="1997320" y="667920"/>
                  <a:pt x="1997320" y="667920"/>
                  <a:pt x="1997320" y="667920"/>
                </a:cubicBezTo>
                <a:cubicBezTo>
                  <a:pt x="1994741" y="677890"/>
                  <a:pt x="1999244" y="676928"/>
                  <a:pt x="2012756" y="674041"/>
                </a:cubicBezTo>
                <a:cubicBezTo>
                  <a:pt x="2019840" y="663109"/>
                  <a:pt x="2011794" y="669538"/>
                  <a:pt x="2014374" y="659567"/>
                </a:cubicBezTo>
                <a:lnTo>
                  <a:pt x="2009869" y="660529"/>
                </a:lnTo>
                <a:cubicBezTo>
                  <a:pt x="2014374" y="659567"/>
                  <a:pt x="2013412" y="655063"/>
                  <a:pt x="2008907" y="656026"/>
                </a:cubicBezTo>
                <a:cubicBezTo>
                  <a:pt x="2008907" y="656026"/>
                  <a:pt x="1999900" y="657950"/>
                  <a:pt x="1995395" y="658912"/>
                </a:cubicBezTo>
                <a:cubicBezTo>
                  <a:pt x="1991854" y="664378"/>
                  <a:pt x="1991854" y="664378"/>
                  <a:pt x="1991854" y="664378"/>
                </a:cubicBezTo>
                <a:cubicBezTo>
                  <a:pt x="1990892" y="659875"/>
                  <a:pt x="1995395" y="658912"/>
                  <a:pt x="1994433" y="654408"/>
                </a:cubicBezTo>
                <a:cubicBezTo>
                  <a:pt x="1994433" y="654408"/>
                  <a:pt x="1998937" y="653446"/>
                  <a:pt x="1998937" y="653446"/>
                </a:cubicBezTo>
                <a:cubicBezTo>
                  <a:pt x="2003442" y="652483"/>
                  <a:pt x="2006983" y="647017"/>
                  <a:pt x="2006983" y="647017"/>
                </a:cubicBezTo>
                <a:cubicBezTo>
                  <a:pt x="2006983" y="647017"/>
                  <a:pt x="2006983" y="647017"/>
                  <a:pt x="2002479" y="647979"/>
                </a:cubicBezTo>
                <a:cubicBezTo>
                  <a:pt x="2070695" y="614566"/>
                  <a:pt x="2144378" y="584695"/>
                  <a:pt x="2213556" y="555787"/>
                </a:cubicBezTo>
                <a:cubicBezTo>
                  <a:pt x="2214518" y="560291"/>
                  <a:pt x="2219985" y="563833"/>
                  <a:pt x="2233497" y="560947"/>
                </a:cubicBezTo>
                <a:cubicBezTo>
                  <a:pt x="2232535" y="556442"/>
                  <a:pt x="2227068" y="552900"/>
                  <a:pt x="2222565" y="553862"/>
                </a:cubicBezTo>
                <a:cubicBezTo>
                  <a:pt x="2222565" y="553862"/>
                  <a:pt x="2227068" y="552900"/>
                  <a:pt x="2227068" y="552900"/>
                </a:cubicBezTo>
                <a:cubicBezTo>
                  <a:pt x="2370006" y="499992"/>
                  <a:pt x="2514525" y="459992"/>
                  <a:pt x="2659387" y="432280"/>
                </a:cubicBezTo>
                <a:close/>
                <a:moveTo>
                  <a:pt x="2580211" y="28532"/>
                </a:moveTo>
                <a:cubicBezTo>
                  <a:pt x="2639385" y="21756"/>
                  <a:pt x="2698559" y="14980"/>
                  <a:pt x="2760003" y="9674"/>
                </a:cubicBezTo>
                <a:cubicBezTo>
                  <a:pt x="3256492" y="-27960"/>
                  <a:pt x="3739421" y="44851"/>
                  <a:pt x="4206393" y="216884"/>
                </a:cubicBezTo>
                <a:cubicBezTo>
                  <a:pt x="4486416" y="319357"/>
                  <a:pt x="4742638" y="466023"/>
                  <a:pt x="4962093" y="669428"/>
                </a:cubicBezTo>
                <a:cubicBezTo>
                  <a:pt x="5047126" y="747075"/>
                  <a:pt x="5144323" y="808436"/>
                  <a:pt x="5227886" y="888353"/>
                </a:cubicBezTo>
                <a:cubicBezTo>
                  <a:pt x="5265526" y="927240"/>
                  <a:pt x="5301697" y="968397"/>
                  <a:pt x="5331187" y="1014893"/>
                </a:cubicBezTo>
                <a:cubicBezTo>
                  <a:pt x="5387095" y="1102673"/>
                  <a:pt x="5453026" y="1182447"/>
                  <a:pt x="5518959" y="1262220"/>
                </a:cubicBezTo>
                <a:cubicBezTo>
                  <a:pt x="5520174" y="1240451"/>
                  <a:pt x="5489232" y="1168845"/>
                  <a:pt x="5467079" y="1138382"/>
                </a:cubicBezTo>
                <a:cubicBezTo>
                  <a:pt x="5517556" y="1154972"/>
                  <a:pt x="5696105" y="1414047"/>
                  <a:pt x="5724761" y="1511561"/>
                </a:cubicBezTo>
                <a:cubicBezTo>
                  <a:pt x="5700321" y="1507005"/>
                  <a:pt x="5683234" y="1491101"/>
                  <a:pt x="5659466" y="1480536"/>
                </a:cubicBezTo>
                <a:cubicBezTo>
                  <a:pt x="5667984" y="1529557"/>
                  <a:pt x="5696946" y="1564433"/>
                  <a:pt x="5720297" y="1600507"/>
                </a:cubicBezTo>
                <a:cubicBezTo>
                  <a:pt x="5725636" y="1607188"/>
                  <a:pt x="5732045" y="1609729"/>
                  <a:pt x="5738327" y="1602521"/>
                </a:cubicBezTo>
                <a:cubicBezTo>
                  <a:pt x="5765326" y="1573289"/>
                  <a:pt x="5778000" y="1596001"/>
                  <a:pt x="5788406" y="1617243"/>
                </a:cubicBezTo>
                <a:cubicBezTo>
                  <a:pt x="5839631" y="1719712"/>
                  <a:pt x="5888985" y="1822580"/>
                  <a:pt x="5933129" y="1928517"/>
                </a:cubicBezTo>
                <a:cubicBezTo>
                  <a:pt x="5971807" y="2018024"/>
                  <a:pt x="5999264" y="2109927"/>
                  <a:pt x="6015900" y="2206099"/>
                </a:cubicBezTo>
                <a:cubicBezTo>
                  <a:pt x="6015628" y="2213979"/>
                  <a:pt x="6017226" y="2221459"/>
                  <a:pt x="6018824" y="2228938"/>
                </a:cubicBezTo>
                <a:cubicBezTo>
                  <a:pt x="6019350" y="2240559"/>
                  <a:pt x="6019478" y="2250308"/>
                  <a:pt x="6006787" y="2254975"/>
                </a:cubicBezTo>
                <a:cubicBezTo>
                  <a:pt x="5992225" y="2260042"/>
                  <a:pt x="5986088" y="2249620"/>
                  <a:pt x="5981821" y="2238800"/>
                </a:cubicBezTo>
                <a:cubicBezTo>
                  <a:pt x="5972486" y="2213418"/>
                  <a:pt x="5965023" y="2187637"/>
                  <a:pt x="5955690" y="2162256"/>
                </a:cubicBezTo>
                <a:cubicBezTo>
                  <a:pt x="5951821" y="2153305"/>
                  <a:pt x="5946083" y="2144754"/>
                  <a:pt x="5938475" y="2136603"/>
                </a:cubicBezTo>
                <a:cubicBezTo>
                  <a:pt x="5932175" y="2171190"/>
                  <a:pt x="5940838" y="2202581"/>
                  <a:pt x="5953240" y="2233173"/>
                </a:cubicBezTo>
                <a:cubicBezTo>
                  <a:pt x="6012584" y="2382792"/>
                  <a:pt x="6061105" y="2536680"/>
                  <a:pt x="6087185" y="2695361"/>
                </a:cubicBezTo>
                <a:cubicBezTo>
                  <a:pt x="6121654" y="2893313"/>
                  <a:pt x="6105102" y="3090434"/>
                  <a:pt x="6081069" y="3289153"/>
                </a:cubicBezTo>
                <a:cubicBezTo>
                  <a:pt x="6038647" y="3630634"/>
                  <a:pt x="5960838" y="3962076"/>
                  <a:pt x="5808111" y="4272372"/>
                </a:cubicBezTo>
                <a:cubicBezTo>
                  <a:pt x="5630111" y="4629130"/>
                  <a:pt x="5388032" y="4933096"/>
                  <a:pt x="5083073" y="5189877"/>
                </a:cubicBezTo>
                <a:cubicBezTo>
                  <a:pt x="4975095" y="5279430"/>
                  <a:pt x="4875526" y="5380874"/>
                  <a:pt x="4748863" y="5447042"/>
                </a:cubicBezTo>
                <a:cubicBezTo>
                  <a:pt x="4424727" y="5614062"/>
                  <a:pt x="4097123" y="5774002"/>
                  <a:pt x="3740846" y="5863806"/>
                </a:cubicBezTo>
                <a:cubicBezTo>
                  <a:pt x="3553557" y="5911641"/>
                  <a:pt x="3362544" y="5932897"/>
                  <a:pt x="3169933" y="5946671"/>
                </a:cubicBezTo>
                <a:cubicBezTo>
                  <a:pt x="3104749" y="5952776"/>
                  <a:pt x="3038366" y="5953271"/>
                  <a:pt x="2972383" y="5955635"/>
                </a:cubicBezTo>
                <a:cubicBezTo>
                  <a:pt x="2945003" y="5955619"/>
                  <a:pt x="2915351" y="5954132"/>
                  <a:pt x="2888242" y="5946236"/>
                </a:cubicBezTo>
                <a:cubicBezTo>
                  <a:pt x="2850584" y="5934728"/>
                  <a:pt x="2811583" y="5935239"/>
                  <a:pt x="2773508" y="5949239"/>
                </a:cubicBezTo>
                <a:cubicBezTo>
                  <a:pt x="2751864" y="5957774"/>
                  <a:pt x="2733834" y="5955760"/>
                  <a:pt x="2719689" y="5935317"/>
                </a:cubicBezTo>
                <a:cubicBezTo>
                  <a:pt x="2702874" y="5911534"/>
                  <a:pt x="2679905" y="5904708"/>
                  <a:pt x="2651853" y="5910702"/>
                </a:cubicBezTo>
                <a:cubicBezTo>
                  <a:pt x="2608839" y="5919891"/>
                  <a:pt x="2566369" y="5913322"/>
                  <a:pt x="2524570" y="5900743"/>
                </a:cubicBezTo>
                <a:cubicBezTo>
                  <a:pt x="2451524" y="5879196"/>
                  <a:pt x="2378077" y="5855780"/>
                  <a:pt x="2303959" y="5838373"/>
                </a:cubicBezTo>
                <a:cubicBezTo>
                  <a:pt x="2088013" y="5788694"/>
                  <a:pt x="1896814" y="5680933"/>
                  <a:pt x="1704545" y="5577311"/>
                </a:cubicBezTo>
                <a:cubicBezTo>
                  <a:pt x="1582907" y="5511395"/>
                  <a:pt x="1461669" y="5447348"/>
                  <a:pt x="1349927" y="5363675"/>
                </a:cubicBezTo>
                <a:cubicBezTo>
                  <a:pt x="1342718" y="5357393"/>
                  <a:pt x="1333639" y="5351511"/>
                  <a:pt x="1326431" y="5345230"/>
                </a:cubicBezTo>
                <a:cubicBezTo>
                  <a:pt x="1312413" y="5334537"/>
                  <a:pt x="1315227" y="5320248"/>
                  <a:pt x="1324450" y="5308501"/>
                </a:cubicBezTo>
                <a:cubicBezTo>
                  <a:pt x="1335544" y="5296353"/>
                  <a:pt x="1343552" y="5306375"/>
                  <a:pt x="1353031" y="5314127"/>
                </a:cubicBezTo>
                <a:cubicBezTo>
                  <a:pt x="1409501" y="5358769"/>
                  <a:pt x="1469312" y="5400742"/>
                  <a:pt x="1535006" y="5433636"/>
                </a:cubicBezTo>
                <a:cubicBezTo>
                  <a:pt x="1545955" y="5439119"/>
                  <a:pt x="1557303" y="5446471"/>
                  <a:pt x="1570795" y="5445544"/>
                </a:cubicBezTo>
                <a:cubicBezTo>
                  <a:pt x="1572664" y="5445144"/>
                  <a:pt x="1578674" y="5445815"/>
                  <a:pt x="1578274" y="5443946"/>
                </a:cubicBezTo>
                <a:cubicBezTo>
                  <a:pt x="1581217" y="5439407"/>
                  <a:pt x="1577076" y="5438335"/>
                  <a:pt x="1573335" y="5439134"/>
                </a:cubicBezTo>
                <a:cubicBezTo>
                  <a:pt x="1464263" y="5358802"/>
                  <a:pt x="1350778" y="5285277"/>
                  <a:pt x="1245045" y="5202275"/>
                </a:cubicBezTo>
                <a:cubicBezTo>
                  <a:pt x="1212071" y="5176078"/>
                  <a:pt x="1180967" y="5149481"/>
                  <a:pt x="1146122" y="5123684"/>
                </a:cubicBezTo>
                <a:cubicBezTo>
                  <a:pt x="1138913" y="5117403"/>
                  <a:pt x="1132777" y="5106982"/>
                  <a:pt x="1114075" y="5110977"/>
                </a:cubicBezTo>
                <a:cubicBezTo>
                  <a:pt x="1160923" y="5165497"/>
                  <a:pt x="1231827" y="5195322"/>
                  <a:pt x="1239256" y="5275861"/>
                </a:cubicBezTo>
                <a:cubicBezTo>
                  <a:pt x="1002153" y="5099691"/>
                  <a:pt x="806611" y="4889222"/>
                  <a:pt x="647691" y="4639642"/>
                </a:cubicBezTo>
                <a:cubicBezTo>
                  <a:pt x="675071" y="4639659"/>
                  <a:pt x="685476" y="4660900"/>
                  <a:pt x="698822" y="4677603"/>
                </a:cubicBezTo>
                <a:cubicBezTo>
                  <a:pt x="712568" y="4696176"/>
                  <a:pt x="725914" y="4712878"/>
                  <a:pt x="744471" y="4726512"/>
                </a:cubicBezTo>
                <a:cubicBezTo>
                  <a:pt x="778499" y="4775948"/>
                  <a:pt x="815869" y="4822716"/>
                  <a:pt x="859121" y="4860405"/>
                </a:cubicBezTo>
                <a:cubicBezTo>
                  <a:pt x="862461" y="4857736"/>
                  <a:pt x="865802" y="4855066"/>
                  <a:pt x="869143" y="4852397"/>
                </a:cubicBezTo>
                <a:cubicBezTo>
                  <a:pt x="830303" y="4807900"/>
                  <a:pt x="791464" y="4763402"/>
                  <a:pt x="750753" y="4719304"/>
                </a:cubicBezTo>
                <a:cubicBezTo>
                  <a:pt x="626388" y="4530780"/>
                  <a:pt x="502023" y="4342256"/>
                  <a:pt x="408923" y="4135320"/>
                </a:cubicBezTo>
                <a:cubicBezTo>
                  <a:pt x="219129" y="3704619"/>
                  <a:pt x="139003" y="3256353"/>
                  <a:pt x="164008" y="2787582"/>
                </a:cubicBezTo>
                <a:cubicBezTo>
                  <a:pt x="168471" y="2698636"/>
                  <a:pt x="163583" y="2611687"/>
                  <a:pt x="184206" y="2525154"/>
                </a:cubicBezTo>
                <a:cubicBezTo>
                  <a:pt x="186349" y="2516875"/>
                  <a:pt x="184351" y="2507525"/>
                  <a:pt x="195172" y="2503257"/>
                </a:cubicBezTo>
                <a:cubicBezTo>
                  <a:pt x="204923" y="2503130"/>
                  <a:pt x="204651" y="2511009"/>
                  <a:pt x="203581" y="2515148"/>
                </a:cubicBezTo>
                <a:cubicBezTo>
                  <a:pt x="170144" y="2798003"/>
                  <a:pt x="194812" y="3078222"/>
                  <a:pt x="227360" y="3358710"/>
                </a:cubicBezTo>
                <a:cubicBezTo>
                  <a:pt x="243162" y="3505900"/>
                  <a:pt x="288887" y="3646696"/>
                  <a:pt x="327131" y="3789091"/>
                </a:cubicBezTo>
                <a:cubicBezTo>
                  <a:pt x="332597" y="3805522"/>
                  <a:pt x="336592" y="3824223"/>
                  <a:pt x="340188" y="3841053"/>
                </a:cubicBezTo>
                <a:cubicBezTo>
                  <a:pt x="344055" y="3850004"/>
                  <a:pt x="339372" y="3864692"/>
                  <a:pt x="356203" y="3861096"/>
                </a:cubicBezTo>
                <a:cubicBezTo>
                  <a:pt x="373035" y="3857500"/>
                  <a:pt x="368767" y="3846679"/>
                  <a:pt x="365970" y="3833590"/>
                </a:cubicBezTo>
                <a:cubicBezTo>
                  <a:pt x="344107" y="3767866"/>
                  <a:pt x="323715" y="3699873"/>
                  <a:pt x="307461" y="3632951"/>
                </a:cubicBezTo>
                <a:cubicBezTo>
                  <a:pt x="175983" y="3072466"/>
                  <a:pt x="187148" y="2520615"/>
                  <a:pt x="402527" y="1981840"/>
                </a:cubicBezTo>
                <a:cubicBezTo>
                  <a:pt x="403599" y="1977701"/>
                  <a:pt x="404270" y="1971691"/>
                  <a:pt x="407611" y="1969022"/>
                </a:cubicBezTo>
                <a:cubicBezTo>
                  <a:pt x="409082" y="1966753"/>
                  <a:pt x="412822" y="1965953"/>
                  <a:pt x="419903" y="1962484"/>
                </a:cubicBezTo>
                <a:cubicBezTo>
                  <a:pt x="410662" y="2001612"/>
                  <a:pt x="404363" y="2036199"/>
                  <a:pt x="392454" y="2071985"/>
                </a:cubicBezTo>
                <a:cubicBezTo>
                  <a:pt x="304800" y="2339047"/>
                  <a:pt x="280316" y="2618034"/>
                  <a:pt x="253961" y="2897420"/>
                </a:cubicBezTo>
                <a:cubicBezTo>
                  <a:pt x="251004" y="2929338"/>
                  <a:pt x="257796" y="2961129"/>
                  <a:pt x="260448" y="2991849"/>
                </a:cubicBezTo>
                <a:cubicBezTo>
                  <a:pt x="262046" y="2999329"/>
                  <a:pt x="258832" y="3011748"/>
                  <a:pt x="272323" y="3010820"/>
                </a:cubicBezTo>
                <a:cubicBezTo>
                  <a:pt x="282073" y="3010693"/>
                  <a:pt x="286085" y="3002015"/>
                  <a:pt x="290098" y="2993336"/>
                </a:cubicBezTo>
                <a:cubicBezTo>
                  <a:pt x="293711" y="2982786"/>
                  <a:pt x="298794" y="2969968"/>
                  <a:pt x="304677" y="2960890"/>
                </a:cubicBezTo>
                <a:cubicBezTo>
                  <a:pt x="324040" y="3179669"/>
                  <a:pt x="344875" y="3396177"/>
                  <a:pt x="407652" y="3607635"/>
                </a:cubicBezTo>
                <a:cubicBezTo>
                  <a:pt x="412972" y="3641696"/>
                  <a:pt x="423905" y="3674557"/>
                  <a:pt x="440447" y="3706220"/>
                </a:cubicBezTo>
                <a:cubicBezTo>
                  <a:pt x="433255" y="3672559"/>
                  <a:pt x="431675" y="3637700"/>
                  <a:pt x="415132" y="3606037"/>
                </a:cubicBezTo>
                <a:cubicBezTo>
                  <a:pt x="375307" y="3428783"/>
                  <a:pt x="346703" y="3249131"/>
                  <a:pt x="337201" y="3067354"/>
                </a:cubicBezTo>
                <a:cubicBezTo>
                  <a:pt x="318450" y="2723300"/>
                  <a:pt x="366608" y="2390370"/>
                  <a:pt x="477138" y="2065625"/>
                </a:cubicBezTo>
                <a:cubicBezTo>
                  <a:pt x="479680" y="2059216"/>
                  <a:pt x="483021" y="2056547"/>
                  <a:pt x="489702" y="2051208"/>
                </a:cubicBezTo>
                <a:cubicBezTo>
                  <a:pt x="368810" y="2501358"/>
                  <a:pt x="316969" y="2954352"/>
                  <a:pt x="430613" y="3413056"/>
                </a:cubicBezTo>
                <a:lnTo>
                  <a:pt x="428865" y="3386728"/>
                </a:lnTo>
                <a:lnTo>
                  <a:pt x="466894" y="3622863"/>
                </a:lnTo>
                <a:cubicBezTo>
                  <a:pt x="474592" y="3658895"/>
                  <a:pt x="482290" y="3694928"/>
                  <a:pt x="489988" y="3730960"/>
                </a:cubicBezTo>
                <a:cubicBezTo>
                  <a:pt x="519511" y="3847103"/>
                  <a:pt x="557080" y="3956817"/>
                  <a:pt x="599154" y="4065569"/>
                </a:cubicBezTo>
                <a:cubicBezTo>
                  <a:pt x="609431" y="4091631"/>
                  <a:pt x="619708" y="4117693"/>
                  <a:pt x="634491" y="4142793"/>
                </a:cubicBezTo>
                <a:cubicBezTo>
                  <a:pt x="635453" y="4147297"/>
                  <a:pt x="637377" y="4156305"/>
                  <a:pt x="639302" y="4165313"/>
                </a:cubicBezTo>
                <a:cubicBezTo>
                  <a:pt x="639302" y="4165313"/>
                  <a:pt x="639302" y="4165313"/>
                  <a:pt x="643807" y="4164351"/>
                </a:cubicBezTo>
                <a:cubicBezTo>
                  <a:pt x="746275" y="4401489"/>
                  <a:pt x="881891" y="4617416"/>
                  <a:pt x="1044223" y="4804087"/>
                </a:cubicBezTo>
                <a:cubicBezTo>
                  <a:pt x="1090186" y="4864912"/>
                  <a:pt x="1140653" y="4924774"/>
                  <a:pt x="1194661" y="4979171"/>
                </a:cubicBezTo>
                <a:cubicBezTo>
                  <a:pt x="1175375" y="4955033"/>
                  <a:pt x="1153510" y="4940866"/>
                  <a:pt x="1143540" y="4938286"/>
                </a:cubicBezTo>
                <a:cubicBezTo>
                  <a:pt x="1151893" y="4955340"/>
                  <a:pt x="1175683" y="4978515"/>
                  <a:pt x="1194007" y="4998149"/>
                </a:cubicBezTo>
                <a:cubicBezTo>
                  <a:pt x="1216834" y="5016820"/>
                  <a:pt x="1234195" y="5031950"/>
                  <a:pt x="1243203" y="5030025"/>
                </a:cubicBezTo>
                <a:cubicBezTo>
                  <a:pt x="1230346" y="5013933"/>
                  <a:pt x="1212985" y="4998803"/>
                  <a:pt x="1200128" y="4982713"/>
                </a:cubicBezTo>
                <a:cubicBezTo>
                  <a:pt x="1236776" y="5021979"/>
                  <a:pt x="1277927" y="5060284"/>
                  <a:pt x="1320040" y="5103092"/>
                </a:cubicBezTo>
                <a:cubicBezTo>
                  <a:pt x="1323889" y="5121109"/>
                  <a:pt x="1358611" y="5151367"/>
                  <a:pt x="1390447" y="5168114"/>
                </a:cubicBezTo>
                <a:cubicBezTo>
                  <a:pt x="1407809" y="5183243"/>
                  <a:pt x="1430636" y="5201914"/>
                  <a:pt x="1438027" y="5214464"/>
                </a:cubicBezTo>
                <a:cubicBezTo>
                  <a:pt x="1447036" y="5212539"/>
                  <a:pt x="1458930" y="5224127"/>
                  <a:pt x="1469862" y="5231211"/>
                </a:cubicBezTo>
                <a:cubicBezTo>
                  <a:pt x="2189107" y="5798122"/>
                  <a:pt x="3177182" y="5992052"/>
                  <a:pt x="4098674" y="5653890"/>
                </a:cubicBezTo>
                <a:cubicBezTo>
                  <a:pt x="4469974" y="5518049"/>
                  <a:pt x="4793386" y="5312374"/>
                  <a:pt x="5058287" y="5053265"/>
                </a:cubicBezTo>
                <a:cubicBezTo>
                  <a:pt x="5658574" y="4468182"/>
                  <a:pt x="5968225" y="3624938"/>
                  <a:pt x="5862270" y="2776293"/>
                </a:cubicBezTo>
                <a:cubicBezTo>
                  <a:pt x="5854264" y="2716778"/>
                  <a:pt x="5847221" y="2661766"/>
                  <a:pt x="5834711" y="2603214"/>
                </a:cubicBezTo>
                <a:cubicBezTo>
                  <a:pt x="5834711" y="2603214"/>
                  <a:pt x="5839216" y="2602252"/>
                  <a:pt x="5838253" y="2597748"/>
                </a:cubicBezTo>
                <a:cubicBezTo>
                  <a:pt x="5835366" y="2584235"/>
                  <a:pt x="5835366" y="2584235"/>
                  <a:pt x="5835366" y="2584235"/>
                </a:cubicBezTo>
                <a:cubicBezTo>
                  <a:pt x="5835366" y="2584235"/>
                  <a:pt x="5834404" y="2579732"/>
                  <a:pt x="5829900" y="2580694"/>
                </a:cubicBezTo>
                <a:lnTo>
                  <a:pt x="5802956" y="2454580"/>
                </a:lnTo>
                <a:cubicBezTo>
                  <a:pt x="5777282" y="2356454"/>
                  <a:pt x="5748067" y="2263794"/>
                  <a:pt x="5713385" y="2167591"/>
                </a:cubicBezTo>
                <a:cubicBezTo>
                  <a:pt x="5600022" y="1857426"/>
                  <a:pt x="5436461" y="1576825"/>
                  <a:pt x="5230091" y="1338337"/>
                </a:cubicBezTo>
                <a:cubicBezTo>
                  <a:pt x="5120805" y="1201559"/>
                  <a:pt x="4989960" y="1074095"/>
                  <a:pt x="4852032" y="957564"/>
                </a:cubicBezTo>
                <a:cubicBezTo>
                  <a:pt x="4857498" y="961106"/>
                  <a:pt x="4857498" y="961106"/>
                  <a:pt x="4862002" y="960144"/>
                </a:cubicBezTo>
                <a:cubicBezTo>
                  <a:pt x="4850108" y="948556"/>
                  <a:pt x="4821813" y="926343"/>
                  <a:pt x="4798985" y="907672"/>
                </a:cubicBezTo>
                <a:cubicBezTo>
                  <a:pt x="4782587" y="897047"/>
                  <a:pt x="4770691" y="885459"/>
                  <a:pt x="4760721" y="882879"/>
                </a:cubicBezTo>
                <a:cubicBezTo>
                  <a:pt x="4722457" y="858088"/>
                  <a:pt x="4683230" y="828791"/>
                  <a:pt x="4644966" y="803998"/>
                </a:cubicBezTo>
                <a:cubicBezTo>
                  <a:pt x="4633070" y="792411"/>
                  <a:pt x="4616671" y="781786"/>
                  <a:pt x="4601235" y="775665"/>
                </a:cubicBezTo>
                <a:cubicBezTo>
                  <a:pt x="4474546" y="689699"/>
                  <a:pt x="4337233" y="620133"/>
                  <a:pt x="4191873" y="556997"/>
                </a:cubicBezTo>
                <a:cubicBezTo>
                  <a:pt x="4237221" y="570856"/>
                  <a:pt x="4282569" y="584716"/>
                  <a:pt x="4317947" y="595996"/>
                </a:cubicBezTo>
                <a:cubicBezTo>
                  <a:pt x="4319871" y="605005"/>
                  <a:pt x="4339812" y="610163"/>
                  <a:pt x="4340774" y="614667"/>
                </a:cubicBezTo>
                <a:cubicBezTo>
                  <a:pt x="4381618" y="629489"/>
                  <a:pt x="4429854" y="656861"/>
                  <a:pt x="4468773" y="662675"/>
                </a:cubicBezTo>
                <a:cubicBezTo>
                  <a:pt x="4452374" y="652050"/>
                  <a:pt x="4430508" y="637883"/>
                  <a:pt x="4433088" y="627913"/>
                </a:cubicBezTo>
                <a:cubicBezTo>
                  <a:pt x="4406718" y="614708"/>
                  <a:pt x="4344010" y="585719"/>
                  <a:pt x="4325031" y="585063"/>
                </a:cubicBezTo>
                <a:cubicBezTo>
                  <a:pt x="4314098" y="577980"/>
                  <a:pt x="4307670" y="569934"/>
                  <a:pt x="4302203" y="566393"/>
                </a:cubicBezTo>
                <a:cubicBezTo>
                  <a:pt x="4271330" y="554150"/>
                  <a:pt x="4246884" y="549953"/>
                  <a:pt x="4216974" y="542214"/>
                </a:cubicBezTo>
                <a:cubicBezTo>
                  <a:pt x="4196070" y="532551"/>
                  <a:pt x="4158768" y="512263"/>
                  <a:pt x="4133361" y="503562"/>
                </a:cubicBezTo>
                <a:cubicBezTo>
                  <a:pt x="4123391" y="500982"/>
                  <a:pt x="4119849" y="506449"/>
                  <a:pt x="4109878" y="503869"/>
                </a:cubicBezTo>
                <a:cubicBezTo>
                  <a:pt x="4099908" y="501291"/>
                  <a:pt x="4082547" y="486161"/>
                  <a:pt x="4072576" y="483581"/>
                </a:cubicBezTo>
                <a:cubicBezTo>
                  <a:pt x="4041702" y="471338"/>
                  <a:pt x="4028190" y="474225"/>
                  <a:pt x="4026266" y="465217"/>
                </a:cubicBezTo>
                <a:cubicBezTo>
                  <a:pt x="4007287" y="464562"/>
                  <a:pt x="3977375" y="456824"/>
                  <a:pt x="3970292" y="467757"/>
                </a:cubicBezTo>
                <a:cubicBezTo>
                  <a:pt x="3989271" y="468411"/>
                  <a:pt x="3985729" y="473878"/>
                  <a:pt x="3986691" y="478382"/>
                </a:cubicBezTo>
                <a:cubicBezTo>
                  <a:pt x="3540295" y="328852"/>
                  <a:pt x="3052011" y="291882"/>
                  <a:pt x="2556561" y="397733"/>
                </a:cubicBezTo>
                <a:lnTo>
                  <a:pt x="2508145" y="410487"/>
                </a:lnTo>
                <a:lnTo>
                  <a:pt x="2458913" y="419861"/>
                </a:lnTo>
                <a:cubicBezTo>
                  <a:pt x="2151483" y="490308"/>
                  <a:pt x="1868431" y="625941"/>
                  <a:pt x="1598952" y="799372"/>
                </a:cubicBezTo>
                <a:cubicBezTo>
                  <a:pt x="1558063" y="827661"/>
                  <a:pt x="1514505" y="852611"/>
                  <a:pt x="1473216" y="879030"/>
                </a:cubicBezTo>
                <a:cubicBezTo>
                  <a:pt x="1466535" y="884369"/>
                  <a:pt x="1461052" y="895317"/>
                  <a:pt x="1451174" y="885695"/>
                </a:cubicBezTo>
                <a:cubicBezTo>
                  <a:pt x="1441695" y="877943"/>
                  <a:pt x="1443438" y="867794"/>
                  <a:pt x="1449321" y="858715"/>
                </a:cubicBezTo>
                <a:cubicBezTo>
                  <a:pt x="1462557" y="838289"/>
                  <a:pt x="1480731" y="822673"/>
                  <a:pt x="1500105" y="812669"/>
                </a:cubicBezTo>
                <a:cubicBezTo>
                  <a:pt x="1611007" y="745956"/>
                  <a:pt x="1716842" y="664683"/>
                  <a:pt x="1844558" y="621754"/>
                </a:cubicBezTo>
                <a:cubicBezTo>
                  <a:pt x="1831212" y="605052"/>
                  <a:pt x="1812238" y="616927"/>
                  <a:pt x="1796350" y="606633"/>
                </a:cubicBezTo>
                <a:cubicBezTo>
                  <a:pt x="1833099" y="577272"/>
                  <a:pt x="1874116" y="558732"/>
                  <a:pt x="1915531" y="542063"/>
                </a:cubicBezTo>
                <a:cubicBezTo>
                  <a:pt x="2200904" y="422433"/>
                  <a:pt x="2492268" y="330852"/>
                  <a:pt x="2801357" y="303925"/>
                </a:cubicBezTo>
                <a:cubicBezTo>
                  <a:pt x="3018680" y="286827"/>
                  <a:pt x="3234787" y="291496"/>
                  <a:pt x="3448335" y="329955"/>
                </a:cubicBezTo>
                <a:cubicBezTo>
                  <a:pt x="3513374" y="341479"/>
                  <a:pt x="3572259" y="369963"/>
                  <a:pt x="3639713" y="365329"/>
                </a:cubicBezTo>
                <a:cubicBezTo>
                  <a:pt x="3656944" y="363602"/>
                  <a:pt x="3679513" y="368557"/>
                  <a:pt x="3679531" y="341178"/>
                </a:cubicBezTo>
                <a:cubicBezTo>
                  <a:pt x="3681418" y="313399"/>
                  <a:pt x="3657905" y="322334"/>
                  <a:pt x="3641345" y="318050"/>
                </a:cubicBezTo>
                <a:cubicBezTo>
                  <a:pt x="3621444" y="316435"/>
                  <a:pt x="3596333" y="317890"/>
                  <a:pt x="3579519" y="294106"/>
                </a:cubicBezTo>
                <a:cubicBezTo>
                  <a:pt x="3700137" y="282025"/>
                  <a:pt x="3811242" y="316949"/>
                  <a:pt x="3921820" y="340254"/>
                </a:cubicBezTo>
                <a:cubicBezTo>
                  <a:pt x="3988457" y="359259"/>
                  <a:pt x="4048541" y="393353"/>
                  <a:pt x="4117320" y="404078"/>
                </a:cubicBezTo>
                <a:cubicBezTo>
                  <a:pt x="4058708" y="367716"/>
                  <a:pt x="3994740" y="352052"/>
                  <a:pt x="3929573" y="330776"/>
                </a:cubicBezTo>
                <a:cubicBezTo>
                  <a:pt x="3841709" y="294797"/>
                  <a:pt x="3746619" y="279916"/>
                  <a:pt x="3651529" y="265034"/>
                </a:cubicBezTo>
                <a:cubicBezTo>
                  <a:pt x="3392571" y="224545"/>
                  <a:pt x="3131596" y="202085"/>
                  <a:pt x="2868463" y="215284"/>
                </a:cubicBezTo>
                <a:cubicBezTo>
                  <a:pt x="2835871" y="218335"/>
                  <a:pt x="2800210" y="216177"/>
                  <a:pt x="2767746" y="228980"/>
                </a:cubicBezTo>
                <a:cubicBezTo>
                  <a:pt x="2772141" y="249550"/>
                  <a:pt x="2788173" y="242214"/>
                  <a:pt x="2799794" y="241686"/>
                </a:cubicBezTo>
                <a:cubicBezTo>
                  <a:pt x="3021256" y="225658"/>
                  <a:pt x="3243373" y="231000"/>
                  <a:pt x="3465473" y="263721"/>
                </a:cubicBezTo>
                <a:cubicBezTo>
                  <a:pt x="3477492" y="265064"/>
                  <a:pt x="3499535" y="258399"/>
                  <a:pt x="3497920" y="278298"/>
                </a:cubicBezTo>
                <a:cubicBezTo>
                  <a:pt x="3496305" y="298197"/>
                  <a:pt x="3474535" y="296982"/>
                  <a:pt x="3460245" y="294168"/>
                </a:cubicBezTo>
                <a:cubicBezTo>
                  <a:pt x="3389994" y="285712"/>
                  <a:pt x="3320016" y="269376"/>
                  <a:pt x="3247224" y="267329"/>
                </a:cubicBezTo>
                <a:cubicBezTo>
                  <a:pt x="2932814" y="260197"/>
                  <a:pt x="2620529" y="272164"/>
                  <a:pt x="2317144" y="362401"/>
                </a:cubicBezTo>
                <a:cubicBezTo>
                  <a:pt x="2081756" y="432244"/>
                  <a:pt x="1859571" y="536420"/>
                  <a:pt x="1646991" y="658097"/>
                </a:cubicBezTo>
                <a:cubicBezTo>
                  <a:pt x="1603433" y="683046"/>
                  <a:pt x="1558005" y="708395"/>
                  <a:pt x="1510978" y="726263"/>
                </a:cubicBezTo>
                <a:cubicBezTo>
                  <a:pt x="1826469" y="500473"/>
                  <a:pt x="2176643" y="345489"/>
                  <a:pt x="2562299" y="265051"/>
                </a:cubicBezTo>
                <a:cubicBezTo>
                  <a:pt x="2544413" y="245407"/>
                  <a:pt x="2523968" y="259552"/>
                  <a:pt x="2496459" y="249786"/>
                </a:cubicBezTo>
                <a:cubicBezTo>
                  <a:pt x="2563786" y="235402"/>
                  <a:pt x="2621762" y="223015"/>
                  <a:pt x="2679065" y="216639"/>
                </a:cubicBezTo>
                <a:cubicBezTo>
                  <a:pt x="2765221" y="208009"/>
                  <a:pt x="2851776" y="201250"/>
                  <a:pt x="2939402" y="190351"/>
                </a:cubicBezTo>
                <a:cubicBezTo>
                  <a:pt x="2945412" y="191022"/>
                  <a:pt x="2960102" y="195705"/>
                  <a:pt x="2959175" y="182215"/>
                </a:cubicBezTo>
                <a:cubicBezTo>
                  <a:pt x="2960518" y="170196"/>
                  <a:pt x="2947427" y="172993"/>
                  <a:pt x="2939547" y="172721"/>
                </a:cubicBezTo>
                <a:cubicBezTo>
                  <a:pt x="2830422" y="174526"/>
                  <a:pt x="2723440" y="168051"/>
                  <a:pt x="2616967" y="200575"/>
                </a:cubicBezTo>
                <a:cubicBezTo>
                  <a:pt x="2593454" y="209510"/>
                  <a:pt x="2564475" y="202013"/>
                  <a:pt x="2537493" y="203867"/>
                </a:cubicBezTo>
                <a:cubicBezTo>
                  <a:pt x="2425028" y="208340"/>
                  <a:pt x="2323223" y="253555"/>
                  <a:pt x="2217149" y="287950"/>
                </a:cubicBezTo>
                <a:cubicBezTo>
                  <a:pt x="1981889" y="367543"/>
                  <a:pt x="1756636" y="466508"/>
                  <a:pt x="1542585" y="590454"/>
                </a:cubicBezTo>
                <a:cubicBezTo>
                  <a:pt x="1408170" y="666101"/>
                  <a:pt x="1293638" y="770742"/>
                  <a:pt x="1168430" y="862020"/>
                </a:cubicBezTo>
                <a:cubicBezTo>
                  <a:pt x="1158008" y="868157"/>
                  <a:pt x="1146115" y="876564"/>
                  <a:pt x="1130881" y="887640"/>
                </a:cubicBezTo>
                <a:cubicBezTo>
                  <a:pt x="1131570" y="854252"/>
                  <a:pt x="1145877" y="829685"/>
                  <a:pt x="1168592" y="817011"/>
                </a:cubicBezTo>
                <a:cubicBezTo>
                  <a:pt x="1280692" y="755909"/>
                  <a:pt x="1370239" y="662473"/>
                  <a:pt x="1476602" y="592819"/>
                </a:cubicBezTo>
                <a:cubicBezTo>
                  <a:pt x="1818803" y="373055"/>
                  <a:pt x="2188604" y="227565"/>
                  <a:pt x="2591346" y="163030"/>
                </a:cubicBezTo>
                <a:cubicBezTo>
                  <a:pt x="2757919" y="137220"/>
                  <a:pt x="2923804" y="144799"/>
                  <a:pt x="3091031" y="140357"/>
                </a:cubicBezTo>
                <a:cubicBezTo>
                  <a:pt x="3304341" y="131937"/>
                  <a:pt x="3513894" y="151695"/>
                  <a:pt x="3716875" y="213921"/>
                </a:cubicBezTo>
                <a:cubicBezTo>
                  <a:pt x="3735705" y="219674"/>
                  <a:pt x="3755205" y="219420"/>
                  <a:pt x="3758928" y="245999"/>
                </a:cubicBezTo>
                <a:cubicBezTo>
                  <a:pt x="3758657" y="253879"/>
                  <a:pt x="3767336" y="257891"/>
                  <a:pt x="3775216" y="258163"/>
                </a:cubicBezTo>
                <a:cubicBezTo>
                  <a:pt x="3900483" y="286151"/>
                  <a:pt x="4022537" y="326558"/>
                  <a:pt x="4143920" y="372975"/>
                </a:cubicBezTo>
                <a:cubicBezTo>
                  <a:pt x="4146189" y="374445"/>
                  <a:pt x="4149930" y="373646"/>
                  <a:pt x="4155540" y="372448"/>
                </a:cubicBezTo>
                <a:cubicBezTo>
                  <a:pt x="4159698" y="346140"/>
                  <a:pt x="4150891" y="332378"/>
                  <a:pt x="4123382" y="322612"/>
                </a:cubicBezTo>
                <a:cubicBezTo>
                  <a:pt x="3936433" y="253051"/>
                  <a:pt x="3750556" y="179350"/>
                  <a:pt x="3554239" y="139165"/>
                </a:cubicBezTo>
                <a:cubicBezTo>
                  <a:pt x="3233454" y="74732"/>
                  <a:pt x="2911963" y="71067"/>
                  <a:pt x="2590565" y="131911"/>
                </a:cubicBezTo>
                <a:cubicBezTo>
                  <a:pt x="2410228" y="166529"/>
                  <a:pt x="2229893" y="201145"/>
                  <a:pt x="2058218" y="267154"/>
                </a:cubicBezTo>
                <a:cubicBezTo>
                  <a:pt x="1991819" y="295028"/>
                  <a:pt x="1918755" y="300860"/>
                  <a:pt x="1849558" y="315643"/>
                </a:cubicBezTo>
                <a:cubicBezTo>
                  <a:pt x="2067060" y="226157"/>
                  <a:pt x="2290027" y="153101"/>
                  <a:pt x="2520059" y="103956"/>
                </a:cubicBezTo>
                <a:cubicBezTo>
                  <a:pt x="2752360" y="56281"/>
                  <a:pt x="2984644" y="35986"/>
                  <a:pt x="3222250" y="49751"/>
                </a:cubicBezTo>
                <a:cubicBezTo>
                  <a:pt x="3009228" y="22912"/>
                  <a:pt x="2793377" y="37741"/>
                  <a:pt x="2580338" y="38281"/>
                </a:cubicBezTo>
                <a:cubicBezTo>
                  <a:pt x="2579539" y="34542"/>
                  <a:pt x="2580611" y="30401"/>
                  <a:pt x="2580211" y="28532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800"/>
          </a:p>
        </p:txBody>
      </p:sp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4291A5CD-9F15-47A9-86F2-E34601F5C4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734308" y="1617572"/>
            <a:ext cx="3622856" cy="3622856"/>
          </a:xfrm>
          <a:custGeom>
            <a:avLst/>
            <a:gdLst>
              <a:gd name="connsiteX0" fmla="*/ 1711572 w 3423144"/>
              <a:gd name="connsiteY0" fmla="*/ 0 h 3423144"/>
              <a:gd name="connsiteX1" fmla="*/ 3423144 w 3423144"/>
              <a:gd name="connsiteY1" fmla="*/ 1711572 h 3423144"/>
              <a:gd name="connsiteX2" fmla="*/ 1711572 w 3423144"/>
              <a:gd name="connsiteY2" fmla="*/ 3423144 h 3423144"/>
              <a:gd name="connsiteX3" fmla="*/ 0 w 3423144"/>
              <a:gd name="connsiteY3" fmla="*/ 1711572 h 3423144"/>
              <a:gd name="connsiteX4" fmla="*/ 1711572 w 3423144"/>
              <a:gd name="connsiteY4" fmla="*/ 0 h 3423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3144" h="3423144">
                <a:moveTo>
                  <a:pt x="1711572" y="0"/>
                </a:moveTo>
                <a:cubicBezTo>
                  <a:pt x="2656847" y="0"/>
                  <a:pt x="3423144" y="766297"/>
                  <a:pt x="3423144" y="1711572"/>
                </a:cubicBezTo>
                <a:cubicBezTo>
                  <a:pt x="3423144" y="2656847"/>
                  <a:pt x="2656847" y="3423144"/>
                  <a:pt x="1711572" y="3423144"/>
                </a:cubicBezTo>
                <a:cubicBezTo>
                  <a:pt x="766297" y="3423144"/>
                  <a:pt x="0" y="2656847"/>
                  <a:pt x="0" y="1711572"/>
                </a:cubicBezTo>
                <a:cubicBezTo>
                  <a:pt x="0" y="766297"/>
                  <a:pt x="766297" y="0"/>
                  <a:pt x="171157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377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361550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72743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bg>
      <p:bgPr>
        <a:solidFill>
          <a:schemeClr val="tx1">
            <a:lumMod val="65000"/>
            <a:lumOff val="3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id="{10F365D7-7FE8-4320-988A-2AE655751A1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47861" y="4559"/>
            <a:ext cx="7344139" cy="6863603"/>
          </a:xfrm>
          <a:custGeom>
            <a:avLst/>
            <a:gdLst>
              <a:gd name="connsiteX0" fmla="*/ 0 w 4572000"/>
              <a:gd name="connsiteY0" fmla="*/ 0 h 5140082"/>
              <a:gd name="connsiteX1" fmla="*/ 4572000 w 4572000"/>
              <a:gd name="connsiteY1" fmla="*/ 0 h 5140082"/>
              <a:gd name="connsiteX2" fmla="*/ 4572000 w 4572000"/>
              <a:gd name="connsiteY2" fmla="*/ 5140082 h 5140082"/>
              <a:gd name="connsiteX3" fmla="*/ 0 w 4572000"/>
              <a:gd name="connsiteY3" fmla="*/ 5140082 h 5140082"/>
              <a:gd name="connsiteX4" fmla="*/ 0 w 4572000"/>
              <a:gd name="connsiteY4" fmla="*/ 0 h 5140082"/>
              <a:gd name="connsiteX0" fmla="*/ 502920 w 4572000"/>
              <a:gd name="connsiteY0" fmla="*/ 0 h 5147702"/>
              <a:gd name="connsiteX1" fmla="*/ 4572000 w 4572000"/>
              <a:gd name="connsiteY1" fmla="*/ 7620 h 5147702"/>
              <a:gd name="connsiteX2" fmla="*/ 4572000 w 4572000"/>
              <a:gd name="connsiteY2" fmla="*/ 5147702 h 5147702"/>
              <a:gd name="connsiteX3" fmla="*/ 0 w 4572000"/>
              <a:gd name="connsiteY3" fmla="*/ 5147702 h 5147702"/>
              <a:gd name="connsiteX4" fmla="*/ 502920 w 4572000"/>
              <a:gd name="connsiteY4" fmla="*/ 0 h 5147702"/>
              <a:gd name="connsiteX0" fmla="*/ 480060 w 4572000"/>
              <a:gd name="connsiteY0" fmla="*/ 0 h 5140082"/>
              <a:gd name="connsiteX1" fmla="*/ 4572000 w 4572000"/>
              <a:gd name="connsiteY1" fmla="*/ 0 h 5140082"/>
              <a:gd name="connsiteX2" fmla="*/ 4572000 w 4572000"/>
              <a:gd name="connsiteY2" fmla="*/ 5140082 h 5140082"/>
              <a:gd name="connsiteX3" fmla="*/ 0 w 4572000"/>
              <a:gd name="connsiteY3" fmla="*/ 5140082 h 5140082"/>
              <a:gd name="connsiteX4" fmla="*/ 480060 w 4572000"/>
              <a:gd name="connsiteY4" fmla="*/ 0 h 5140082"/>
              <a:gd name="connsiteX0" fmla="*/ 1402080 w 5494020"/>
              <a:gd name="connsiteY0" fmla="*/ 0 h 5147702"/>
              <a:gd name="connsiteX1" fmla="*/ 5494020 w 5494020"/>
              <a:gd name="connsiteY1" fmla="*/ 0 h 5147702"/>
              <a:gd name="connsiteX2" fmla="*/ 5494020 w 5494020"/>
              <a:gd name="connsiteY2" fmla="*/ 5140082 h 5147702"/>
              <a:gd name="connsiteX3" fmla="*/ 0 w 5494020"/>
              <a:gd name="connsiteY3" fmla="*/ 5147702 h 5147702"/>
              <a:gd name="connsiteX4" fmla="*/ 1402080 w 5494020"/>
              <a:gd name="connsiteY4" fmla="*/ 0 h 5147702"/>
              <a:gd name="connsiteX0" fmla="*/ 1706880 w 5494020"/>
              <a:gd name="connsiteY0" fmla="*/ 0 h 5147702"/>
              <a:gd name="connsiteX1" fmla="*/ 5494020 w 5494020"/>
              <a:gd name="connsiteY1" fmla="*/ 0 h 5147702"/>
              <a:gd name="connsiteX2" fmla="*/ 5494020 w 5494020"/>
              <a:gd name="connsiteY2" fmla="*/ 5140082 h 5147702"/>
              <a:gd name="connsiteX3" fmla="*/ 0 w 5494020"/>
              <a:gd name="connsiteY3" fmla="*/ 5147702 h 5147702"/>
              <a:gd name="connsiteX4" fmla="*/ 1706880 w 5494020"/>
              <a:gd name="connsiteY4" fmla="*/ 0 h 514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4020" h="5147702">
                <a:moveTo>
                  <a:pt x="1706880" y="0"/>
                </a:moveTo>
                <a:lnTo>
                  <a:pt x="5494020" y="0"/>
                </a:lnTo>
                <a:lnTo>
                  <a:pt x="5494020" y="5140082"/>
                </a:lnTo>
                <a:lnTo>
                  <a:pt x="0" y="5147702"/>
                </a:lnTo>
                <a:lnTo>
                  <a:pt x="170688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249328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18829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22270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2483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251137294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12347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1" y="1131593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4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8" y="1276654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3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105920"/>
            <a:ext cx="2232248" cy="78175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A52DF-2523-4479-BFA3-B5ACE9887E1C}"/>
              </a:ext>
            </a:extLst>
          </p:cNvPr>
          <p:cNvSpPr txBox="1"/>
          <p:nvPr userDrawn="1"/>
        </p:nvSpPr>
        <p:spPr>
          <a:xfrm>
            <a:off x="721229" y="5808440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AAC314F-E96A-4408-95DE-A70E9ED054AF}"/>
              </a:ext>
            </a:extLst>
          </p:cNvPr>
          <p:cNvSpPr txBox="1"/>
          <p:nvPr userDrawn="1"/>
        </p:nvSpPr>
        <p:spPr>
          <a:xfrm>
            <a:off x="721229" y="4407236"/>
            <a:ext cx="2717296" cy="147117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539685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11792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27381" y="1508787"/>
            <a:ext cx="11329259" cy="61419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541173" y="2411015"/>
            <a:ext cx="11329259" cy="3994316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10611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563" y="0"/>
            <a:ext cx="10032437" cy="11792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Free PPT _ Click to add title</a:t>
            </a:r>
            <a:endParaRPr lang="ko-KR" alt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639616" y="1316766"/>
            <a:ext cx="9217024" cy="61419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2653408" y="2218994"/>
            <a:ext cx="9217024" cy="3994316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55636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46720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8814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90934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59973812"/>
              </p:ext>
            </p:extLst>
          </p:nvPr>
        </p:nvGraphicFramePr>
        <p:xfrm>
          <a:off x="2120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20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166269"/>
            <a:ext cx="11036300" cy="969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9386" y="1299178"/>
            <a:ext cx="11036300" cy="4871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auto">
          <a:xfrm flipH="1" flipV="1">
            <a:off x="18090" y="3178"/>
            <a:ext cx="0" cy="1296000"/>
          </a:xfrm>
          <a:prstGeom prst="line">
            <a:avLst/>
          </a:prstGeom>
          <a:noFill/>
          <a:ln w="76200">
            <a:solidFill>
              <a:srgbClr val="BB311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662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ＭＳ Ｐゴシック" pitchFamily="34" charset="-128"/>
              <a:cs typeface="Arial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1717870" y="6642138"/>
            <a:ext cx="23495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06EE81-ACF5-4886-8DE8-68831564CA94}" type="slidenum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11" name="Picture 17" descr="IVI logo lrg 600x139 white bg">
            <a:extLst>
              <a:ext uri="{FF2B5EF4-FFF2-40B4-BE49-F238E27FC236}">
                <a16:creationId xmlns:a16="http://schemas.microsoft.com/office/drawing/2014/main" id="{B7B7E45D-80C3-4E80-BD07-310B1F75C1C8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69385" y="6323927"/>
            <a:ext cx="1955389" cy="451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387D11-E91C-4DA0-91FE-FF7A1DA28E9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8371" y="6248427"/>
            <a:ext cx="1357315" cy="609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031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88" r:id="rId3"/>
  </p:sldLayoutIdLst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5pPr>
      <a:lvl6pPr marL="422041"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  <a:cs typeface="Arial" charset="0"/>
        </a:defRPr>
      </a:lvl6pPr>
      <a:lvl7pPr marL="844083"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  <a:cs typeface="Arial" charset="0"/>
        </a:defRPr>
      </a:lvl7pPr>
      <a:lvl8pPr marL="1266124"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  <a:cs typeface="Arial" charset="0"/>
        </a:defRPr>
      </a:lvl8pPr>
      <a:lvl9pPr marL="1688165"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47657" indent="-2476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507036" indent="-25791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754692" indent="-246191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0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990625" indent="-23446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0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1260262" indent="-26817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0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1682304" indent="-26817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 Black" pitchFamily="34" charset="0"/>
        <a:buChar char="-"/>
        <a:defRPr sz="1477">
          <a:solidFill>
            <a:schemeClr val="tx1"/>
          </a:solidFill>
          <a:latin typeface="+mn-lt"/>
          <a:cs typeface="+mn-cs"/>
        </a:defRPr>
      </a:lvl6pPr>
      <a:lvl7pPr marL="2104345" indent="-26817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 Black" pitchFamily="34" charset="0"/>
        <a:buChar char="-"/>
        <a:defRPr sz="1477">
          <a:solidFill>
            <a:schemeClr val="tx1"/>
          </a:solidFill>
          <a:latin typeface="+mn-lt"/>
          <a:cs typeface="+mn-cs"/>
        </a:defRPr>
      </a:lvl7pPr>
      <a:lvl8pPr marL="2526386" indent="-26817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 Black" pitchFamily="34" charset="0"/>
        <a:buChar char="-"/>
        <a:defRPr sz="1477">
          <a:solidFill>
            <a:schemeClr val="tx1"/>
          </a:solidFill>
          <a:latin typeface="+mn-lt"/>
          <a:cs typeface="+mn-cs"/>
        </a:defRPr>
      </a:lvl8pPr>
      <a:lvl9pPr marL="2948428" indent="-26817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 Black" pitchFamily="34" charset="0"/>
        <a:buChar char="-"/>
        <a:defRPr sz="147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6926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</p:sldLayoutIdLst>
  <p:txStyles>
    <p:titleStyle>
      <a:lvl1pPr algn="ctr" defTabSz="1219170" rtl="0" eaLnBrk="1" latinLnBrk="1" hangingPunct="1">
        <a:spcBef>
          <a:spcPct val="0"/>
        </a:spcBef>
        <a:buNone/>
        <a:defRPr sz="48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2381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  <p:sldLayoutId id="2147483905" r:id="rId12"/>
    <p:sldLayoutId id="2147483906" r:id="rId13"/>
    <p:sldLayoutId id="2147483907" r:id="rId14"/>
    <p:sldLayoutId id="2147483908" r:id="rId15"/>
    <p:sldLayoutId id="2147483909" r:id="rId16"/>
    <p:sldLayoutId id="2147483910" r:id="rId17"/>
    <p:sldLayoutId id="2147483911" r:id="rId18"/>
    <p:sldLayoutId id="2147483912" r:id="rId19"/>
    <p:sldLayoutId id="2147483913" r:id="rId20"/>
    <p:sldLayoutId id="2147483914" r:id="rId21"/>
    <p:sldLayoutId id="2147483915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2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9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1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2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1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2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1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1770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  <p:sldLayoutId id="2147483932" r:id="rId16"/>
    <p:sldLayoutId id="2147483933" r:id="rId17"/>
    <p:sldLayoutId id="2147483934" r:id="rId18"/>
    <p:sldLayoutId id="2147483935" r:id="rId19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hyperlink" Target="https://www.linkedin.com/showcase/epa-research/about/?viewAsMember=true" TargetMode="External"/><Relationship Id="rId4" Type="http://schemas.openxmlformats.org/officeDocument/2006/relationships/hyperlink" Target="https://ivi.ie/project/vision-circular-business-models-for-the-construction-sector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preview">
            <a:extLst>
              <a:ext uri="{FF2B5EF4-FFF2-40B4-BE49-F238E27FC236}">
                <a16:creationId xmlns:a16="http://schemas.microsoft.com/office/drawing/2014/main" id="{4BCD0E1F-DB55-78E8-04D4-D8F383820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94944"/>
            <a:ext cx="1679509" cy="663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23393" y="2799418"/>
            <a:ext cx="6480040" cy="17340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A Value Centric Approach for Circular Business to Reduce Virgin Material in the Construction Sector  </a:t>
            </a:r>
          </a:p>
          <a:p>
            <a:pPr marL="0" marR="0" lvl="0" indent="0" algn="just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6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34" charset="-127"/>
                <a:cs typeface="Arial" pitchFamily="34" charset="0"/>
              </a:rPr>
              <a:t>  </a:t>
            </a:r>
          </a:p>
        </p:txBody>
      </p:sp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623392" y="1498627"/>
            <a:ext cx="6480043" cy="748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2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맑은 고딕" pitchFamily="50" charset="-127"/>
                <a:cs typeface="Arial" pitchFamily="34" charset="0"/>
              </a:rPr>
              <a:t>VISION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8B8A6B-932A-B869-5387-D93C4F6B5F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21900" y="5981700"/>
            <a:ext cx="2070100" cy="876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4A2D4BF-3FD2-8813-D5B2-09FD6A6AF8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8408" y="6238839"/>
            <a:ext cx="2133785" cy="61981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BFB6109-755A-95F8-4B30-701F65023C1E}"/>
              </a:ext>
            </a:extLst>
          </p:cNvPr>
          <p:cNvSpPr txBox="1"/>
          <p:nvPr/>
        </p:nvSpPr>
        <p:spPr>
          <a:xfrm>
            <a:off x="89647" y="5070330"/>
            <a:ext cx="5562123" cy="1126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IE" sz="2400" dirty="0">
                <a:solidFill>
                  <a:schemeClr val="bg1"/>
                </a:solidFill>
              </a:rPr>
              <a:t>Dr Claudia Roessing</a:t>
            </a:r>
          </a:p>
          <a:p>
            <a:pPr algn="l"/>
            <a:r>
              <a:rPr lang="en-IE" sz="2400" dirty="0">
                <a:solidFill>
                  <a:schemeClr val="bg1"/>
                </a:solidFill>
              </a:rPr>
              <a:t>Project Leader: Prof. Markus </a:t>
            </a:r>
            <a:r>
              <a:rPr lang="en-IE" sz="2400" dirty="0" err="1">
                <a:solidFill>
                  <a:schemeClr val="bg1"/>
                </a:solidFill>
              </a:rPr>
              <a:t>Helfert</a:t>
            </a:r>
            <a:endParaRPr lang="en-IE" sz="2400" dirty="0">
              <a:solidFill>
                <a:schemeClr val="bg1"/>
              </a:solidFill>
            </a:endParaRPr>
          </a:p>
          <a:p>
            <a:pPr algn="l"/>
            <a:r>
              <a:rPr lang="en-IE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4478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B1A5F-A8C8-DBBC-0C39-15D60D7E27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VISION proje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C71B53-7A73-618A-C55C-D0C61F39E8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1" y="1265656"/>
            <a:ext cx="11036300" cy="5086505"/>
          </a:xfrm>
        </p:spPr>
        <p:txBody>
          <a:bodyPr/>
          <a:lstStyle/>
          <a:p>
            <a:endParaRPr lang="en-IE" dirty="0"/>
          </a:p>
          <a:p>
            <a:pPr algn="just"/>
            <a:r>
              <a:rPr lang="en-IE" sz="2400" dirty="0"/>
              <a:t>The project addresses the knowledge gap to </a:t>
            </a:r>
            <a:r>
              <a:rPr lang="en-IE" sz="2400" b="1" dirty="0"/>
              <a:t>identify opportunities to minimise the use of virgin materials used in the growing construction sector in Ireland</a:t>
            </a:r>
            <a:r>
              <a:rPr lang="en-IE" sz="2400" dirty="0"/>
              <a:t>. </a:t>
            </a:r>
          </a:p>
          <a:p>
            <a:pPr algn="just"/>
            <a:r>
              <a:rPr lang="en-IE" sz="2400" dirty="0"/>
              <a:t>We bring together a community of academic </a:t>
            </a:r>
            <a:r>
              <a:rPr lang="en-IE" sz="2400" b="1" dirty="0"/>
              <a:t>expertise in business modelling and digital construction</a:t>
            </a:r>
            <a:r>
              <a:rPr lang="en-IE" sz="2400" dirty="0"/>
              <a:t>, along with the </a:t>
            </a:r>
            <a:r>
              <a:rPr lang="en-IE" sz="2400" b="1" dirty="0"/>
              <a:t>mathematical and technical expertise in Computer Science. </a:t>
            </a:r>
          </a:p>
          <a:p>
            <a:pPr algn="just"/>
            <a:r>
              <a:rPr lang="en-IE" sz="2400" dirty="0"/>
              <a:t>We aim to facilitate a community of leading experts and industry stakeholders from the Construction Sector and linkages to agencies and key groups.</a:t>
            </a:r>
          </a:p>
          <a:p>
            <a:endParaRPr lang="en-US" sz="24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533413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43FA9-7A0C-E783-9A3F-53ED8A301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Project Objec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5C4010-508F-9CAD-D00A-E64153694D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9386" y="1610463"/>
            <a:ext cx="10800229" cy="4871436"/>
          </a:xfrm>
        </p:spPr>
        <p:txBody>
          <a:bodyPr/>
          <a:lstStyle/>
          <a:p>
            <a:pPr algn="just"/>
            <a:r>
              <a:rPr lang="en-IE" sz="2400" b="0" i="0" u="none" strike="noStrike" baseline="0" dirty="0">
                <a:solidFill>
                  <a:srgbClr val="000000"/>
                </a:solidFill>
                <a:latin typeface="+mj-lt"/>
              </a:rPr>
              <a:t>Review </a:t>
            </a:r>
            <a:r>
              <a:rPr lang="en-IE" sz="2400" b="1" i="0" u="none" strike="noStrike" baseline="0" dirty="0">
                <a:solidFill>
                  <a:srgbClr val="000000"/>
                </a:solidFill>
                <a:latin typeface="+mj-lt"/>
              </a:rPr>
              <a:t>approaches, best practices, incentives, standards and levies</a:t>
            </a:r>
            <a:r>
              <a:rPr lang="en-IE" sz="2400" b="0" i="0" u="none" strike="noStrike" baseline="0" dirty="0">
                <a:solidFill>
                  <a:srgbClr val="000000"/>
                </a:solidFill>
                <a:latin typeface="+mj-lt"/>
              </a:rPr>
              <a:t> to reduce the use of virgin materials in the construction sector </a:t>
            </a:r>
          </a:p>
          <a:p>
            <a:pPr algn="just"/>
            <a:r>
              <a:rPr lang="en-IE" sz="2400" b="0" i="0" u="none" strike="noStrike" baseline="0" dirty="0">
                <a:solidFill>
                  <a:srgbClr val="000000"/>
                </a:solidFill>
                <a:latin typeface="+mj-lt"/>
              </a:rPr>
              <a:t>Conduct a </a:t>
            </a:r>
            <a:r>
              <a:rPr lang="en-IE" sz="2400" b="1" i="0" u="none" strike="noStrike" baseline="0" dirty="0">
                <a:solidFill>
                  <a:srgbClr val="000000"/>
                </a:solidFill>
                <a:latin typeface="+mj-lt"/>
              </a:rPr>
              <a:t>feasibility study </a:t>
            </a:r>
            <a:r>
              <a:rPr lang="en-IE" sz="2400" b="0" i="0" u="none" strike="noStrike" baseline="0" dirty="0">
                <a:solidFill>
                  <a:srgbClr val="000000"/>
                </a:solidFill>
                <a:latin typeface="+mj-lt"/>
              </a:rPr>
              <a:t>to assess the use, application and effectiveness of economic and regulatory instruments to reduce the use of virgin materials in the construction sector </a:t>
            </a:r>
          </a:p>
          <a:p>
            <a:pPr algn="just"/>
            <a:r>
              <a:rPr lang="en-IE" sz="2400" b="0" i="0" u="none" strike="noStrike" baseline="0" dirty="0">
                <a:solidFill>
                  <a:srgbClr val="000000"/>
                </a:solidFill>
                <a:latin typeface="+mj-lt"/>
              </a:rPr>
              <a:t>Leading to the </a:t>
            </a:r>
            <a:r>
              <a:rPr lang="en-IE" sz="2400" b="1" i="0" u="none" strike="noStrike" baseline="0" dirty="0">
                <a:solidFill>
                  <a:srgbClr val="000000"/>
                </a:solidFill>
                <a:latin typeface="+mj-lt"/>
              </a:rPr>
              <a:t>Identification of ‘Best Practice’</a:t>
            </a:r>
            <a:r>
              <a:rPr lang="en-IE" sz="2400" b="0" i="0" u="none" strike="noStrike" baseline="0" dirty="0">
                <a:solidFill>
                  <a:srgbClr val="000000"/>
                </a:solidFill>
                <a:latin typeface="+mj-lt"/>
              </a:rPr>
              <a:t> options that could be applied within the construction sector in Ireland </a:t>
            </a:r>
          </a:p>
          <a:p>
            <a:pPr marL="685802" marR="0" lvl="1" indent="-228600" algn="just" defTabSz="914400" rtl="0" eaLnBrk="1" fontAlgn="auto" latinLnBrk="0" hangingPunct="1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+mn-cs"/>
            </a:endParaRPr>
          </a:p>
          <a:p>
            <a:pPr marL="0" indent="0" algn="just">
              <a:buNone/>
            </a:pPr>
            <a:endParaRPr lang="en-US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en-IE" sz="1800" dirty="0"/>
          </a:p>
          <a:p>
            <a:pPr algn="just"/>
            <a:endParaRPr lang="en-IE" sz="1800" dirty="0"/>
          </a:p>
          <a:p>
            <a:endParaRPr lang="en-IE" dirty="0"/>
          </a:p>
          <a:p>
            <a:endParaRPr lang="en-IE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en-IE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en-I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E66F72-9339-D27D-0C32-32B4D3E633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5813" y="6309312"/>
            <a:ext cx="1760373" cy="548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965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43FA9-7A0C-E783-9A3F-53ED8A301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Work Packag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E66F72-9339-D27D-0C32-32B4D3E633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5813" y="6309312"/>
            <a:ext cx="1760373" cy="54868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3492EEA-FC05-3DD8-989E-404D2E9F78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5371" y="249567"/>
            <a:ext cx="6922283" cy="5888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8115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E7B8E09-D9C7-0C09-4916-245B67AFCC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0424" y="743527"/>
            <a:ext cx="5071150" cy="3527099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5B2069E-AE31-62E1-D7E6-B4D122CAAA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71401" y="5086087"/>
            <a:ext cx="9775341" cy="1028386"/>
          </a:xfrm>
        </p:spPr>
        <p:txBody>
          <a:bodyPr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fr-FR" sz="1800" dirty="0" err="1">
                <a:effectLst/>
                <a:ea typeface="Calibri Light" panose="020F0302020204030204" pitchFamily="34" charset="0"/>
              </a:rPr>
              <a:t>Website</a:t>
            </a:r>
            <a:r>
              <a:rPr lang="fr-FR" sz="1800" dirty="0">
                <a:effectLst/>
                <a:ea typeface="Calibri Light" panose="020F0302020204030204" pitchFamily="34" charset="0"/>
              </a:rPr>
              <a:t>: </a:t>
            </a:r>
            <a:r>
              <a:rPr lang="fr-FR" sz="1800" u="sng" dirty="0">
                <a:solidFill>
                  <a:srgbClr val="0563C1"/>
                </a:solidFill>
                <a:effectLst/>
                <a:ea typeface="Calibri" panose="020F0502020204030204" pitchFamily="34" charset="0"/>
                <a:hlinkClick r:id="rId4"/>
              </a:rPr>
              <a:t>https://ivi.ie/project/vision-circular-business-models-for-the-construction-sector/</a:t>
            </a:r>
            <a:endParaRPr lang="en-IE" sz="1800" dirty="0">
              <a:effectLst/>
              <a:ea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IE" sz="1800" dirty="0">
                <a:effectLst/>
                <a:ea typeface="Calibri Light" panose="020F0302020204030204" pitchFamily="34" charset="0"/>
              </a:rPr>
              <a:t>LinkedIn:</a:t>
            </a:r>
            <a:endParaRPr lang="en-I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07FF97-1000-BA15-16AD-0F30AD80B326}"/>
              </a:ext>
            </a:extLst>
          </p:cNvPr>
          <p:cNvSpPr txBox="1"/>
          <p:nvPr/>
        </p:nvSpPr>
        <p:spPr>
          <a:xfrm>
            <a:off x="2716448" y="5486509"/>
            <a:ext cx="8373083" cy="367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800" b="0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5"/>
              </a:rPr>
              <a:t>https://www.linkedin.com/showcase/epa-research/about/?viewAsMember=true</a:t>
            </a:r>
            <a:endParaRPr kumimoji="0" lang="en-I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5156A00-A8D1-E4D3-9382-D81AD4BE9E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15813" y="6309312"/>
            <a:ext cx="1760373" cy="548688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8843B7D-08B2-2C83-6472-35D2BBA4061F}"/>
              </a:ext>
            </a:extLst>
          </p:cNvPr>
          <p:cNvSpPr txBox="1">
            <a:spLocks/>
          </p:cNvSpPr>
          <p:nvPr/>
        </p:nvSpPr>
        <p:spPr bwMode="auto">
          <a:xfrm>
            <a:off x="4015235" y="4468443"/>
            <a:ext cx="4887671" cy="450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47657" indent="-247657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507036" indent="-257914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754692" indent="-246191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990625" indent="-234467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1260262" indent="-26817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1682304" indent="-26817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 Black" pitchFamily="34" charset="0"/>
              <a:buChar char="-"/>
              <a:defRPr sz="1477">
                <a:solidFill>
                  <a:schemeClr val="tx1"/>
                </a:solidFill>
                <a:latin typeface="+mn-lt"/>
                <a:cs typeface="+mn-cs"/>
              </a:defRPr>
            </a:lvl6pPr>
            <a:lvl7pPr marL="2104345" indent="-26817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 Black" pitchFamily="34" charset="0"/>
              <a:buChar char="-"/>
              <a:defRPr sz="1477">
                <a:solidFill>
                  <a:schemeClr val="tx1"/>
                </a:solidFill>
                <a:latin typeface="+mn-lt"/>
                <a:cs typeface="+mn-cs"/>
              </a:defRPr>
            </a:lvl7pPr>
            <a:lvl8pPr marL="2526386" indent="-26817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 Black" pitchFamily="34" charset="0"/>
              <a:buChar char="-"/>
              <a:defRPr sz="1477">
                <a:solidFill>
                  <a:schemeClr val="tx1"/>
                </a:solidFill>
                <a:latin typeface="+mn-lt"/>
                <a:cs typeface="+mn-cs"/>
              </a:defRPr>
            </a:lvl8pPr>
            <a:lvl9pPr marL="2948428" indent="-26817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 Black" pitchFamily="34" charset="0"/>
              <a:buChar char="-"/>
              <a:defRPr sz="1477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</a:pPr>
            <a:r>
              <a:rPr lang="en-IE" kern="0" dirty="0"/>
              <a:t>Contact: claudia.roessing@mu.ie</a:t>
            </a:r>
          </a:p>
        </p:txBody>
      </p:sp>
    </p:spTree>
    <p:extLst>
      <p:ext uri="{BB962C8B-B14F-4D97-AF65-F5344CB8AC3E}">
        <p14:creationId xmlns:p14="http://schemas.microsoft.com/office/powerpoint/2010/main" val="31233405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9F05F-C142-98B8-670B-89B688B42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Acknowledg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8B339F-8569-E916-35A7-1DBD0568EB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9386" y="1299178"/>
            <a:ext cx="10446546" cy="4871436"/>
          </a:xfrm>
        </p:spPr>
        <p:txBody>
          <a:bodyPr/>
          <a:lstStyle/>
          <a:p>
            <a:pPr marL="0" indent="0" algn="just" defTabSz="1219170">
              <a:lnSpc>
                <a:spcPct val="100000"/>
              </a:lnSpc>
              <a:spcBef>
                <a:spcPts val="0"/>
              </a:spcBef>
              <a:buNone/>
            </a:pPr>
            <a:r>
              <a:rPr lang="en-IE" sz="2000" dirty="0">
                <a:ea typeface="Calibri" panose="020F0502020204030204" pitchFamily="34" charset="0"/>
              </a:rPr>
              <a:t>This project is part of the EPA Research Programme 2021-2030. The EPA Research Programme is a Government of Ireland initiative funded by the Department of the Environment, Climate and Communications. It is administered by the Environmental Protection Agency, which has the statutory function of co-ordinating and promoting environmental  research</a:t>
            </a:r>
            <a:r>
              <a:rPr lang="en-IE" sz="2000" i="1" dirty="0">
                <a:ea typeface="Calibri" panose="020F0502020204030204" pitchFamily="34" charset="0"/>
              </a:rPr>
              <a:t>.</a:t>
            </a:r>
            <a:endParaRPr lang="en-IE" sz="2000" dirty="0"/>
          </a:p>
          <a:p>
            <a:pPr algn="just">
              <a:spcAft>
                <a:spcPts val="600"/>
              </a:spcAft>
              <a:buFontTx/>
              <a:buChar char="-"/>
            </a:pPr>
            <a:endParaRPr lang="en-IE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600"/>
              </a:spcAft>
              <a:buFontTx/>
              <a:buChar char="-"/>
            </a:pPr>
            <a:endParaRPr lang="en-IE" sz="2400" b="0" i="0" u="none" strike="noStrike" baseline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600"/>
              </a:spcAft>
              <a:buFontTx/>
              <a:buChar char="-"/>
            </a:pPr>
            <a:endParaRPr lang="en-IE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just">
              <a:buFontTx/>
              <a:buChar char="-"/>
            </a:pPr>
            <a:endParaRPr lang="en-US" sz="24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I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E8DEFB4-FB69-0445-2022-F0449AC861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5813" y="6309312"/>
            <a:ext cx="1760373" cy="548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8103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52556721000000061750E+00&quot;&gt;&lt;m_msothmcolidx val=&quot;0&quot;/&gt;&lt;m_rgb r=&quot;F4&quot; g=&quot;74&quot; b=&quot;0B&quot;/&gt;&lt;m_nBrightness val=&quot;0&quot;/&gt;&lt;/elem&gt;&lt;elem m_fUsage=&quot;1.39715838900000011158E+00&quot;&gt;&lt;m_msothmcolidx val=&quot;0&quot;/&gt;&lt;m_rgb r=&quot;FA&quot; g=&quot;B5&quot; b=&quot;7C&quot;/&gt;&lt;m_nBrightness val=&quot;0&quot;/&gt;&lt;/elem&gt;&lt;elem m_fUsage=&quot;1.00000000000000000000E+00&quot;&gt;&lt;m_msothmcolidx val=&quot;0&quot;/&gt;&lt;m_rgb r=&quot;C6&quot; g=&quot;5E&quot; b=&quot;09&quot;/&gt;&lt;m_nBrightness val=&quot;0&quot;/&gt;&lt;/elem&gt;&lt;elem m_fUsage=&quot;5.90490000000000181402E-01&quot;&gt;&lt;m_msothmcolidx val=&quot;0&quot;/&gt;&lt;m_rgb r=&quot;FC&quot; g=&quot;CB&quot; b=&quot;A3&quot;/&gt;&lt;m_nBrightness val=&quot;0&quot;/&gt;&lt;/elem&gt;&lt;elem m_fUsage=&quot;3.48678440100000153201E-01&quot;&gt;&lt;m_msothmcolidx val=&quot;0&quot;/&gt;&lt;m_rgb r=&quot;79&quot; g=&quot;A2&quot; b=&quot;B3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Mcq.UkS060d3EqrqEb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Mcq.UkS060d3EqrqEb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VI_PPT_Templat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3">
        <a:dk1>
          <a:srgbClr val="19373D"/>
        </a:dk1>
        <a:lt1>
          <a:srgbClr val="FFFFFF"/>
        </a:lt1>
        <a:dk2>
          <a:srgbClr val="19373D"/>
        </a:dk2>
        <a:lt2>
          <a:srgbClr val="808080"/>
        </a:lt2>
        <a:accent1>
          <a:srgbClr val="19373D"/>
        </a:accent1>
        <a:accent2>
          <a:srgbClr val="F55506"/>
        </a:accent2>
        <a:accent3>
          <a:srgbClr val="FFFFFF"/>
        </a:accent3>
        <a:accent4>
          <a:srgbClr val="142D33"/>
        </a:accent4>
        <a:accent5>
          <a:srgbClr val="ABAEAF"/>
        </a:accent5>
        <a:accent6>
          <a:srgbClr val="DE4C05"/>
        </a:accent6>
        <a:hlink>
          <a:srgbClr val="008FDC"/>
        </a:hlink>
        <a:folHlink>
          <a:srgbClr val="E948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VI_template_new.potx" id="{B3E9FB9D-A8D7-4382-B8E0-BF6AE5A5CBCA}" vid="{B198EA92-E5B0-431F-860E-C8F956E7AE5C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over and End Slide Master">
  <a:themeElements>
    <a:clrScheme name="allppt-constructi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27900"/>
      </a:accent1>
      <a:accent2>
        <a:srgbClr val="E7E5E6"/>
      </a:accent2>
      <a:accent3>
        <a:srgbClr val="BBC0C3"/>
      </a:accent3>
      <a:accent4>
        <a:srgbClr val="A0A5AA"/>
      </a:accent4>
      <a:accent5>
        <a:srgbClr val="7D7D7D"/>
      </a:accent5>
      <a:accent6>
        <a:srgbClr val="5E5E5E"/>
      </a:accent6>
      <a:hlink>
        <a:srgbClr val="262626"/>
      </a:hlink>
      <a:folHlink>
        <a:srgbClr val="262626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s Slide Master">
  <a:themeElements>
    <a:clrScheme name="ALLPPT-107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62949"/>
      </a:accent1>
      <a:accent2>
        <a:srgbClr val="F07624"/>
      </a:accent2>
      <a:accent3>
        <a:srgbClr val="F4BD2D"/>
      </a:accent3>
      <a:accent4>
        <a:srgbClr val="1ED4DE"/>
      </a:accent4>
      <a:accent5>
        <a:srgbClr val="1C7DE1"/>
      </a:accent5>
      <a:accent6>
        <a:srgbClr val="CBCBCB"/>
      </a:accent6>
      <a:hlink>
        <a:srgbClr val="FFFFFF"/>
      </a:hlink>
      <a:folHlink>
        <a:srgbClr val="00000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c065bd4-0399-4abd-89d0-e8b87086d7e4">
      <UserInfo>
        <DisplayName>Michael Hanley</DisplayName>
        <AccountId>2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E2678687BA1945AB2ABB12E0E34A5F" ma:contentTypeVersion="12" ma:contentTypeDescription="Create a new document." ma:contentTypeScope="" ma:versionID="e3064f447b28d3ce76f94ee1d23d6647">
  <xsd:schema xmlns:xsd="http://www.w3.org/2001/XMLSchema" xmlns:xs="http://www.w3.org/2001/XMLSchema" xmlns:p="http://schemas.microsoft.com/office/2006/metadata/properties" xmlns:ns2="6997dc22-346c-4258-9fb5-308770a8ec35" xmlns:ns3="fc065bd4-0399-4abd-89d0-e8b87086d7e4" targetNamespace="http://schemas.microsoft.com/office/2006/metadata/properties" ma:root="true" ma:fieldsID="c189101af3c40ad1417a0c18037af6e4" ns2:_="" ns3:_="">
    <xsd:import namespace="6997dc22-346c-4258-9fb5-308770a8ec35"/>
    <xsd:import namespace="fc065bd4-0399-4abd-89d0-e8b87086d7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97dc22-346c-4258-9fb5-308770a8ec3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065bd4-0399-4abd-89d0-e8b87086d7e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2886FF-3F69-4B10-AB6C-67F193A9579A}">
  <ds:schemaRefs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fc065bd4-0399-4abd-89d0-e8b87086d7e4"/>
    <ds:schemaRef ds:uri="http://purl.org/dc/elements/1.1/"/>
    <ds:schemaRef ds:uri="http://www.w3.org/XML/1998/namespace"/>
    <ds:schemaRef ds:uri="6997dc22-346c-4258-9fb5-308770a8ec35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B0A5CC7-42D4-471B-AB96-BCA42AFFC9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97dc22-346c-4258-9fb5-308770a8ec35"/>
    <ds:schemaRef ds:uri="fc065bd4-0399-4abd-89d0-e8b87086d7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BE5CA21-0800-4D14-A134-2332FD94FCD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0</Words>
  <Application>Microsoft Office PowerPoint</Application>
  <PresentationFormat>Widescreen</PresentationFormat>
  <Paragraphs>37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Arial Black</vt:lpstr>
      <vt:lpstr>Calibri</vt:lpstr>
      <vt:lpstr>Calibri Light</vt:lpstr>
      <vt:lpstr>Wingdings</vt:lpstr>
      <vt:lpstr>IVI_PPT_Template</vt:lpstr>
      <vt:lpstr>1_Office Theme</vt:lpstr>
      <vt:lpstr>Cover and End Slide Master</vt:lpstr>
      <vt:lpstr>1_Contents Slide Master</vt:lpstr>
      <vt:lpstr>think-cell Slide</vt:lpstr>
      <vt:lpstr>PowerPoint Presentation</vt:lpstr>
      <vt:lpstr>VISION project</vt:lpstr>
      <vt:lpstr>Project Objective</vt:lpstr>
      <vt:lpstr>Work Packages</vt:lpstr>
      <vt:lpstr>PowerPoint Presentation</vt:lpstr>
      <vt:lpstr>Acknowledgements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ichael Porter</dc:creator>
  <cp:lastModifiedBy>CLAUDIA ELIZABETH ROESSING ROCHA</cp:lastModifiedBy>
  <cp:revision>1123</cp:revision>
  <cp:lastPrinted>2012-09-05T15:29:39Z</cp:lastPrinted>
  <dcterms:created xsi:type="dcterms:W3CDTF">2009-03-27T11:48:13Z</dcterms:created>
  <dcterms:modified xsi:type="dcterms:W3CDTF">2024-05-08T14:4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E2678687BA1945AB2ABB12E0E34A5F</vt:lpwstr>
  </property>
</Properties>
</file>